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3.xml" ContentType="application/vnd.openxmlformats-officedocument.theme+xml"/>
  <Override PartName="/ppt/theme/themeOverride4.xml" ContentType="application/vnd.openxmlformats-officedocument.themeOverride+xml"/>
  <Override PartName="/ppt/theme/themeOverride5.xml" ContentType="application/vnd.openxmlformats-officedocument.themeOverride+xml"/>
  <Override PartName="/ppt/theme/themeOverride6.xml" ContentType="application/vnd.openxmlformats-officedocument.themeOverrid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5.xml" ContentType="application/vnd.openxmlformats-officedocument.them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6.xml" ContentType="application/vnd.openxmlformats-officedocument.theme+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7.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theme/theme8.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Override7.xml" ContentType="application/vnd.openxmlformats-officedocument.themeOverride+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9.xml" ContentType="application/vnd.openxmlformats-officedocument.theme+xml"/>
  <Override PartName="/ppt/theme/themeOverride8.xml" ContentType="application/vnd.openxmlformats-officedocument.themeOverride+xml"/>
  <Override PartName="/ppt/theme/themeOverride9.xml" ContentType="application/vnd.openxmlformats-officedocument.themeOverride+xml"/>
  <Override PartName="/ppt/theme/themeOverride10.xml" ContentType="application/vnd.openxmlformats-officedocument.themeOverride+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3" r:id="rId2"/>
    <p:sldMasterId id="2147483696" r:id="rId3"/>
    <p:sldMasterId id="2147483709" r:id="rId4"/>
    <p:sldMasterId id="2147483740" r:id="rId5"/>
    <p:sldMasterId id="2147483748" r:id="rId6"/>
    <p:sldMasterId id="2147483752" r:id="rId7"/>
    <p:sldMasterId id="2147483806" r:id="rId8"/>
    <p:sldMasterId id="2147483839" r:id="rId9"/>
    <p:sldMasterId id="2147483855" r:id="rId10"/>
  </p:sldMasterIdLst>
  <p:notesMasterIdLst>
    <p:notesMasterId r:id="rId48"/>
  </p:notesMasterIdLst>
  <p:handoutMasterIdLst>
    <p:handoutMasterId r:id="rId49"/>
  </p:handoutMasterIdLst>
  <p:sldIdLst>
    <p:sldId id="262" r:id="rId11"/>
    <p:sldId id="1446" r:id="rId12"/>
    <p:sldId id="364" r:id="rId13"/>
    <p:sldId id="339" r:id="rId14"/>
    <p:sldId id="384" r:id="rId15"/>
    <p:sldId id="378" r:id="rId16"/>
    <p:sldId id="379" r:id="rId17"/>
    <p:sldId id="363" r:id="rId18"/>
    <p:sldId id="1445" r:id="rId19"/>
    <p:sldId id="386" r:id="rId20"/>
    <p:sldId id="260" r:id="rId21"/>
    <p:sldId id="261" r:id="rId22"/>
    <p:sldId id="282" r:id="rId23"/>
    <p:sldId id="1443" r:id="rId24"/>
    <p:sldId id="1450" r:id="rId25"/>
    <p:sldId id="1451" r:id="rId26"/>
    <p:sldId id="1452" r:id="rId27"/>
    <p:sldId id="279" r:id="rId28"/>
    <p:sldId id="1453" r:id="rId29"/>
    <p:sldId id="1454" r:id="rId30"/>
    <p:sldId id="1455" r:id="rId31"/>
    <p:sldId id="1456" r:id="rId32"/>
    <p:sldId id="1418" r:id="rId33"/>
    <p:sldId id="1419" r:id="rId34"/>
    <p:sldId id="1421" r:id="rId35"/>
    <p:sldId id="1457" r:id="rId36"/>
    <p:sldId id="1458" r:id="rId37"/>
    <p:sldId id="1462" r:id="rId38"/>
    <p:sldId id="1467" r:id="rId39"/>
    <p:sldId id="1463" r:id="rId40"/>
    <p:sldId id="1465" r:id="rId41"/>
    <p:sldId id="1464" r:id="rId42"/>
    <p:sldId id="1466" r:id="rId43"/>
    <p:sldId id="1459" r:id="rId44"/>
    <p:sldId id="1442" r:id="rId45"/>
    <p:sldId id="1460" r:id="rId46"/>
    <p:sldId id="1461" r:id="rId47"/>
  </p:sldIdLst>
  <p:sldSz cx="12192000" cy="6858000"/>
  <p:notesSz cx="6858000" cy="9144000"/>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B80C76C3-7684-466C-816D-9F78CA8C249B}">
          <p14:sldIdLst>
            <p14:sldId id="262"/>
            <p14:sldId id="1446"/>
            <p14:sldId id="364"/>
            <p14:sldId id="339"/>
            <p14:sldId id="384"/>
            <p14:sldId id="378"/>
            <p14:sldId id="379"/>
            <p14:sldId id="363"/>
            <p14:sldId id="1445"/>
            <p14:sldId id="386"/>
            <p14:sldId id="260"/>
            <p14:sldId id="261"/>
            <p14:sldId id="282"/>
            <p14:sldId id="1443"/>
            <p14:sldId id="1450"/>
            <p14:sldId id="1451"/>
            <p14:sldId id="1452"/>
            <p14:sldId id="279"/>
            <p14:sldId id="1453"/>
            <p14:sldId id="1454"/>
            <p14:sldId id="1455"/>
            <p14:sldId id="1456"/>
            <p14:sldId id="1418"/>
            <p14:sldId id="1419"/>
            <p14:sldId id="1421"/>
            <p14:sldId id="1457"/>
            <p14:sldId id="1458"/>
            <p14:sldId id="1462"/>
            <p14:sldId id="1467"/>
            <p14:sldId id="1463"/>
            <p14:sldId id="1465"/>
            <p14:sldId id="1464"/>
            <p14:sldId id="1466"/>
            <p14:sldId id="1459"/>
            <p14:sldId id="1442"/>
            <p14:sldId id="1460"/>
            <p14:sldId id="1461"/>
          </p14:sldIdLst>
        </p14:section>
        <p14:section name="Untitled Section" id="{72C50DFD-4A3F-4F6A-9EBA-F058800F40ED}">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ELLGREN Jan" initials="HJ" lastIdx="4" clrIdx="0">
    <p:extLst>
      <p:ext uri="{19B8F6BF-5375-455C-9EA6-DF929625EA0E}">
        <p15:presenceInfo xmlns:p15="http://schemas.microsoft.com/office/powerpoint/2012/main" userId="HELLGREN Jan"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7880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30" autoAdjust="0"/>
    <p:restoredTop sz="96357" autoAdjust="0"/>
  </p:normalViewPr>
  <p:slideViewPr>
    <p:cSldViewPr snapToGrid="0">
      <p:cViewPr varScale="1">
        <p:scale>
          <a:sx n="98" d="100"/>
          <a:sy n="98" d="100"/>
        </p:scale>
        <p:origin x="96" y="144"/>
      </p:cViewPr>
      <p:guideLst/>
    </p:cSldViewPr>
  </p:slideViewPr>
  <p:notesTextViewPr>
    <p:cViewPr>
      <p:scale>
        <a:sx n="1" d="1"/>
        <a:sy n="1" d="1"/>
      </p:scale>
      <p:origin x="0" y="0"/>
    </p:cViewPr>
  </p:notesTextViewPr>
  <p:notesViewPr>
    <p:cSldViewPr snapToGrid="0">
      <p:cViewPr varScale="1">
        <p:scale>
          <a:sx n="89" d="100"/>
          <a:sy n="89" d="100"/>
        </p:scale>
        <p:origin x="2862" y="72"/>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3" Type="http://schemas.openxmlformats.org/officeDocument/2006/relationships/slideMaster" Target="slideMasters/slideMaster3.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slide" Target="slides/slide37.xml"/><Relationship Id="rId50" Type="http://schemas.openxmlformats.org/officeDocument/2006/relationships/commentAuthors" Target="commentAuthors.xml"/><Relationship Id="rId7" Type="http://schemas.openxmlformats.org/officeDocument/2006/relationships/slideMaster" Target="slideMasters/slideMaster7.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2" Type="http://schemas.openxmlformats.org/officeDocument/2006/relationships/slideMaster" Target="slideMasters/slideMaster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slide" Target="slides/slide19.xml"/><Relationship Id="rId41" Type="http://schemas.openxmlformats.org/officeDocument/2006/relationships/slide" Target="slides/slide31.xml"/><Relationship Id="rId54"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handoutMaster" Target="handoutMasters/handoutMaster1.xml"/><Relationship Id="rId10" Type="http://schemas.openxmlformats.org/officeDocument/2006/relationships/slideMaster" Target="slideMasters/slideMaster10.xml"/><Relationship Id="rId19" Type="http://schemas.openxmlformats.org/officeDocument/2006/relationships/slide" Target="slides/slide9.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notesMaster" Target="notesMasters/notesMaster1.xml"/><Relationship Id="rId8" Type="http://schemas.openxmlformats.org/officeDocument/2006/relationships/slideMaster" Target="slideMasters/slideMaster8.xml"/><Relationship Id="rId51"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1498141C-47C9-430D-9873-3687CEE12D5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5663C957-5048-433B-87BD-49969499B13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FF727C32-DC96-448D-B9BF-0124C30CA069}" type="datetimeFigureOut">
              <a:rPr lang="en-US" smtClean="0"/>
              <a:t>4/30/2019</a:t>
            </a:fld>
            <a:endParaRPr lang="en-US"/>
          </a:p>
        </p:txBody>
      </p:sp>
      <p:sp>
        <p:nvSpPr>
          <p:cNvPr id="4" name="Footer Placeholder 3">
            <a:extLst>
              <a:ext uri="{FF2B5EF4-FFF2-40B4-BE49-F238E27FC236}">
                <a16:creationId xmlns:a16="http://schemas.microsoft.com/office/drawing/2014/main" id="{4DEB48FE-DC8F-47E2-94DA-7A9421F6EBC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2CB68B95-1839-427C-88D1-C6AAD41549F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6DCCF51-B018-4E82-8E21-E78BAB6505BC}" type="slidenum">
              <a:rPr lang="en-US" smtClean="0"/>
              <a:t>‹#›</a:t>
            </a:fld>
            <a:endParaRPr lang="en-US"/>
          </a:p>
        </p:txBody>
      </p:sp>
    </p:spTree>
    <p:extLst>
      <p:ext uri="{BB962C8B-B14F-4D97-AF65-F5344CB8AC3E}">
        <p14:creationId xmlns:p14="http://schemas.microsoft.com/office/powerpoint/2010/main" val="401931134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sv-SE"/>
          </a:p>
        </p:txBody>
      </p:sp>
      <p:sp>
        <p:nvSpPr>
          <p:cNvPr id="3" name="Platshållare fö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DCFD13E-D155-4A84-A7F6-52D5A3CCB0DA}" type="datetimeFigureOut">
              <a:rPr lang="sv-SE" smtClean="0"/>
              <a:t>2019-04-30</a:t>
            </a:fld>
            <a:endParaRPr lang="sv-SE"/>
          </a:p>
        </p:txBody>
      </p:sp>
      <p:sp>
        <p:nvSpPr>
          <p:cNvPr id="4" name="Platshållare för bildobjekt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sv-SE"/>
          </a:p>
        </p:txBody>
      </p:sp>
      <p:sp>
        <p:nvSpPr>
          <p:cNvPr id="5" name="Platshållare för anteckninga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6" name="Platshållare för sidfo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sv-SE"/>
          </a:p>
        </p:txBody>
      </p:sp>
      <p:sp>
        <p:nvSpPr>
          <p:cNvPr id="7" name="Platshållare för bild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582D880-3289-409C-9545-399DFD56AFFC}" type="slidenum">
              <a:rPr lang="sv-SE" smtClean="0"/>
              <a:t>‹#›</a:t>
            </a:fld>
            <a:endParaRPr lang="sv-SE"/>
          </a:p>
        </p:txBody>
      </p:sp>
    </p:spTree>
    <p:extLst>
      <p:ext uri="{BB962C8B-B14F-4D97-AF65-F5344CB8AC3E}">
        <p14:creationId xmlns:p14="http://schemas.microsoft.com/office/powerpoint/2010/main" val="25980855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7582D880-3289-409C-9545-399DFD56AFFC}" type="slidenum">
              <a:rPr lang="sv-SE" smtClean="0"/>
              <a:t>1</a:t>
            </a:fld>
            <a:endParaRPr lang="sv-SE"/>
          </a:p>
        </p:txBody>
      </p:sp>
    </p:spTree>
    <p:extLst>
      <p:ext uri="{BB962C8B-B14F-4D97-AF65-F5344CB8AC3E}">
        <p14:creationId xmlns:p14="http://schemas.microsoft.com/office/powerpoint/2010/main" val="23483278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7582D880-3289-409C-9545-399DFD56AFFC}" type="slidenum">
              <a:rPr lang="sv-SE" smtClean="0"/>
              <a:t>3</a:t>
            </a:fld>
            <a:endParaRPr lang="sv-SE"/>
          </a:p>
        </p:txBody>
      </p:sp>
    </p:spTree>
    <p:extLst>
      <p:ext uri="{BB962C8B-B14F-4D97-AF65-F5344CB8AC3E}">
        <p14:creationId xmlns:p14="http://schemas.microsoft.com/office/powerpoint/2010/main" val="13586247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7582D880-3289-409C-9545-399DFD56AFFC}" type="slidenum">
              <a:rPr lang="sv-SE" smtClean="0"/>
              <a:t>4</a:t>
            </a:fld>
            <a:endParaRPr lang="sv-SE"/>
          </a:p>
        </p:txBody>
      </p:sp>
    </p:spTree>
    <p:extLst>
      <p:ext uri="{BB962C8B-B14F-4D97-AF65-F5344CB8AC3E}">
        <p14:creationId xmlns:p14="http://schemas.microsoft.com/office/powerpoint/2010/main" val="40778601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8DECD19-2C3C-45EF-BA43-9EE3BA6BC8F4}" type="slidenum">
              <a:rPr lang="en-US" smtClean="0"/>
              <a:t>8</a:t>
            </a:fld>
            <a:endParaRPr lang="en-US"/>
          </a:p>
        </p:txBody>
      </p:sp>
    </p:spTree>
    <p:extLst>
      <p:ext uri="{BB962C8B-B14F-4D97-AF65-F5344CB8AC3E}">
        <p14:creationId xmlns:p14="http://schemas.microsoft.com/office/powerpoint/2010/main" val="37630610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err="1"/>
              <a:t>High-level</a:t>
            </a:r>
            <a:r>
              <a:rPr lang="sv-SE" baseline="0" dirty="0"/>
              <a:t> … förlåtande</a:t>
            </a:r>
            <a:endParaRPr lang="sv-SE" dirty="0"/>
          </a:p>
          <a:p>
            <a:endParaRPr lang="sv-SE" dirty="0"/>
          </a:p>
          <a:p>
            <a:r>
              <a:rPr lang="sv-SE" dirty="0"/>
              <a:t>Förklara att </a:t>
            </a:r>
            <a:r>
              <a:rPr lang="sv-SE" dirty="0" err="1"/>
              <a:t>javascript</a:t>
            </a:r>
            <a:r>
              <a:rPr lang="sv-SE" dirty="0"/>
              <a:t> är ett JIT kompilerat</a:t>
            </a:r>
            <a:r>
              <a:rPr lang="sv-SE" baseline="0" dirty="0"/>
              <a:t> språk</a:t>
            </a:r>
            <a:endParaRPr lang="sv-SE" dirty="0"/>
          </a:p>
          <a:p>
            <a:r>
              <a:rPr lang="sv-SE" dirty="0"/>
              <a:t>var a = 2;</a:t>
            </a:r>
          </a:p>
          <a:p>
            <a:r>
              <a:rPr lang="sv-SE" dirty="0"/>
              <a:t>console.log(a);</a:t>
            </a:r>
          </a:p>
          <a:p>
            <a:r>
              <a:rPr lang="sv-SE" dirty="0"/>
              <a:t>3();</a:t>
            </a:r>
          </a:p>
        </p:txBody>
      </p:sp>
      <p:sp>
        <p:nvSpPr>
          <p:cNvPr id="4" name="Slide Number Placeholder 3"/>
          <p:cNvSpPr>
            <a:spLocks noGrp="1"/>
          </p:cNvSpPr>
          <p:nvPr>
            <p:ph type="sldNum" sz="quarter" idx="10"/>
          </p:nvPr>
        </p:nvSpPr>
        <p:spPr/>
        <p:txBody>
          <a:bodyPr/>
          <a:lstStyle/>
          <a:p>
            <a:fld id="{7FB44AF9-6A08-4C3A-94E4-CB0AC0068279}" type="slidenum">
              <a:rPr lang="sv-SE" smtClean="0"/>
              <a:t>12</a:t>
            </a:fld>
            <a:endParaRPr lang="sv-SE"/>
          </a:p>
        </p:txBody>
      </p:sp>
    </p:spTree>
    <p:extLst>
      <p:ext uri="{BB962C8B-B14F-4D97-AF65-F5344CB8AC3E}">
        <p14:creationId xmlns:p14="http://schemas.microsoft.com/office/powerpoint/2010/main" val="37976544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B44AF9-6A08-4C3A-94E4-CB0AC0068279}"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0728204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IN"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8A5F27D4-9122-47BC-9AC6-5C9D2E3822B3}" type="datetime1">
              <a:rPr lang="en-US" smtClean="0">
                <a:solidFill>
                  <a:prstClr val="black"/>
                </a:solidFill>
              </a:rPr>
              <a:pPr/>
              <a:t>4/30/2019</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3</a:t>
            </a:fld>
            <a:endParaRPr lang="en-US" dirty="0">
              <a:solidFill>
                <a:prstClr val="black"/>
              </a:solidFill>
            </a:endParaRPr>
          </a:p>
        </p:txBody>
      </p:sp>
    </p:spTree>
    <p:extLst>
      <p:ext uri="{BB962C8B-B14F-4D97-AF65-F5344CB8AC3E}">
        <p14:creationId xmlns:p14="http://schemas.microsoft.com/office/powerpoint/2010/main" val="214065859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IN"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8A5F27D4-9122-47BC-9AC6-5C9D2E3822B3}" type="datetime1">
              <a:rPr lang="en-US" smtClean="0">
                <a:solidFill>
                  <a:prstClr val="black"/>
                </a:solidFill>
              </a:rPr>
              <a:pPr/>
              <a:t>4/30/2019</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40072416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IN"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8A5F27D4-9122-47BC-9AC6-5C9D2E3822B3}" type="datetime1">
              <a:rPr lang="en-US" smtClean="0">
                <a:solidFill>
                  <a:prstClr val="black"/>
                </a:solidFill>
              </a:rPr>
              <a:pPr/>
              <a:t>4/30/2019</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val="213570518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8.xml"/><Relationship Id="rId1" Type="http://schemas.openxmlformats.org/officeDocument/2006/relationships/vmlDrawing" Target="../drawings/vmlDrawing2.vml"/><Relationship Id="rId5" Type="http://schemas.openxmlformats.org/officeDocument/2006/relationships/image" Target="../media/image26.emf"/><Relationship Id="rId4" Type="http://schemas.openxmlformats.org/officeDocument/2006/relationships/oleObject" Target="../embeddings/oleObject2.bin"/></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0.xml"/><Relationship Id="rId1" Type="http://schemas.openxmlformats.org/officeDocument/2006/relationships/tags" Target="../tags/tag19.xml"/></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2.xml"/><Relationship Id="rId1" Type="http://schemas.openxmlformats.org/officeDocument/2006/relationships/tags" Target="../tags/tag21.xml"/></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4.xml"/><Relationship Id="rId1" Type="http://schemas.openxmlformats.org/officeDocument/2006/relationships/tags" Target="../tags/tag23.xml"/></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6.xml"/><Relationship Id="rId1" Type="http://schemas.openxmlformats.org/officeDocument/2006/relationships/tags" Target="../tags/tag2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7.xml"/><Relationship Id="rId1" Type="http://schemas.openxmlformats.org/officeDocument/2006/relationships/vmlDrawing" Target="../drawings/vmlDrawing3.vml"/><Relationship Id="rId5" Type="http://schemas.openxmlformats.org/officeDocument/2006/relationships/image" Target="../media/image26.emf"/><Relationship Id="rId4" Type="http://schemas.openxmlformats.org/officeDocument/2006/relationships/oleObject" Target="../embeddings/oleObject3.bin"/></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slideMaster" Target="../slideMasters/slideMaster8.xml"/><Relationship Id="rId1" Type="http://schemas.openxmlformats.org/officeDocument/2006/relationships/themeOverride" Target="../theme/themeOverride7.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9.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9.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9.png"/><Relationship Id="rId1" Type="http://schemas.openxmlformats.org/officeDocument/2006/relationships/slideMaster" Target="../slideMasters/slideMaster9.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slideMaster" Target="../slideMasters/slideMaster9.xml"/><Relationship Id="rId1" Type="http://schemas.openxmlformats.org/officeDocument/2006/relationships/themeOverride" Target="../theme/themeOverride8.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2.jpe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slideMaster" Target="../slideMasters/slideMaster9.xml"/><Relationship Id="rId1" Type="http://schemas.openxmlformats.org/officeDocument/2006/relationships/themeOverride" Target="../theme/themeOverride9.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slideMaster" Target="../slideMasters/slideMaster9.xml"/><Relationship Id="rId1" Type="http://schemas.openxmlformats.org/officeDocument/2006/relationships/themeOverride" Target="../theme/themeOverride10.xml"/><Relationship Id="rId4" Type="http://schemas.openxmlformats.org/officeDocument/2006/relationships/image" Target="../media/image7.png"/></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0.xm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20.emf"/><Relationship Id="rId3" Type="http://schemas.openxmlformats.org/officeDocument/2006/relationships/image" Target="../media/image15.emf"/><Relationship Id="rId7" Type="http://schemas.openxmlformats.org/officeDocument/2006/relationships/image" Target="../media/image19.emf"/><Relationship Id="rId12" Type="http://schemas.openxmlformats.org/officeDocument/2006/relationships/image" Target="../media/image2.jpg"/><Relationship Id="rId2" Type="http://schemas.openxmlformats.org/officeDocument/2006/relationships/image" Target="../media/image14.jpeg"/><Relationship Id="rId1" Type="http://schemas.openxmlformats.org/officeDocument/2006/relationships/slideMaster" Target="../slideMasters/slideMaster2.xml"/><Relationship Id="rId6" Type="http://schemas.openxmlformats.org/officeDocument/2006/relationships/image" Target="../media/image18.emf"/><Relationship Id="rId11" Type="http://schemas.openxmlformats.org/officeDocument/2006/relationships/image" Target="../media/image23.png"/><Relationship Id="rId5" Type="http://schemas.openxmlformats.org/officeDocument/2006/relationships/image" Target="../media/image17.emf"/><Relationship Id="rId10" Type="http://schemas.openxmlformats.org/officeDocument/2006/relationships/image" Target="../media/image22.emf"/><Relationship Id="rId4" Type="http://schemas.openxmlformats.org/officeDocument/2006/relationships/image" Target="../media/image16.emf"/><Relationship Id="rId9" Type="http://schemas.openxmlformats.org/officeDocument/2006/relationships/image" Target="../media/image21.emf"/></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0.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0.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hemeOverride" Target="../theme/themeOverride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hemeOverride" Target="../theme/themeOverride5.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3.xml"/><Relationship Id="rId1" Type="http://schemas.openxmlformats.org/officeDocument/2006/relationships/themeOverride" Target="../theme/themeOverride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xml"/><Relationship Id="rId1" Type="http://schemas.openxmlformats.org/officeDocument/2006/relationships/tags" Target="../tags/tag1.xml"/></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xml"/><Relationship Id="rId1" Type="http://schemas.openxmlformats.org/officeDocument/2006/relationships/tags" Target="../tags/tag3.xml"/></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xml"/><Relationship Id="rId1" Type="http://schemas.openxmlformats.org/officeDocument/2006/relationships/tags" Target="../tags/tag5.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xml"/><Relationship Id="rId1" Type="http://schemas.openxmlformats.org/officeDocument/2006/relationships/tags" Target="../tags/tag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1.xml"/><Relationship Id="rId1" Type="http://schemas.openxmlformats.org/officeDocument/2006/relationships/themeOverride" Target="../theme/themeOverride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xml"/><Relationship Id="rId1" Type="http://schemas.openxmlformats.org/officeDocument/2006/relationships/vmlDrawing" Target="../drawings/vmlDrawing1.vml"/><Relationship Id="rId5" Type="http://schemas.openxmlformats.org/officeDocument/2006/relationships/image" Target="../media/image26.emf"/><Relationship Id="rId4" Type="http://schemas.openxmlformats.org/officeDocument/2006/relationships/oleObject" Target="../embeddings/oleObject1.bin"/></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1.xml"/><Relationship Id="rId1" Type="http://schemas.openxmlformats.org/officeDocument/2006/relationships/themeOverride" Target="../theme/themeOverride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hemeOverride" Target="../theme/themeOverride3.xml"/><Relationship Id="rId4" Type="http://schemas.openxmlformats.org/officeDocument/2006/relationships/image" Target="../media/image2.jp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1.xml"/><Relationship Id="rId1" Type="http://schemas.openxmlformats.org/officeDocument/2006/relationships/tags" Target="../tags/tag10.xml"/></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3.xml"/><Relationship Id="rId1" Type="http://schemas.openxmlformats.org/officeDocument/2006/relationships/tags" Target="../tags/tag12.xml"/></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5.xml"/><Relationship Id="rId1" Type="http://schemas.openxmlformats.org/officeDocument/2006/relationships/tags" Target="../tags/tag14.xml"/></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7.xml"/><Relationship Id="rId1" Type="http://schemas.openxmlformats.org/officeDocument/2006/relationships/tags" Target="../tags/tag1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6" name="Rectangle 35"/>
          <p:cNvSpPr/>
          <p:nvPr userDrawn="1"/>
        </p:nvSpPr>
        <p:spPr>
          <a:xfrm>
            <a:off x="-2676" y="-3047"/>
            <a:ext cx="12192000" cy="6858000"/>
          </a:xfrm>
          <a:prstGeom prst="rect">
            <a:avLst/>
          </a:prstGeom>
          <a:gradFill>
            <a:gsLst>
              <a:gs pos="0">
                <a:srgbClr val="032145">
                  <a:lumMod val="75000"/>
                  <a:lumOff val="25000"/>
                  <a:alpha val="40000"/>
                </a:srgbClr>
              </a:gs>
              <a:gs pos="100000">
                <a:srgbClr val="032145">
                  <a:alpha val="86000"/>
                </a:srgbClr>
              </a:gs>
            </a:gsLst>
            <a:path path="circle">
              <a:fillToRect l="50000" t="50000" r="50000" b="50000"/>
            </a:path>
          </a:gradFill>
          <a:ln w="25400" cap="flat"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white"/>
              </a:solidFill>
              <a:effectLst/>
              <a:uLnTx/>
              <a:uFillTx/>
              <a:latin typeface="Segoe UI"/>
              <a:ea typeface="+mn-ea"/>
              <a:cs typeface="+mn-cs"/>
            </a:endParaRPr>
          </a:p>
        </p:txBody>
      </p:sp>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prstClr val="white"/>
              </a:solidFill>
            </a:endParaRPr>
          </a:p>
        </p:txBody>
      </p:sp>
      <p:pic>
        <p:nvPicPr>
          <p:cNvPr id="23" name="Image 2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813243" y="375126"/>
            <a:ext cx="4565515" cy="1044997"/>
          </a:xfrm>
          <a:prstGeom prst="rect">
            <a:avLst/>
          </a:prstGeom>
        </p:spPr>
      </p:pic>
      <p:sp>
        <p:nvSpPr>
          <p:cNvPr id="28" name="Forme libre 27"/>
          <p:cNvSpPr/>
          <p:nvPr userDrawn="1"/>
        </p:nvSpPr>
        <p:spPr>
          <a:xfrm>
            <a:off x="2" y="3072651"/>
            <a:ext cx="7728180" cy="2609987"/>
          </a:xfrm>
          <a:custGeom>
            <a:avLst/>
            <a:gdLst>
              <a:gd name="connsiteX0" fmla="*/ 0 w 5299780"/>
              <a:gd name="connsiteY0" fmla="*/ 0 h 1789859"/>
              <a:gd name="connsiteX1" fmla="*/ 4404851 w 5299780"/>
              <a:gd name="connsiteY1" fmla="*/ 0 h 1789859"/>
              <a:gd name="connsiteX2" fmla="*/ 5299780 w 5299780"/>
              <a:gd name="connsiteY2" fmla="*/ 894930 h 1789859"/>
              <a:gd name="connsiteX3" fmla="*/ 4404851 w 5299780"/>
              <a:gd name="connsiteY3" fmla="*/ 1789859 h 1789859"/>
              <a:gd name="connsiteX4" fmla="*/ 0 w 5299780"/>
              <a:gd name="connsiteY4" fmla="*/ 1789859 h 1789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9780" h="1789859">
                <a:moveTo>
                  <a:pt x="0" y="0"/>
                </a:moveTo>
                <a:lnTo>
                  <a:pt x="4404851" y="0"/>
                </a:lnTo>
                <a:cubicBezTo>
                  <a:pt x="4899107" y="0"/>
                  <a:pt x="5299780" y="400673"/>
                  <a:pt x="5299780" y="894930"/>
                </a:cubicBezTo>
                <a:cubicBezTo>
                  <a:pt x="5299780" y="1389186"/>
                  <a:pt x="4899107" y="1789859"/>
                  <a:pt x="4404851" y="1789859"/>
                </a:cubicBezTo>
                <a:lnTo>
                  <a:pt x="0" y="1789859"/>
                </a:lnTo>
                <a:close/>
              </a:path>
            </a:pathLst>
          </a:custGeom>
          <a:gradFill flip="none" rotWithShape="1">
            <a:gsLst>
              <a:gs pos="0">
                <a:schemeClr val="tx2">
                  <a:lumMod val="90000"/>
                  <a:lumOff val="10000"/>
                  <a:alpha val="57000"/>
                </a:schemeClr>
              </a:gs>
              <a:gs pos="100000">
                <a:schemeClr val="accent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
        <p:nvSpPr>
          <p:cNvPr id="25" name="Forme libre 24"/>
          <p:cNvSpPr/>
          <p:nvPr userDrawn="1"/>
        </p:nvSpPr>
        <p:spPr>
          <a:xfrm>
            <a:off x="1" y="3525011"/>
            <a:ext cx="7424216" cy="2016224"/>
          </a:xfrm>
          <a:custGeom>
            <a:avLst/>
            <a:gdLst>
              <a:gd name="connsiteX0" fmla="*/ 0 w 5177583"/>
              <a:gd name="connsiteY0" fmla="*/ 0 h 1512168"/>
              <a:gd name="connsiteX1" fmla="*/ 4421499 w 5177583"/>
              <a:gd name="connsiteY1" fmla="*/ 0 h 1512168"/>
              <a:gd name="connsiteX2" fmla="*/ 5177583 w 5177583"/>
              <a:gd name="connsiteY2" fmla="*/ 756084 h 1512168"/>
              <a:gd name="connsiteX3" fmla="*/ 4421499 w 5177583"/>
              <a:gd name="connsiteY3" fmla="*/ 1512168 h 1512168"/>
              <a:gd name="connsiteX4" fmla="*/ 0 w 5177583"/>
              <a:gd name="connsiteY4" fmla="*/ 1512168 h 15121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7583" h="1512168">
                <a:moveTo>
                  <a:pt x="0" y="0"/>
                </a:moveTo>
                <a:lnTo>
                  <a:pt x="4421499" y="0"/>
                </a:lnTo>
                <a:cubicBezTo>
                  <a:pt x="4839073" y="0"/>
                  <a:pt x="5177583" y="338510"/>
                  <a:pt x="5177583" y="756084"/>
                </a:cubicBezTo>
                <a:cubicBezTo>
                  <a:pt x="5177583" y="1173658"/>
                  <a:pt x="4839073" y="1512168"/>
                  <a:pt x="4421499" y="1512168"/>
                </a:cubicBezTo>
                <a:lnTo>
                  <a:pt x="0" y="151216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
        <p:nvSpPr>
          <p:cNvPr id="5" name="Titre 4"/>
          <p:cNvSpPr>
            <a:spLocks noGrp="1"/>
          </p:cNvSpPr>
          <p:nvPr>
            <p:ph type="title"/>
          </p:nvPr>
        </p:nvSpPr>
        <p:spPr>
          <a:xfrm>
            <a:off x="214768" y="3621477"/>
            <a:ext cx="6694032" cy="1022580"/>
          </a:xfrm>
          <a:prstGeom prst="rect">
            <a:avLst/>
          </a:prstGeom>
        </p:spPr>
        <p:txBody>
          <a:bodyPr anchor="b">
            <a:noAutofit/>
          </a:bodyPr>
          <a:lstStyle>
            <a:lvl1pPr>
              <a:defRPr sz="3733">
                <a:solidFill>
                  <a:schemeClr val="accent1"/>
                </a:solidFill>
              </a:defRPr>
            </a:lvl1pPr>
          </a:lstStyle>
          <a:p>
            <a:r>
              <a:rPr lang="en-GB"/>
              <a:t>Modifiez le style du titre</a:t>
            </a:r>
          </a:p>
        </p:txBody>
      </p:sp>
      <p:sp>
        <p:nvSpPr>
          <p:cNvPr id="26" name="Ellipse 25"/>
          <p:cNvSpPr/>
          <p:nvPr/>
        </p:nvSpPr>
        <p:spPr>
          <a:xfrm rot="20057793">
            <a:off x="6283262" y="2986485"/>
            <a:ext cx="1340429" cy="134043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fr-FR" sz="2400"/>
          </a:p>
        </p:txBody>
      </p:sp>
      <p:sp>
        <p:nvSpPr>
          <p:cNvPr id="29" name="Oval 5"/>
          <p:cNvSpPr>
            <a:spLocks noChangeArrowheads="1"/>
          </p:cNvSpPr>
          <p:nvPr userDrawn="1"/>
        </p:nvSpPr>
        <p:spPr bwMode="auto">
          <a:xfrm rot="20057793">
            <a:off x="6803877" y="3506199"/>
            <a:ext cx="297547" cy="297548"/>
          </a:xfrm>
          <a:prstGeom prst="ellipse">
            <a:avLst/>
          </a:pr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2" name="Freeform 6"/>
          <p:cNvSpPr>
            <a:spLocks noEditPoints="1"/>
          </p:cNvSpPr>
          <p:nvPr userDrawn="1"/>
        </p:nvSpPr>
        <p:spPr bwMode="auto">
          <a:xfrm rot="20057793">
            <a:off x="6492041" y="3211173"/>
            <a:ext cx="921219" cy="887600"/>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3" name="Freeform 7"/>
          <p:cNvSpPr>
            <a:spLocks noEditPoints="1"/>
          </p:cNvSpPr>
          <p:nvPr userDrawn="1"/>
        </p:nvSpPr>
        <p:spPr bwMode="auto">
          <a:xfrm rot="20057793">
            <a:off x="6599629" y="3301110"/>
            <a:ext cx="706043" cy="707727"/>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4" name="Freeform 8"/>
          <p:cNvSpPr>
            <a:spLocks noEditPoints="1"/>
          </p:cNvSpPr>
          <p:nvPr userDrawn="1"/>
        </p:nvSpPr>
        <p:spPr bwMode="auto">
          <a:xfrm rot="20057793">
            <a:off x="6680810" y="3384786"/>
            <a:ext cx="542140" cy="542983"/>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5" name="Freeform 9"/>
          <p:cNvSpPr>
            <a:spLocks noEditPoints="1"/>
          </p:cNvSpPr>
          <p:nvPr userDrawn="1"/>
        </p:nvSpPr>
        <p:spPr bwMode="auto">
          <a:xfrm rot="20057793">
            <a:off x="6412557" y="3113589"/>
            <a:ext cx="1080919" cy="1084284"/>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4" name="Espace réservé du texte 3"/>
          <p:cNvSpPr>
            <a:spLocks noGrp="1"/>
          </p:cNvSpPr>
          <p:nvPr>
            <p:ph type="body" sz="quarter" idx="10"/>
          </p:nvPr>
        </p:nvSpPr>
        <p:spPr>
          <a:xfrm>
            <a:off x="213784" y="4593698"/>
            <a:ext cx="6695152" cy="912381"/>
          </a:xfrm>
        </p:spPr>
        <p:txBody>
          <a:bodyPr>
            <a:normAutofit/>
          </a:bodyPr>
          <a:lstStyle>
            <a:lvl1pPr marL="0" indent="0" algn="ctr">
              <a:buFontTx/>
              <a:buNone/>
              <a:defRPr sz="2667" b="0">
                <a:solidFill>
                  <a:schemeClr val="tx1"/>
                </a:solidFill>
              </a:defRPr>
            </a:lvl1pPr>
          </a:lstStyle>
          <a:p>
            <a:pPr lvl="0"/>
            <a:endParaRPr lang="en-GB"/>
          </a:p>
        </p:txBody>
      </p:sp>
      <p:sp>
        <p:nvSpPr>
          <p:cNvPr id="6" name="Espace réservé du numéro de diapositive 5"/>
          <p:cNvSpPr>
            <a:spLocks noGrp="1"/>
          </p:cNvSpPr>
          <p:nvPr>
            <p:ph type="sldNum" sz="quarter" idx="12"/>
          </p:nvPr>
        </p:nvSpPr>
        <p:spPr/>
        <p:txBody>
          <a:bodyPr/>
          <a:lstStyle/>
          <a:p>
            <a:fld id="{88A6B057-71F2-43BA-98BD-164F4E914A39}" type="slidenum">
              <a:rPr lang="en-GB" smtClean="0"/>
              <a:pPr/>
              <a:t>‹#›</a:t>
            </a:fld>
            <a:endParaRPr lang="en-GB"/>
          </a:p>
        </p:txBody>
      </p:sp>
    </p:spTree>
    <p:extLst>
      <p:ext uri="{BB962C8B-B14F-4D97-AF65-F5344CB8AC3E}">
        <p14:creationId xmlns:p14="http://schemas.microsoft.com/office/powerpoint/2010/main" val="1170807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par>
                                <p:cTn id="8" presetID="6" presetClass="emph" presetSubtype="0" fill="hold" nodeType="withEffect">
                                  <p:stCondLst>
                                    <p:cond delay="0"/>
                                  </p:stCondLst>
                                  <p:childTnLst>
                                    <p:animScale>
                                      <p:cBhvr>
                                        <p:cTn id="9" dur="10" fill="hold"/>
                                        <p:tgtEl>
                                          <p:spTgt spid="23"/>
                                        </p:tgtEl>
                                      </p:cBhvr>
                                      <p:by x="50000" y="50000"/>
                                    </p:animScale>
                                  </p:childTnLst>
                                </p:cTn>
                              </p:par>
                              <p:par>
                                <p:cTn id="10" presetID="6" presetClass="emph" presetSubtype="0" decel="100000" fill="hold" nodeType="withEffect">
                                  <p:stCondLst>
                                    <p:cond delay="0"/>
                                  </p:stCondLst>
                                  <p:childTnLst>
                                    <p:animScale>
                                      <p:cBhvr>
                                        <p:cTn id="11" dur="1000" fill="hold"/>
                                        <p:tgtEl>
                                          <p:spTgt spid="23"/>
                                        </p:tgtEl>
                                      </p:cBhvr>
                                      <p:by x="200000" y="200000"/>
                                    </p:animScale>
                                  </p:childTnLst>
                                </p:cTn>
                              </p:par>
                              <p:par>
                                <p:cTn id="12" presetID="2" presetClass="entr" presetSubtype="8" decel="100000" fill="hold" grpId="0" nodeType="withEffect">
                                  <p:stCondLst>
                                    <p:cond delay="0"/>
                                  </p:stCondLst>
                                  <p:childTnLst>
                                    <p:set>
                                      <p:cBhvr>
                                        <p:cTn id="13" dur="1" fill="hold">
                                          <p:stCondLst>
                                            <p:cond delay="0"/>
                                          </p:stCondLst>
                                        </p:cTn>
                                        <p:tgtEl>
                                          <p:spTgt spid="25"/>
                                        </p:tgtEl>
                                        <p:attrNameLst>
                                          <p:attrName>style.visibility</p:attrName>
                                        </p:attrNameLst>
                                      </p:cBhvr>
                                      <p:to>
                                        <p:strVal val="visible"/>
                                      </p:to>
                                    </p:set>
                                    <p:anim calcmode="lin" valueType="num">
                                      <p:cBhvr additive="base">
                                        <p:cTn id="14" dur="500" fill="hold"/>
                                        <p:tgtEl>
                                          <p:spTgt spid="25"/>
                                        </p:tgtEl>
                                        <p:attrNameLst>
                                          <p:attrName>ppt_x</p:attrName>
                                        </p:attrNameLst>
                                      </p:cBhvr>
                                      <p:tavLst>
                                        <p:tav tm="0">
                                          <p:val>
                                            <p:strVal val="0-#ppt_w/2"/>
                                          </p:val>
                                        </p:tav>
                                        <p:tav tm="100000">
                                          <p:val>
                                            <p:strVal val="#ppt_x"/>
                                          </p:val>
                                        </p:tav>
                                      </p:tavLst>
                                    </p:anim>
                                    <p:anim calcmode="lin" valueType="num">
                                      <p:cBhvr additive="base">
                                        <p:cTn id="15" dur="500" fill="hold"/>
                                        <p:tgtEl>
                                          <p:spTgt spid="25"/>
                                        </p:tgtEl>
                                        <p:attrNameLst>
                                          <p:attrName>ppt_y</p:attrName>
                                        </p:attrNameLst>
                                      </p:cBhvr>
                                      <p:tavLst>
                                        <p:tav tm="0">
                                          <p:val>
                                            <p:strVal val="#ppt_y"/>
                                          </p:val>
                                        </p:tav>
                                        <p:tav tm="100000">
                                          <p:val>
                                            <p:strVal val="#ppt_y"/>
                                          </p:val>
                                        </p:tav>
                                      </p:tavLst>
                                    </p:anim>
                                  </p:childTnLst>
                                </p:cTn>
                              </p:par>
                              <p:par>
                                <p:cTn id="16" presetID="2" presetClass="entr" presetSubtype="8" decel="100000" fill="hold" grpId="0" nodeType="withEffect">
                                  <p:stCondLst>
                                    <p:cond delay="100"/>
                                  </p:stCondLst>
                                  <p:childTnLst>
                                    <p:set>
                                      <p:cBhvr>
                                        <p:cTn id="17" dur="1" fill="hold">
                                          <p:stCondLst>
                                            <p:cond delay="0"/>
                                          </p:stCondLst>
                                        </p:cTn>
                                        <p:tgtEl>
                                          <p:spTgt spid="28"/>
                                        </p:tgtEl>
                                        <p:attrNameLst>
                                          <p:attrName>style.visibility</p:attrName>
                                        </p:attrNameLst>
                                      </p:cBhvr>
                                      <p:to>
                                        <p:strVal val="visible"/>
                                      </p:to>
                                    </p:set>
                                    <p:anim calcmode="lin" valueType="num">
                                      <p:cBhvr additive="base">
                                        <p:cTn id="18" dur="500" fill="hold"/>
                                        <p:tgtEl>
                                          <p:spTgt spid="28"/>
                                        </p:tgtEl>
                                        <p:attrNameLst>
                                          <p:attrName>ppt_x</p:attrName>
                                        </p:attrNameLst>
                                      </p:cBhvr>
                                      <p:tavLst>
                                        <p:tav tm="0">
                                          <p:val>
                                            <p:strVal val="0-#ppt_w/2"/>
                                          </p:val>
                                        </p:tav>
                                        <p:tav tm="100000">
                                          <p:val>
                                            <p:strVal val="#ppt_x"/>
                                          </p:val>
                                        </p:tav>
                                      </p:tavLst>
                                    </p:anim>
                                    <p:anim calcmode="lin" valueType="num">
                                      <p:cBhvr additive="base">
                                        <p:cTn id="19" dur="500" fill="hold"/>
                                        <p:tgtEl>
                                          <p:spTgt spid="28"/>
                                        </p:tgtEl>
                                        <p:attrNameLst>
                                          <p:attrName>ppt_y</p:attrName>
                                        </p:attrNameLst>
                                      </p:cBhvr>
                                      <p:tavLst>
                                        <p:tav tm="0">
                                          <p:val>
                                            <p:strVal val="#ppt_y"/>
                                          </p:val>
                                        </p:tav>
                                        <p:tav tm="100000">
                                          <p:val>
                                            <p:strVal val="#ppt_y"/>
                                          </p:val>
                                        </p:tav>
                                      </p:tavLst>
                                    </p:anim>
                                  </p:childTnLst>
                                </p:cTn>
                              </p:par>
                              <p:par>
                                <p:cTn id="20" presetID="10" presetClass="entr" presetSubtype="0" fill="hold" grpId="0" nodeType="withEffect">
                                  <p:stCondLst>
                                    <p:cond delay="25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childTnLst>
                                </p:cTn>
                              </p:par>
                              <p:par>
                                <p:cTn id="23" presetID="10" presetClass="entr" presetSubtype="0" fill="hold" grpId="0" nodeType="withEffect">
                                  <p:stCondLst>
                                    <p:cond delay="500"/>
                                  </p:stCondLst>
                                  <p:childTnLst>
                                    <p:set>
                                      <p:cBhvr>
                                        <p:cTn id="24" dur="1" fill="hold">
                                          <p:stCondLst>
                                            <p:cond delay="0"/>
                                          </p:stCondLst>
                                        </p:cTn>
                                        <p:tgtEl>
                                          <p:spTgt spid="26"/>
                                        </p:tgtEl>
                                        <p:attrNameLst>
                                          <p:attrName>style.visibility</p:attrName>
                                        </p:attrNameLst>
                                      </p:cBhvr>
                                      <p:to>
                                        <p:strVal val="visible"/>
                                      </p:to>
                                    </p:set>
                                    <p:animEffect transition="in" filter="fade">
                                      <p:cBhvr>
                                        <p:cTn id="25" dur="500"/>
                                        <p:tgtEl>
                                          <p:spTgt spid="26"/>
                                        </p:tgtEl>
                                      </p:cBhvr>
                                    </p:animEffect>
                                  </p:childTnLst>
                                </p:cTn>
                              </p:par>
                              <p:par>
                                <p:cTn id="26" presetID="10" presetClass="entr" presetSubtype="0" fill="hold" grpId="0" nodeType="withEffect">
                                  <p:stCondLst>
                                    <p:cond delay="500"/>
                                  </p:stCondLst>
                                  <p:childTnLst>
                                    <p:set>
                                      <p:cBhvr>
                                        <p:cTn id="27" dur="1" fill="hold">
                                          <p:stCondLst>
                                            <p:cond delay="0"/>
                                          </p:stCondLst>
                                        </p:cTn>
                                        <p:tgtEl>
                                          <p:spTgt spid="29"/>
                                        </p:tgtEl>
                                        <p:attrNameLst>
                                          <p:attrName>style.visibility</p:attrName>
                                        </p:attrNameLst>
                                      </p:cBhvr>
                                      <p:to>
                                        <p:strVal val="visible"/>
                                      </p:to>
                                    </p:set>
                                    <p:animEffect transition="in" filter="fade">
                                      <p:cBhvr>
                                        <p:cTn id="28" dur="500"/>
                                        <p:tgtEl>
                                          <p:spTgt spid="29"/>
                                        </p:tgtEl>
                                      </p:cBhvr>
                                    </p:animEffect>
                                  </p:childTnLst>
                                </p:cTn>
                              </p:par>
                              <p:par>
                                <p:cTn id="29" presetID="6" presetClass="emph" presetSubtype="0" fill="hold" grpId="1" nodeType="withEffect">
                                  <p:stCondLst>
                                    <p:cond delay="500"/>
                                  </p:stCondLst>
                                  <p:childTnLst>
                                    <p:animScale>
                                      <p:cBhvr>
                                        <p:cTn id="30" dur="10" fill="hold"/>
                                        <p:tgtEl>
                                          <p:spTgt spid="29"/>
                                        </p:tgtEl>
                                      </p:cBhvr>
                                      <p:by x="50000" y="50000"/>
                                    </p:animScale>
                                  </p:childTnLst>
                                </p:cTn>
                              </p:par>
                              <p:par>
                                <p:cTn id="31" presetID="6" presetClass="emph" presetSubtype="0" decel="100000" fill="hold" grpId="2" nodeType="withEffect">
                                  <p:stCondLst>
                                    <p:cond delay="500"/>
                                  </p:stCondLst>
                                  <p:childTnLst>
                                    <p:animScale>
                                      <p:cBhvr>
                                        <p:cTn id="32" dur="1000" fill="hold"/>
                                        <p:tgtEl>
                                          <p:spTgt spid="29"/>
                                        </p:tgtEl>
                                      </p:cBhvr>
                                      <p:by x="200000" y="200000"/>
                                    </p:animScale>
                                  </p:childTnLst>
                                </p:cTn>
                              </p:par>
                              <p:par>
                                <p:cTn id="33" presetID="10" presetClass="entr" presetSubtype="0" fill="hold" grpId="0" nodeType="withEffect">
                                  <p:stCondLst>
                                    <p:cond delay="500"/>
                                  </p:stCondLst>
                                  <p:childTnLst>
                                    <p:set>
                                      <p:cBhvr>
                                        <p:cTn id="34" dur="1" fill="hold">
                                          <p:stCondLst>
                                            <p:cond delay="0"/>
                                          </p:stCondLst>
                                        </p:cTn>
                                        <p:tgtEl>
                                          <p:spTgt spid="33"/>
                                        </p:tgtEl>
                                        <p:attrNameLst>
                                          <p:attrName>style.visibility</p:attrName>
                                        </p:attrNameLst>
                                      </p:cBhvr>
                                      <p:to>
                                        <p:strVal val="visible"/>
                                      </p:to>
                                    </p:set>
                                    <p:animEffect transition="in" filter="fade">
                                      <p:cBhvr>
                                        <p:cTn id="35" dur="500"/>
                                        <p:tgtEl>
                                          <p:spTgt spid="33"/>
                                        </p:tgtEl>
                                      </p:cBhvr>
                                    </p:animEffect>
                                  </p:childTnLst>
                                </p:cTn>
                              </p:par>
                              <p:par>
                                <p:cTn id="36" presetID="8" presetClass="emph" presetSubtype="0" repeatCount="indefinite" fill="hold" grpId="1" nodeType="withEffect">
                                  <p:stCondLst>
                                    <p:cond delay="500"/>
                                  </p:stCondLst>
                                  <p:childTnLst>
                                    <p:animRot by="-21600000">
                                      <p:cBhvr>
                                        <p:cTn id="37" dur="2000" fill="hold"/>
                                        <p:tgtEl>
                                          <p:spTgt spid="33"/>
                                        </p:tgtEl>
                                        <p:attrNameLst>
                                          <p:attrName>r</p:attrName>
                                        </p:attrNameLst>
                                      </p:cBhvr>
                                    </p:animRot>
                                  </p:childTnLst>
                                </p:cTn>
                              </p:par>
                              <p:par>
                                <p:cTn id="38" presetID="10" presetClass="entr" presetSubtype="0" fill="hold" grpId="0" nodeType="withEffect">
                                  <p:stCondLst>
                                    <p:cond delay="500"/>
                                  </p:stCondLst>
                                  <p:childTnLst>
                                    <p:set>
                                      <p:cBhvr>
                                        <p:cTn id="39" dur="1" fill="hold">
                                          <p:stCondLst>
                                            <p:cond delay="0"/>
                                          </p:stCondLst>
                                        </p:cTn>
                                        <p:tgtEl>
                                          <p:spTgt spid="35"/>
                                        </p:tgtEl>
                                        <p:attrNameLst>
                                          <p:attrName>style.visibility</p:attrName>
                                        </p:attrNameLst>
                                      </p:cBhvr>
                                      <p:to>
                                        <p:strVal val="visible"/>
                                      </p:to>
                                    </p:set>
                                    <p:animEffect transition="in" filter="fade">
                                      <p:cBhvr>
                                        <p:cTn id="40" dur="500"/>
                                        <p:tgtEl>
                                          <p:spTgt spid="35"/>
                                        </p:tgtEl>
                                      </p:cBhvr>
                                    </p:animEffect>
                                  </p:childTnLst>
                                </p:cTn>
                              </p:par>
                              <p:par>
                                <p:cTn id="41" presetID="8" presetClass="emph" presetSubtype="0" repeatCount="indefinite" fill="hold" grpId="1" nodeType="withEffect">
                                  <p:stCondLst>
                                    <p:cond delay="500"/>
                                  </p:stCondLst>
                                  <p:childTnLst>
                                    <p:animRot by="-21600000">
                                      <p:cBhvr>
                                        <p:cTn id="42" dur="2000" fill="hold"/>
                                        <p:tgtEl>
                                          <p:spTgt spid="35"/>
                                        </p:tgtEl>
                                        <p:attrNameLst>
                                          <p:attrName>r</p:attrName>
                                        </p:attrNameLst>
                                      </p:cBhvr>
                                    </p:animRot>
                                  </p:childTnLst>
                                </p:cTn>
                              </p:par>
                              <p:par>
                                <p:cTn id="43" presetID="10" presetClass="entr" presetSubtype="0" fill="hold" grpId="0" nodeType="withEffect">
                                  <p:stCondLst>
                                    <p:cond delay="500"/>
                                  </p:stCondLst>
                                  <p:childTnLst>
                                    <p:set>
                                      <p:cBhvr>
                                        <p:cTn id="44" dur="1" fill="hold">
                                          <p:stCondLst>
                                            <p:cond delay="0"/>
                                          </p:stCondLst>
                                        </p:cTn>
                                        <p:tgtEl>
                                          <p:spTgt spid="32"/>
                                        </p:tgtEl>
                                        <p:attrNameLst>
                                          <p:attrName>style.visibility</p:attrName>
                                        </p:attrNameLst>
                                      </p:cBhvr>
                                      <p:to>
                                        <p:strVal val="visible"/>
                                      </p:to>
                                    </p:set>
                                    <p:animEffect transition="in" filter="fade">
                                      <p:cBhvr>
                                        <p:cTn id="45" dur="500"/>
                                        <p:tgtEl>
                                          <p:spTgt spid="32"/>
                                        </p:tgtEl>
                                      </p:cBhvr>
                                    </p:animEffect>
                                  </p:childTnLst>
                                </p:cTn>
                              </p:par>
                              <p:par>
                                <p:cTn id="46" presetID="8" presetClass="emph" presetSubtype="0" repeatCount="indefinite" fill="hold" grpId="1" nodeType="withEffect">
                                  <p:stCondLst>
                                    <p:cond delay="500"/>
                                  </p:stCondLst>
                                  <p:childTnLst>
                                    <p:animRot by="21600000">
                                      <p:cBhvr>
                                        <p:cTn id="47" dur="2000" fill="hold"/>
                                        <p:tgtEl>
                                          <p:spTgt spid="32"/>
                                        </p:tgtEl>
                                        <p:attrNameLst>
                                          <p:attrName>r</p:attrName>
                                        </p:attrNameLst>
                                      </p:cBhvr>
                                    </p:animRot>
                                  </p:childTnLst>
                                </p:cTn>
                              </p:par>
                              <p:par>
                                <p:cTn id="48" presetID="10" presetClass="entr" presetSubtype="0" fill="hold" grpId="0" nodeType="withEffect">
                                  <p:stCondLst>
                                    <p:cond delay="500"/>
                                  </p:stCondLst>
                                  <p:childTnLst>
                                    <p:set>
                                      <p:cBhvr>
                                        <p:cTn id="49" dur="1" fill="hold">
                                          <p:stCondLst>
                                            <p:cond delay="0"/>
                                          </p:stCondLst>
                                        </p:cTn>
                                        <p:tgtEl>
                                          <p:spTgt spid="34"/>
                                        </p:tgtEl>
                                        <p:attrNameLst>
                                          <p:attrName>style.visibility</p:attrName>
                                        </p:attrNameLst>
                                      </p:cBhvr>
                                      <p:to>
                                        <p:strVal val="visible"/>
                                      </p:to>
                                    </p:set>
                                    <p:animEffect transition="in" filter="fade">
                                      <p:cBhvr>
                                        <p:cTn id="50" dur="500"/>
                                        <p:tgtEl>
                                          <p:spTgt spid="34"/>
                                        </p:tgtEl>
                                      </p:cBhvr>
                                    </p:animEffect>
                                  </p:childTnLst>
                                </p:cTn>
                              </p:par>
                              <p:par>
                                <p:cTn id="51" presetID="8" presetClass="emph" presetSubtype="0" repeatCount="indefinite" fill="hold" grpId="1" nodeType="withEffect">
                                  <p:stCondLst>
                                    <p:cond delay="500"/>
                                  </p:stCondLst>
                                  <p:childTnLst>
                                    <p:animRot by="21600000">
                                      <p:cBhvr>
                                        <p:cTn id="52" dur="2000" fill="hold"/>
                                        <p:tgtEl>
                                          <p:spTgt spid="34"/>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5" grpId="0" animBg="1"/>
      <p:bldP spid="5" grpId="0"/>
      <p:bldP spid="26" grpId="0" animBg="1"/>
      <p:bldP spid="29" grpId="0" animBg="1"/>
      <p:bldP spid="29" grpId="1" animBg="1"/>
      <p:bldP spid="29" grpId="2" animBg="1"/>
      <p:bldP spid="32" grpId="0" animBg="1"/>
      <p:bldP spid="32" grpId="1" animBg="1"/>
      <p:bldP spid="33" grpId="0" animBg="1"/>
      <p:bldP spid="33" grpId="1" animBg="1"/>
      <p:bldP spid="34" grpId="0" animBg="1"/>
      <p:bldP spid="34" grpId="1" animBg="1"/>
      <p:bldP spid="35" grpId="0" animBg="1"/>
      <p:bldP spid="35" grpId="1" animBg="1"/>
    </p:bld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17"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8"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9"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20" name="Rectangle 19"/>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
        <p:nvSpPr>
          <p:cNvPr id="21"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4" name="Titre 3"/>
          <p:cNvSpPr>
            <a:spLocks noGrp="1"/>
          </p:cNvSpPr>
          <p:nvPr>
            <p:ph type="title"/>
          </p:nvPr>
        </p:nvSpPr>
        <p:spPr/>
        <p:txBody>
          <a:bodyPr/>
          <a:lstStyle>
            <a:lvl1pPr>
              <a:defRPr>
                <a:solidFill>
                  <a:schemeClr val="accent1"/>
                </a:solidFill>
              </a:defRPr>
            </a:lvl1pPr>
          </a:lstStyle>
          <a:p>
            <a:r>
              <a:rPr lang="en-GB"/>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sp>
        <p:nvSpPr>
          <p:cNvPr id="2" name="Espace réservé du pied de page 1"/>
          <p:cNvSpPr>
            <a:spLocks noGrp="1"/>
          </p:cNvSpPr>
          <p:nvPr>
            <p:ph type="ftr" sz="quarter" idx="10"/>
          </p:nvPr>
        </p:nvSpPr>
        <p:spPr>
          <a:xfrm>
            <a:off x="1826652" y="6356351"/>
            <a:ext cx="4114800" cy="366183"/>
          </a:xfrm>
          <a:prstGeom prst="rect">
            <a:avLst/>
          </a:prstGeom>
        </p:spPr>
        <p:txBody>
          <a:bodyPr/>
          <a:lstStyle/>
          <a:p>
            <a:r>
              <a:rPr lang="fr-FR"/>
              <a:t>| Improving industrial performance</a:t>
            </a:r>
          </a:p>
        </p:txBody>
      </p:sp>
    </p:spTree>
    <p:extLst>
      <p:ext uri="{BB962C8B-B14F-4D97-AF65-F5344CB8AC3E}">
        <p14:creationId xmlns:p14="http://schemas.microsoft.com/office/powerpoint/2010/main" val="493453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1"/>
            <a:ext cx="5378548" cy="1942136"/>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62101"/>
            <a:ext cx="5378548" cy="1942136"/>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5167571"/>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0"/>
            <a:ext cx="5378548" cy="2430750"/>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62100"/>
            <a:ext cx="5378548" cy="2430750"/>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40443466"/>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269243" y="1576523"/>
            <a:ext cx="5378548" cy="243075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76523"/>
            <a:ext cx="5378548" cy="243075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12607552"/>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61969953"/>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7868" y="2084174"/>
            <a:ext cx="11294896" cy="1158793"/>
          </a:xfrm>
          <a:noFill/>
        </p:spPr>
        <p:txBody>
          <a:bodyPr wrap="square" tIns="91440" bIns="91440" anchor="t" anchorCtr="0">
            <a:spAutoFit/>
          </a:bodyPr>
          <a:lstStyle>
            <a:lvl1pPr>
              <a:defRPr sz="7054" spc="-98" baseline="0">
                <a:solidFill>
                  <a:schemeClr val="tx1"/>
                </a:solidFill>
              </a:defRPr>
            </a:lvl1pPr>
          </a:lstStyle>
          <a:p>
            <a:r>
              <a:rPr lang="en-US" dirty="0"/>
              <a:t>Section title</a:t>
            </a:r>
          </a:p>
        </p:txBody>
      </p:sp>
    </p:spTree>
    <p:extLst>
      <p:ext uri="{BB962C8B-B14F-4D97-AF65-F5344CB8AC3E}">
        <p14:creationId xmlns:p14="http://schemas.microsoft.com/office/powerpoint/2010/main" val="2838756765"/>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6919" y="2084174"/>
            <a:ext cx="11175844" cy="1158793"/>
          </a:xfrm>
          <a:noFill/>
        </p:spPr>
        <p:txBody>
          <a:bodyPr wrap="square" tIns="91440" bIns="91440" anchor="t" anchorCtr="0">
            <a:spAutoFit/>
          </a:bodyPr>
          <a:lstStyle>
            <a:lvl1pPr>
              <a:defRPr sz="7054" spc="-98" baseline="0">
                <a:solidFill>
                  <a:schemeClr val="tx1"/>
                </a:solidFill>
              </a:defRPr>
            </a:lvl1pPr>
          </a:lstStyle>
          <a:p>
            <a:r>
              <a:rPr lang="en-US" dirty="0"/>
              <a:t>Section title</a:t>
            </a:r>
          </a:p>
        </p:txBody>
      </p:sp>
      <p:sp>
        <p:nvSpPr>
          <p:cNvPr id="4" name="Text Placeholder 3"/>
          <p:cNvSpPr>
            <a:spLocks noGrp="1"/>
          </p:cNvSpPr>
          <p:nvPr>
            <p:ph type="body" sz="quarter" idx="10"/>
          </p:nvPr>
        </p:nvSpPr>
        <p:spPr>
          <a:xfrm>
            <a:off x="717509" y="4146553"/>
            <a:ext cx="10487801" cy="910337"/>
          </a:xfrm>
        </p:spPr>
        <p:txBody>
          <a:bodyPr/>
          <a:lstStyle>
            <a:lvl1pPr marL="0" indent="0">
              <a:buNone/>
              <a:defRPr sz="3137"/>
            </a:lvl1pPr>
            <a:lvl2pPr marL="0" indent="0">
              <a:buNone/>
              <a:defRPr sz="1765"/>
            </a:lvl2pPr>
            <a:lvl3pPr marL="0" indent="0">
              <a:buNone/>
              <a:defRPr sz="1568"/>
            </a:lvl3pPr>
            <a:lvl4pPr marL="0" indent="0">
              <a:buNone/>
              <a:defRPr sz="1372"/>
            </a:lvl4pPr>
            <a:lvl5pPr marL="0" indent="0">
              <a:buNone/>
              <a:defRPr sz="1372"/>
            </a:lvl5p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1857572468"/>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Fact Layout- Accent Color 1">
    <p:spTree>
      <p:nvGrpSpPr>
        <p:cNvPr id="1" name=""/>
        <p:cNvGrpSpPr/>
        <p:nvPr/>
      </p:nvGrpSpPr>
      <p:grpSpPr>
        <a:xfrm>
          <a:off x="0" y="0"/>
          <a:ext cx="0" cy="0"/>
          <a:chOff x="0" y="0"/>
          <a:chExt cx="0" cy="0"/>
        </a:xfrm>
      </p:grpSpPr>
      <p:sp>
        <p:nvSpPr>
          <p:cNvPr id="2" name="Title 1"/>
          <p:cNvSpPr>
            <a:spLocks noGrp="1"/>
          </p:cNvSpPr>
          <p:nvPr>
            <p:ph type="title"/>
          </p:nvPr>
        </p:nvSpPr>
        <p:spPr>
          <a:xfrm>
            <a:off x="2062091" y="2084173"/>
            <a:ext cx="8067823" cy="1793105"/>
          </a:xfrm>
          <a:noFill/>
        </p:spPr>
        <p:txBody>
          <a:bodyPr wrap="square" tIns="91440" bIns="91440" anchor="t" anchorCtr="0">
            <a:noAutofit/>
          </a:bodyPr>
          <a:lstStyle>
            <a:lvl1pPr>
              <a:defRPr sz="5880" spc="-98" baseline="0">
                <a:gradFill>
                  <a:gsLst>
                    <a:gs pos="100000">
                      <a:schemeClr val="accent6"/>
                    </a:gs>
                    <a:gs pos="0">
                      <a:schemeClr val="accent6"/>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169854732"/>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796003645"/>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chemeClr val="tx1"/>
                </a:solidFill>
                <a:effectLst/>
                <a:uLnTx/>
                <a:uFillTx/>
                <a:latin typeface="Segoe UI"/>
                <a:ea typeface="+mn-ea"/>
                <a:cs typeface="Segoe UI" pitchFamily="34" charset="0"/>
              </a:rPr>
              <a:t>© 2015 Microsoft Corporation. All rights reserved. </a:t>
            </a:r>
          </a:p>
        </p:txBody>
      </p:sp>
      <p:grpSp>
        <p:nvGrpSpPr>
          <p:cNvPr id="5" name="Group 4"/>
          <p:cNvGrpSpPr>
            <a:grpSpLocks noChangeAspect="1"/>
          </p:cNvGrpSpPr>
          <p:nvPr userDrawn="1"/>
        </p:nvGrpSpPr>
        <p:grpSpPr bwMode="black">
          <a:xfrm>
            <a:off x="450205" y="3083652"/>
            <a:ext cx="3048099" cy="654483"/>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728688120"/>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Black Notes slide Layout">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9"/>
            <a:ext cx="11653523" cy="2424715"/>
          </a:xfrm>
          <a:prstGeom prst="rect">
            <a:avLst/>
          </a:prstGeom>
        </p:spPr>
        <p:txBody>
          <a:bodyPr/>
          <a:lstStyle>
            <a:lvl1pPr marL="284680" indent="-28468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14590820"/>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11"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spTree>
    <p:extLst>
      <p:ext uri="{BB962C8B-B14F-4D97-AF65-F5344CB8AC3E}">
        <p14:creationId xmlns:p14="http://schemas.microsoft.com/office/powerpoint/2010/main" val="2842675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9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097">
                <a:solidFill>
                  <a:schemeClr val="tx2"/>
                </a:solidFill>
              </a:defRPr>
            </a:lvl1pPr>
          </a:lstStyle>
          <a:p>
            <a:r>
              <a:rPr lang="en-US"/>
              <a:t>Click to edit Master title style</a:t>
            </a:r>
            <a:endParaRPr lang="en-IN" dirty="0"/>
          </a:p>
        </p:txBody>
      </p:sp>
    </p:spTree>
    <p:extLst>
      <p:ext uri="{BB962C8B-B14F-4D97-AF65-F5344CB8AC3E}">
        <p14:creationId xmlns:p14="http://schemas.microsoft.com/office/powerpoint/2010/main" val="107939450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28 pt head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US" dirty="0"/>
          </a:p>
        </p:txBody>
      </p:sp>
    </p:spTree>
    <p:extLst>
      <p:ext uri="{BB962C8B-B14F-4D97-AF65-F5344CB8AC3E}">
        <p14:creationId xmlns:p14="http://schemas.microsoft.com/office/powerpoint/2010/main" val="4073170701"/>
      </p:ext>
    </p:extLst>
  </p:cSld>
  <p:clrMapOvr>
    <a:masterClrMapping/>
  </p:clrMapOvr>
  <p:transition>
    <p:fade/>
  </p:transition>
  <p:hf sldNum="0" hdr="0" dt="0"/>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3_28 pt headlin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a:lstStyle>
            <a:lvl1pPr>
              <a:defRPr sz="2800"/>
            </a:lvl1pPr>
          </a:lstStyle>
          <a:p>
            <a:r>
              <a:rPr lang="en-US"/>
              <a:t>Click to edit Master title style</a:t>
            </a:r>
            <a:endParaRPr lang="en-US" dirty="0"/>
          </a:p>
        </p:txBody>
      </p:sp>
      <p:sp>
        <p:nvSpPr>
          <p:cNvPr id="6" name="Text Placeholder 5"/>
          <p:cNvSpPr>
            <a:spLocks noGrp="1"/>
          </p:cNvSpPr>
          <p:nvPr>
            <p:ph type="body" sz="quarter" idx="10"/>
          </p:nvPr>
        </p:nvSpPr>
        <p:spPr>
          <a:xfrm>
            <a:off x="5761038" y="1905001"/>
            <a:ext cx="6164042" cy="1323196"/>
          </a:xfrm>
        </p:spPr>
        <p:txBody>
          <a:bodyPr/>
          <a:lstStyle>
            <a:lvl1pPr marL="0" indent="0">
              <a:spcBef>
                <a:spcPts val="1200"/>
              </a:spcBef>
              <a:buNone/>
              <a:defRPr sz="1600">
                <a:solidFill>
                  <a:schemeClr val="tx1"/>
                </a:solidFill>
                <a:latin typeface="Segoe Semibold" panose="020B0702040504020203" pitchFamily="34" charset="0"/>
              </a:defRPr>
            </a:lvl1pPr>
            <a:lvl2pPr marL="0" indent="0">
              <a:spcBef>
                <a:spcPts val="600"/>
              </a:spcBef>
              <a:buNone/>
              <a:defRPr sz="1400">
                <a:solidFill>
                  <a:schemeClr val="tx1"/>
                </a:solidFill>
              </a:defRPr>
            </a:lvl2pPr>
            <a:lvl3pPr marL="344422" indent="-223795">
              <a:defRPr sz="1200">
                <a:solidFill>
                  <a:schemeClr val="tx1"/>
                </a:solidFill>
              </a:defRPr>
            </a:lvl3pPr>
            <a:lvl4pPr marL="509490" indent="-165068">
              <a:defRPr sz="1100">
                <a:solidFill>
                  <a:schemeClr val="tx1"/>
                </a:solidFill>
              </a:defRPr>
            </a:lvl4pPr>
            <a:lvl5pPr marL="974538" indent="-223795">
              <a:defRPr sz="11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1"/>
          </p:nvPr>
        </p:nvSpPr>
        <p:spPr>
          <a:xfrm>
            <a:off x="269241" y="1475440"/>
            <a:ext cx="5033554" cy="500715"/>
          </a:xfrm>
        </p:spPr>
        <p:txBody>
          <a:bodyPr vert="horz" wrap="square" lIns="146304" tIns="0" rIns="0" bIns="0" rtlCol="0" anchor="t" anchorCtr="0">
            <a:spAutoFit/>
          </a:bodyPr>
          <a:lstStyle>
            <a:lvl1pPr marL="0" indent="0">
              <a:spcBef>
                <a:spcPts val="0"/>
              </a:spcBef>
              <a:buNone/>
              <a:defRPr lang="en-US" sz="1600"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vl2pPr marL="0" indent="0">
              <a:buNone/>
              <a:defRPr sz="1400">
                <a:solidFill>
                  <a:schemeClr val="accent1"/>
                </a:solidFill>
                <a:latin typeface="+mn-lt"/>
              </a:defRPr>
            </a:lvl2pPr>
          </a:lstStyle>
          <a:p>
            <a:pPr lvl="0" fontAlgn="base">
              <a:spcBef>
                <a:spcPts val="600"/>
              </a:spcBef>
              <a:spcAft>
                <a:spcPct val="0"/>
              </a:spcAft>
            </a:pPr>
            <a:r>
              <a:rPr lang="en-US" dirty="0"/>
              <a:t>Click to edit Master text styles</a:t>
            </a:r>
          </a:p>
          <a:p>
            <a:pPr lvl="1" fontAlgn="base">
              <a:spcBef>
                <a:spcPts val="600"/>
              </a:spcBef>
              <a:spcAft>
                <a:spcPct val="0"/>
              </a:spcAft>
            </a:pPr>
            <a:r>
              <a:rPr lang="en-US" dirty="0"/>
              <a:t>VNVN</a:t>
            </a:r>
          </a:p>
        </p:txBody>
      </p:sp>
      <p:sp>
        <p:nvSpPr>
          <p:cNvPr id="12" name="Text Placeholder 8"/>
          <p:cNvSpPr>
            <a:spLocks noGrp="1"/>
          </p:cNvSpPr>
          <p:nvPr>
            <p:ph type="body" sz="quarter" idx="12"/>
          </p:nvPr>
        </p:nvSpPr>
        <p:spPr>
          <a:xfrm>
            <a:off x="5761037" y="1475439"/>
            <a:ext cx="6218237" cy="221599"/>
          </a:xfrm>
        </p:spPr>
        <p:txBody>
          <a:bodyPr vert="horz" wrap="square" lIns="146304" tIns="0" rIns="0" bIns="0" rtlCol="0" anchor="t" anchorCtr="0">
            <a:spAutoFit/>
          </a:bodyPr>
          <a:lstStyle>
            <a:lvl1pPr marL="0" indent="0">
              <a:spcBef>
                <a:spcPts val="0"/>
              </a:spcBef>
              <a:buNone/>
              <a:defRPr lang="en-US" sz="1600"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stStyle>
          <a:p>
            <a:pPr lvl="0" fontAlgn="base">
              <a:spcBef>
                <a:spcPts val="600"/>
              </a:spcBef>
              <a:spcAft>
                <a:spcPct val="0"/>
              </a:spcAft>
            </a:pPr>
            <a:r>
              <a:rPr lang="en-US" dirty="0"/>
              <a:t>Click to edit Master text styles</a:t>
            </a:r>
          </a:p>
        </p:txBody>
      </p:sp>
    </p:spTree>
    <p:extLst>
      <p:ext uri="{BB962C8B-B14F-4D97-AF65-F5344CB8AC3E}">
        <p14:creationId xmlns:p14="http://schemas.microsoft.com/office/powerpoint/2010/main" val="171326035"/>
      </p:ext>
    </p:extLst>
  </p:cSld>
  <p:clrMapOvr>
    <a:masterClrMapping/>
  </p:clrMapOvr>
  <p:transition>
    <p:fade/>
  </p:transition>
  <p:hf sldNum="0" hdr="0" dt="0"/>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74639" y="1562101"/>
            <a:ext cx="11653523" cy="2050772"/>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65188978"/>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145562144"/>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4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Rectangle 2"/>
          <p:cNvSpPr/>
          <p:nvPr userDrawn="1"/>
        </p:nvSpPr>
        <p:spPr bwMode="auto">
          <a:xfrm>
            <a:off x="508550" y="3575431"/>
            <a:ext cx="11192219" cy="3076192"/>
          </a:xfrm>
          <a:prstGeom prst="rect">
            <a:avLst/>
          </a:prstGeom>
          <a:solidFill>
            <a:schemeClr val="tx2"/>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2297802" y="1796852"/>
            <a:ext cx="9402967" cy="1737875"/>
          </a:xfrm>
          <a:prstGeom prst="rect">
            <a:avLst/>
          </a:prstGeom>
          <a:solidFill>
            <a:schemeClr val="tx2"/>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508550" y="1832855"/>
            <a:ext cx="1789252" cy="1586325"/>
          </a:xfrm>
          <a:prstGeom prst="rect">
            <a:avLst/>
          </a:prstGeom>
          <a:solidFill>
            <a:schemeClr val="accent1">
              <a:lumMod val="7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white"/>
              </a:solidFill>
              <a:effectLst/>
              <a:uLnTx/>
              <a:uFillTx/>
              <a:latin typeface="Segoe UI"/>
              <a:ea typeface="+mn-ea"/>
              <a:cs typeface="+mn-cs"/>
            </a:endParaRPr>
          </a:p>
        </p:txBody>
      </p:sp>
      <p:cxnSp>
        <p:nvCxnSpPr>
          <p:cNvPr id="59" name="Straight Connector 58"/>
          <p:cNvCxnSpPr/>
          <p:nvPr userDrawn="1"/>
        </p:nvCxnSpPr>
        <p:spPr>
          <a:xfrm>
            <a:off x="5309465" y="1996633"/>
            <a:ext cx="0" cy="1313986"/>
          </a:xfrm>
          <a:prstGeom prst="line">
            <a:avLst/>
          </a:prstGeom>
          <a:ln w="6350">
            <a:gradFill>
              <a:gsLst>
                <a:gs pos="0">
                  <a:srgbClr val="002050">
                    <a:alpha val="59000"/>
                  </a:srgbClr>
                </a:gs>
                <a:gs pos="100000">
                  <a:srgbClr val="002050"/>
                </a:gs>
              </a:gsLst>
              <a:lin ang="5400000" scaled="1"/>
            </a:gradFill>
          </a:ln>
        </p:spPr>
        <p:style>
          <a:lnRef idx="1">
            <a:schemeClr val="accent1"/>
          </a:lnRef>
          <a:fillRef idx="0">
            <a:schemeClr val="accent1"/>
          </a:fillRef>
          <a:effectRef idx="0">
            <a:schemeClr val="accent1"/>
          </a:effectRef>
          <a:fontRef idx="minor">
            <a:schemeClr val="tx1"/>
          </a:fontRef>
        </p:style>
      </p:cxnSp>
      <p:sp>
        <p:nvSpPr>
          <p:cNvPr id="60" name="Isosceles Triangle 59"/>
          <p:cNvSpPr/>
          <p:nvPr userDrawn="1"/>
        </p:nvSpPr>
        <p:spPr bwMode="auto">
          <a:xfrm rot="5400000">
            <a:off x="-128132" y="2476620"/>
            <a:ext cx="1701872" cy="428508"/>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828501" y="2104245"/>
            <a:ext cx="1149350" cy="1098762"/>
          </a:xfrm>
        </p:spPr>
        <p:txBody>
          <a:bodyPr/>
          <a:lstStyle>
            <a:lvl1pPr marL="0" indent="0" algn="ctr">
              <a:buNone/>
              <a:defRPr sz="6598"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2476500" y="2225484"/>
            <a:ext cx="2659303" cy="886397"/>
          </a:xfrm>
        </p:spPr>
        <p:txBody>
          <a:bodyPr lIns="0" tIns="0" rIns="0" bIns="0" anchor="ctr"/>
          <a:lstStyle>
            <a:lvl1pPr marL="0" indent="0">
              <a:buNone/>
              <a:defRPr sz="3200">
                <a:solidFill>
                  <a:schemeClr val="bg1"/>
                </a:solidFill>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8" name="Text Placeholder 66"/>
          <p:cNvSpPr>
            <a:spLocks noGrp="1"/>
          </p:cNvSpPr>
          <p:nvPr>
            <p:ph type="body" sz="quarter" idx="12"/>
          </p:nvPr>
        </p:nvSpPr>
        <p:spPr>
          <a:xfrm>
            <a:off x="5455754" y="2530183"/>
            <a:ext cx="5996440" cy="276999"/>
          </a:xfrm>
        </p:spPr>
        <p:txBody>
          <a:bodyPr lIns="0" tIns="0" rIns="0" bIns="0" anchor="ctr"/>
          <a:lstStyle>
            <a:lvl1pPr marL="0" indent="0">
              <a:buNone/>
              <a:defRPr sz="2000">
                <a:solidFill>
                  <a:schemeClr val="bg1"/>
                </a:solidFill>
                <a:latin typeface="+mn-lt"/>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9" name="Text Placeholder 7"/>
          <p:cNvSpPr>
            <a:spLocks noGrp="1"/>
          </p:cNvSpPr>
          <p:nvPr>
            <p:ph type="body" sz="quarter" idx="13"/>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Tree>
    <p:extLst>
      <p:ext uri="{BB962C8B-B14F-4D97-AF65-F5344CB8AC3E}">
        <p14:creationId xmlns:p14="http://schemas.microsoft.com/office/powerpoint/2010/main" val="1961473742"/>
      </p:ext>
    </p:extLst>
  </p:cSld>
  <p:clrMapOvr>
    <a:masterClrMapping/>
  </p:clrMapOvr>
  <p:transition>
    <p:fade/>
  </p:transition>
  <p:extLst mod="1">
    <p:ext uri="{DCECCB84-F9BA-43D5-87BE-67443E8EF086}">
      <p15:sldGuideLst xmlns:p15="http://schemas.microsoft.com/office/powerpoint/2012/main">
        <p15:guide id="1" orient="horz" pos="1104">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5_Title &amp; Non-bulleted text">
    <p:spTree>
      <p:nvGrpSpPr>
        <p:cNvPr id="1" name=""/>
        <p:cNvGrpSpPr/>
        <p:nvPr/>
      </p:nvGrpSpPr>
      <p:grpSpPr>
        <a:xfrm>
          <a:off x="0" y="0"/>
          <a:ext cx="0" cy="0"/>
          <a:chOff x="0" y="0"/>
          <a:chExt cx="0" cy="0"/>
        </a:xfrm>
      </p:grpSpPr>
      <p:sp>
        <p:nvSpPr>
          <p:cNvPr id="3" name="Rectangle 2"/>
          <p:cNvSpPr/>
          <p:nvPr userDrawn="1"/>
        </p:nvSpPr>
        <p:spPr bwMode="auto">
          <a:xfrm>
            <a:off x="0" y="3575431"/>
            <a:ext cx="12192000" cy="3282570"/>
          </a:xfrm>
          <a:prstGeom prst="rect">
            <a:avLst/>
          </a:prstGeom>
          <a:solidFill>
            <a:schemeClr val="tx1">
              <a:lumMod val="95000"/>
            </a:schemeClr>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1805328" y="1796852"/>
            <a:ext cx="10386672" cy="1737875"/>
          </a:xfrm>
          <a:prstGeom prst="rect">
            <a:avLst/>
          </a:prstGeom>
          <a:solidFill>
            <a:schemeClr val="tx1">
              <a:lumMod val="9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8038" y="1796852"/>
            <a:ext cx="1789252" cy="1737874"/>
          </a:xfrm>
          <a:prstGeom prst="rect">
            <a:avLst/>
          </a:prstGeom>
          <a:solidFill>
            <a:schemeClr val="bg2"/>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60" name="Isosceles Triangle 59"/>
          <p:cNvSpPr/>
          <p:nvPr userDrawn="1"/>
        </p:nvSpPr>
        <p:spPr bwMode="auto">
          <a:xfrm rot="5400000">
            <a:off x="-631960" y="2473078"/>
            <a:ext cx="1694788" cy="428508"/>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441218" y="2175269"/>
            <a:ext cx="1149350" cy="1098762"/>
          </a:xfrm>
        </p:spPr>
        <p:txBody>
          <a:bodyPr/>
          <a:lstStyle>
            <a:lvl1pPr marL="0" indent="0" algn="ctr">
              <a:buNone/>
              <a:defRPr sz="6598"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1938928" y="1953670"/>
            <a:ext cx="9513266" cy="443198"/>
          </a:xfrm>
        </p:spPr>
        <p:txBody>
          <a:bodyPr lIns="0" tIns="0" rIns="0" bIns="0" anchor="ctr"/>
          <a:lstStyle>
            <a:lvl1pPr marL="0" indent="0">
              <a:buNone/>
              <a:defRPr sz="3200">
                <a:solidFill>
                  <a:schemeClr val="bg1"/>
                </a:solidFill>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8" name="Text Placeholder 66"/>
          <p:cNvSpPr>
            <a:spLocks noGrp="1"/>
          </p:cNvSpPr>
          <p:nvPr>
            <p:ph type="body" sz="quarter" idx="12"/>
          </p:nvPr>
        </p:nvSpPr>
        <p:spPr>
          <a:xfrm>
            <a:off x="1938928" y="2530183"/>
            <a:ext cx="9513266" cy="276999"/>
          </a:xfrm>
        </p:spPr>
        <p:txBody>
          <a:bodyPr lIns="0" tIns="0" rIns="0" bIns="0" anchor="t" anchorCtr="0"/>
          <a:lstStyle>
            <a:lvl1pPr marL="0" indent="0">
              <a:buNone/>
              <a:defRPr sz="2000">
                <a:solidFill>
                  <a:schemeClr val="bg1"/>
                </a:solidFill>
                <a:latin typeface="+mn-lt"/>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4" name="Title 3"/>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372531647"/>
      </p:ext>
    </p:extLst>
  </p:cSld>
  <p:clrMapOvr>
    <a:masterClrMapping/>
  </p:clrMapOvr>
  <p:transition>
    <p:fade/>
  </p:transition>
  <p:extLst mod="1">
    <p:ext uri="{DCECCB84-F9BA-43D5-87BE-67443E8EF086}">
      <p15:sldGuideLst xmlns:p15="http://schemas.microsoft.com/office/powerpoint/2012/main">
        <p15:guide id="1" orient="horz" pos="1104">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Dark Band sing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2742011511"/>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Dark Band -side conten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3507643"/>
            <a:ext cx="4572000" cy="893643"/>
          </a:xfrm>
        </p:spPr>
        <p:txBody>
          <a:bodyPr vert="horz" wrap="square" lIns="146304" tIns="91440" rIns="146304" bIns="91440" rtlCol="0" anchor="ctr">
            <a:spAutoFit/>
          </a:bodyPr>
          <a:lstStyle>
            <a:lvl1pPr marL="457112" indent="-457112">
              <a:spcBef>
                <a:spcPts val="2400"/>
              </a:spcBef>
              <a:buClr>
                <a:srgbClr val="B4A0FF"/>
              </a:buClr>
              <a:buFont typeface="Webdings" panose="05030102010509060703" pitchFamily="18" charset="2"/>
              <a:buChar char="4"/>
              <a:defRPr lang="en-US" sz="2856" kern="1200" spc="0" baseline="0" dirty="0" smtClean="0">
                <a:solidFill>
                  <a:schemeClr val="tx1"/>
                </a:solidFill>
                <a:latin typeface="Segoe UI Light"/>
                <a:ea typeface="+mn-ea"/>
                <a:cs typeface="+mn-cs"/>
              </a:defRPr>
            </a:lvl1pPr>
            <a:lvl2pPr marL="685668" indent="0">
              <a:defRPr lang="en-US" sz="1800" smtClean="0">
                <a:solidFill>
                  <a:schemeClr val="tx1"/>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
        <p:nvSpPr>
          <p:cNvPr id="5" name="Text Placeholder 7"/>
          <p:cNvSpPr>
            <a:spLocks noGrp="1"/>
          </p:cNvSpPr>
          <p:nvPr>
            <p:ph type="body" sz="quarter" idx="11"/>
          </p:nvPr>
        </p:nvSpPr>
        <p:spPr>
          <a:xfrm>
            <a:off x="274639" y="1052513"/>
            <a:ext cx="11704637" cy="580223"/>
          </a:xfrm>
        </p:spPr>
        <p:txBody>
          <a:bodyPr vert="horz" wrap="square" lIns="146304" tIns="91440" rIns="146304" bIns="91440" rtlCol="0">
            <a:spAutoFit/>
          </a:bodyPr>
          <a:lstStyle>
            <a:lvl1pPr>
              <a:defRPr lang="en-US" sz="2800" dirty="0" smtClean="0">
                <a:solidFill>
                  <a:srgbClr val="0070C0"/>
                </a:solidFill>
              </a:defRPr>
            </a:lvl1pPr>
          </a:lstStyle>
          <a:p>
            <a:pPr marL="0" lvl="0" indent="0">
              <a:buNone/>
            </a:pPr>
            <a:r>
              <a:rPr lang="en-US" dirty="0"/>
              <a:t>Click to edit Master text styles</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79337338"/>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3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4" name="Text Placeholder 3"/>
          <p:cNvSpPr>
            <a:spLocks noGrp="1"/>
          </p:cNvSpPr>
          <p:nvPr>
            <p:ph type="body" sz="quarter" idx="10"/>
          </p:nvPr>
        </p:nvSpPr>
        <p:spPr>
          <a:xfrm>
            <a:off x="274638" y="3035704"/>
            <a:ext cx="4572000" cy="893643"/>
          </a:xfrm>
        </p:spPr>
        <p:txBody>
          <a:bodyPr vert="horz" wrap="square" lIns="146304" tIns="91440" rIns="146304" bIns="91440" rtlCol="0" anchor="ctr">
            <a:spAutoFit/>
          </a:bodyPr>
          <a:lstStyle>
            <a:lvl1pPr marL="457112" indent="-457112">
              <a:spcBef>
                <a:spcPts val="2400"/>
              </a:spcBef>
              <a:buClr>
                <a:srgbClr val="B4A0FF"/>
              </a:buClr>
              <a:buFont typeface="Webdings" panose="05030102010509060703" pitchFamily="18" charset="2"/>
              <a:buChar char="4"/>
              <a:defRPr lang="en-US" sz="2856" kern="1200" spc="0" baseline="0" dirty="0" smtClean="0">
                <a:solidFill>
                  <a:prstClr val="white"/>
                </a:solidFill>
                <a:latin typeface="Segoe UI Light"/>
                <a:ea typeface="+mn-ea"/>
                <a:cs typeface="+mn-cs"/>
              </a:defRPr>
            </a:lvl1pPr>
            <a:lvl2pPr marL="685668" indent="0">
              <a:defRPr lang="en-US" sz="1800" smtClean="0">
                <a:solidFill>
                  <a:schemeClr val="bg1">
                    <a:lumMod val="85000"/>
                  </a:schemeClr>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Tree>
    <p:extLst>
      <p:ext uri="{BB962C8B-B14F-4D97-AF65-F5344CB8AC3E}">
        <p14:creationId xmlns:p14="http://schemas.microsoft.com/office/powerpoint/2010/main" val="3760668129"/>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11"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sp>
        <p:nvSpPr>
          <p:cNvPr id="2" name="Espace réservé du pied de page 1"/>
          <p:cNvSpPr>
            <a:spLocks noGrp="1"/>
          </p:cNvSpPr>
          <p:nvPr>
            <p:ph type="ftr" sz="quarter" idx="10"/>
          </p:nvPr>
        </p:nvSpPr>
        <p:spPr>
          <a:xfrm>
            <a:off x="1826652" y="6356351"/>
            <a:ext cx="4114800" cy="366183"/>
          </a:xfrm>
          <a:prstGeom prst="rect">
            <a:avLst/>
          </a:prstGeom>
        </p:spPr>
        <p:txBody>
          <a:bodyPr/>
          <a:lstStyle/>
          <a:p>
            <a:r>
              <a:rPr lang="fr-FR"/>
              <a:t>| Improving industrial performance</a:t>
            </a:r>
          </a:p>
        </p:txBody>
      </p:sp>
      <p:pic>
        <p:nvPicPr>
          <p:cNvPr id="4" name="Picture 3"/>
          <p:cNvPicPr>
            <a:picLocks noChangeAspect="1"/>
          </p:cNvPicPr>
          <p:nvPr userDrawn="1"/>
        </p:nvPicPr>
        <p:blipFill>
          <a:blip r:embed="rId2"/>
          <a:stretch>
            <a:fillRect/>
          </a:stretch>
        </p:blipFill>
        <p:spPr>
          <a:xfrm>
            <a:off x="0" y="-440012"/>
            <a:ext cx="12192000" cy="8132064"/>
          </a:xfrm>
          <a:prstGeom prst="rect">
            <a:avLst/>
          </a:prstGeom>
        </p:spPr>
      </p:pic>
    </p:spTree>
    <p:extLst>
      <p:ext uri="{BB962C8B-B14F-4D97-AF65-F5344CB8AC3E}">
        <p14:creationId xmlns:p14="http://schemas.microsoft.com/office/powerpoint/2010/main" val="3573322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2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457199" y="1757363"/>
            <a:ext cx="5650637" cy="1968296"/>
          </a:xfrm>
        </p:spPr>
        <p:txBody>
          <a:bodyPr/>
          <a:lstStyle>
            <a:lvl1pPr marL="0" indent="0">
              <a:spcBef>
                <a:spcPts val="2400"/>
              </a:spcBef>
              <a:buNone/>
              <a:defRPr>
                <a:solidFill>
                  <a:schemeClr val="tx1"/>
                </a:solidFill>
              </a:defRPr>
            </a:lvl1pPr>
            <a:lvl2pPr marL="0" indent="0">
              <a:buClr>
                <a:schemeClr val="accent5"/>
              </a:buClr>
              <a:buFont typeface="Segoe UI" panose="020B0502040204020203" pitchFamily="34" charset="0"/>
              <a:buNone/>
              <a:defRPr sz="2000">
                <a:solidFill>
                  <a:schemeClr val="tx1"/>
                </a:solidFill>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1"/>
          </p:nvPr>
        </p:nvSpPr>
        <p:spPr>
          <a:xfrm>
            <a:off x="6394231" y="1757363"/>
            <a:ext cx="5530850" cy="2012346"/>
          </a:xfrm>
        </p:spPr>
        <p:txBody>
          <a:bodyPr/>
          <a:lstStyle>
            <a:lvl1pPr marL="0" indent="0">
              <a:spcBef>
                <a:spcPts val="2400"/>
              </a:spcBef>
              <a:buFont typeface="Arial" panose="020B0604020202020204" pitchFamily="34" charset="0"/>
              <a:buNone/>
              <a:defRPr lang="en-US" sz="3919" kern="1200" spc="0" baseline="0" dirty="0" smtClean="0">
                <a:solidFill>
                  <a:schemeClr val="tx1"/>
                </a:solidFill>
                <a:latin typeface="+mj-lt"/>
                <a:ea typeface="+mn-ea"/>
                <a:cs typeface="+mn-cs"/>
              </a:defRPr>
            </a:lvl1pPr>
            <a:lvl2pPr marL="0" indent="0">
              <a:buClr>
                <a:schemeClr val="accent5"/>
              </a:buClr>
              <a:buFont typeface="Segoe UI" panose="020B0502040204020203" pitchFamily="34" charset="0"/>
              <a:buNone/>
              <a:defRPr lang="en-US" sz="2000" kern="1200" spc="0" baseline="0" dirty="0" smtClean="0">
                <a:solidFill>
                  <a:schemeClr val="tx1"/>
                </a:solidFill>
                <a:latin typeface="+mn-lt"/>
                <a:ea typeface="+mn-ea"/>
                <a:cs typeface="+mn-cs"/>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marL="571390" marR="0" lvl="0" indent="-571390" algn="l" defTabSz="914016" rtl="0" eaLnBrk="1" fontAlgn="auto" latinLnBrk="0" hangingPunct="1">
              <a:lnSpc>
                <a:spcPct val="90000"/>
              </a:lnSpc>
              <a:spcBef>
                <a:spcPts val="2400"/>
              </a:spcBef>
              <a:spcAft>
                <a:spcPts val="0"/>
              </a:spcAft>
              <a:buClrTx/>
              <a:buSzPct val="90000"/>
              <a:tabLst/>
            </a:pPr>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53656157"/>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Dark band + sub ">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80223"/>
          </a:xfrm>
        </p:spPr>
        <p:txBody>
          <a:bodyPr vert="horz" wrap="square" lIns="146304" tIns="91440" rIns="146304" bIns="91440" rtlCol="0">
            <a:spAutoFit/>
          </a:bodyPr>
          <a:lstStyle>
            <a:lvl1pPr marL="0" indent="0">
              <a:buNone/>
              <a:defRPr lang="en-US" sz="2800" dirty="0" smtClean="0">
                <a:solidFill>
                  <a:srgbClr val="0070C0"/>
                </a:solidFill>
              </a:defRPr>
            </a:lvl1pPr>
          </a:lstStyle>
          <a:p>
            <a:pPr marL="336015" lvl="0" indent="-336015"/>
            <a:r>
              <a:rPr lang="en-US" dirty="0"/>
              <a:t>Click to edit Master text styles</a:t>
            </a:r>
          </a:p>
        </p:txBody>
      </p:sp>
    </p:spTree>
    <p:extLst>
      <p:ext uri="{BB962C8B-B14F-4D97-AF65-F5344CB8AC3E}">
        <p14:creationId xmlns:p14="http://schemas.microsoft.com/office/powerpoint/2010/main" val="2942523411"/>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2_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11704637" cy="1809726"/>
          </a:xfrm>
        </p:spPr>
        <p:txBody>
          <a:bodyPr/>
          <a:lstStyle>
            <a:lvl1pPr marL="0" indent="0">
              <a:buFontTx/>
              <a:buNone/>
              <a:defRPr sz="3600">
                <a:solidFill>
                  <a:srgbClr val="00BCF2"/>
                </a:solidFill>
              </a:defRPr>
            </a:lvl1pPr>
            <a:lvl2pPr marL="0" indent="0">
              <a:spcAft>
                <a:spcPts val="600"/>
              </a:spcAft>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33460422"/>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5486400" cy="2298161"/>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86870393"/>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DARK BAND - side text">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5486400" cy="2298161"/>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3"/>
          <p:cNvSpPr>
            <a:spLocks noGrp="1"/>
          </p:cNvSpPr>
          <p:nvPr>
            <p:ph type="body" sz="quarter" idx="12"/>
          </p:nvPr>
        </p:nvSpPr>
        <p:spPr>
          <a:xfrm>
            <a:off x="6258187" y="2125663"/>
            <a:ext cx="5486400" cy="2298161"/>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24215282"/>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1" y="1562101"/>
            <a:ext cx="11653523" cy="2050772"/>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54317810"/>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09935" y="1562100"/>
            <a:ext cx="11653523" cy="2105091"/>
          </a:xfrm>
        </p:spPr>
        <p:txBody>
          <a:bodyPr>
            <a:spAutoFit/>
          </a:bodyPr>
          <a:lstStyle>
            <a:lvl1pPr>
              <a:defRPr sz="391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65549540"/>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562100"/>
            <a:ext cx="11653523" cy="2105091"/>
          </a:xfrm>
        </p:spPr>
        <p:txBody>
          <a:bodyPr>
            <a:spAutoFit/>
          </a:bodyPr>
          <a:lstStyle>
            <a:lvl1pPr>
              <a:defRPr sz="391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28377940"/>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1"/>
            <a:ext cx="5378548" cy="1942136"/>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62101"/>
            <a:ext cx="5378548" cy="1942136"/>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79715582"/>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1"/>
            <a:ext cx="5378548" cy="1942136"/>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62101"/>
            <a:ext cx="5378548" cy="1942136"/>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2046235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apositive de titre-V1">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133"/>
          </a:p>
        </p:txBody>
      </p:sp>
      <p:sp>
        <p:nvSpPr>
          <p:cNvPr id="2" name="Titre 1"/>
          <p:cNvSpPr>
            <a:spLocks noGrp="1"/>
          </p:cNvSpPr>
          <p:nvPr>
            <p:ph type="ctrTitle"/>
          </p:nvPr>
        </p:nvSpPr>
        <p:spPr>
          <a:xfrm>
            <a:off x="866366" y="2199974"/>
            <a:ext cx="5962001" cy="1470025"/>
          </a:xfrm>
        </p:spPr>
        <p:txBody>
          <a:bodyPr>
            <a:noAutofit/>
          </a:bodyPr>
          <a:lstStyle>
            <a:lvl1pPr algn="l">
              <a:lnSpc>
                <a:spcPct val="90000"/>
              </a:lnSpc>
              <a:defRPr sz="4533" b="1" i="0" baseline="0">
                <a:solidFill>
                  <a:schemeClr val="tx1"/>
                </a:solidFill>
                <a:latin typeface="Arial"/>
                <a:cs typeface="Arial"/>
              </a:defRPr>
            </a:lvl1pPr>
          </a:lstStyle>
          <a:p>
            <a:r>
              <a:rPr lang="nl-NL"/>
              <a:t>Klik om de stijl te bewerken</a:t>
            </a:r>
            <a:endParaRPr lang="fr-FR"/>
          </a:p>
        </p:txBody>
      </p:sp>
      <p:sp>
        <p:nvSpPr>
          <p:cNvPr id="3" name="Sous-titre 2"/>
          <p:cNvSpPr>
            <a:spLocks noGrp="1"/>
          </p:cNvSpPr>
          <p:nvPr>
            <p:ph type="subTitle" idx="1"/>
          </p:nvPr>
        </p:nvSpPr>
        <p:spPr>
          <a:xfrm>
            <a:off x="858676" y="3985273"/>
            <a:ext cx="5802475" cy="1248019"/>
          </a:xfrm>
        </p:spPr>
        <p:txBody>
          <a:bodyPr>
            <a:normAutofit/>
          </a:bodyPr>
          <a:lstStyle>
            <a:lvl1pPr marL="0" indent="0" algn="l">
              <a:buNone/>
              <a:defRPr sz="2667" baseline="0">
                <a:solidFill>
                  <a:schemeClr val="accent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a:p>
        </p:txBody>
      </p:sp>
      <p:sp>
        <p:nvSpPr>
          <p:cNvPr id="8" name="Espace réservé du texte 15"/>
          <p:cNvSpPr>
            <a:spLocks noGrp="1"/>
          </p:cNvSpPr>
          <p:nvPr>
            <p:ph type="body" sz="quarter" idx="12"/>
          </p:nvPr>
        </p:nvSpPr>
        <p:spPr>
          <a:xfrm>
            <a:off x="872862" y="6210695"/>
            <a:ext cx="5788289" cy="417512"/>
          </a:xfrm>
        </p:spPr>
        <p:txBody>
          <a:bodyPr>
            <a:noAutofit/>
          </a:bodyPr>
          <a:lstStyle>
            <a:lvl1pPr marL="0" indent="0" algn="l" defTabSz="609585" rtl="0" eaLnBrk="1" latinLnBrk="0" hangingPunct="1">
              <a:buNone/>
              <a:defRPr lang="fr-FR" sz="1867" b="0" i="0" kern="1200" dirty="0">
                <a:solidFill>
                  <a:schemeClr val="tx1"/>
                </a:solidFill>
                <a:latin typeface="Arial"/>
                <a:ea typeface="+mn-ea"/>
                <a:cs typeface="Arial"/>
              </a:defRPr>
            </a:lvl1pPr>
            <a:lvl3pPr marL="1219170" indent="0">
              <a:buNone/>
              <a:defRPr/>
            </a:lvl3pPr>
          </a:lstStyle>
          <a:p>
            <a:pPr lvl="0"/>
            <a:r>
              <a:rPr lang="nl-NL"/>
              <a:t>Klik om de modelstijlen te bewerken</a:t>
            </a:r>
          </a:p>
        </p:txBody>
      </p:sp>
      <p:sp>
        <p:nvSpPr>
          <p:cNvPr id="13" name="Forme libre 9"/>
          <p:cNvSpPr>
            <a:spLocks noChangeAspect="1"/>
          </p:cNvSpPr>
          <p:nvPr userDrawn="1"/>
        </p:nvSpPr>
        <p:spPr bwMode="auto">
          <a:xfrm rot="10800000">
            <a:off x="7960507" y="1118246"/>
            <a:ext cx="4281084" cy="4646479"/>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9287" h="10173">
                <a:moveTo>
                  <a:pt x="217" y="0"/>
                </a:moveTo>
                <a:cubicBezTo>
                  <a:pt x="313" y="8"/>
                  <a:pt x="454" y="18"/>
                  <a:pt x="562" y="27"/>
                </a:cubicBezTo>
                <a:cubicBezTo>
                  <a:pt x="670" y="36"/>
                  <a:pt x="745" y="40"/>
                  <a:pt x="863" y="53"/>
                </a:cubicBezTo>
                <a:cubicBezTo>
                  <a:pt x="981" y="66"/>
                  <a:pt x="1133" y="83"/>
                  <a:pt x="1273" y="103"/>
                </a:cubicBezTo>
                <a:lnTo>
                  <a:pt x="1703" y="173"/>
                </a:lnTo>
                <a:cubicBezTo>
                  <a:pt x="1820" y="194"/>
                  <a:pt x="1883" y="207"/>
                  <a:pt x="1978" y="227"/>
                </a:cubicBezTo>
                <a:cubicBezTo>
                  <a:pt x="2073" y="247"/>
                  <a:pt x="2152" y="262"/>
                  <a:pt x="2273" y="293"/>
                </a:cubicBezTo>
                <a:cubicBezTo>
                  <a:pt x="2394" y="324"/>
                  <a:pt x="2571" y="375"/>
                  <a:pt x="2703" y="413"/>
                </a:cubicBezTo>
                <a:cubicBezTo>
                  <a:pt x="2835" y="451"/>
                  <a:pt x="2917" y="473"/>
                  <a:pt x="3063" y="523"/>
                </a:cubicBezTo>
                <a:cubicBezTo>
                  <a:pt x="3209" y="573"/>
                  <a:pt x="3437" y="657"/>
                  <a:pt x="3581" y="712"/>
                </a:cubicBezTo>
                <a:cubicBezTo>
                  <a:pt x="3725" y="767"/>
                  <a:pt x="3802" y="799"/>
                  <a:pt x="3928" y="852"/>
                </a:cubicBezTo>
                <a:cubicBezTo>
                  <a:pt x="4054" y="905"/>
                  <a:pt x="4197" y="967"/>
                  <a:pt x="4337" y="1032"/>
                </a:cubicBezTo>
                <a:cubicBezTo>
                  <a:pt x="4477" y="1097"/>
                  <a:pt x="4614" y="1158"/>
                  <a:pt x="4766" y="1240"/>
                </a:cubicBezTo>
                <a:cubicBezTo>
                  <a:pt x="4918" y="1322"/>
                  <a:pt x="5094" y="1427"/>
                  <a:pt x="5250" y="1523"/>
                </a:cubicBezTo>
                <a:cubicBezTo>
                  <a:pt x="5406" y="1619"/>
                  <a:pt x="5584" y="1736"/>
                  <a:pt x="5703" y="1816"/>
                </a:cubicBezTo>
                <a:cubicBezTo>
                  <a:pt x="5822" y="1896"/>
                  <a:pt x="5899" y="1953"/>
                  <a:pt x="5965" y="2001"/>
                </a:cubicBezTo>
                <a:cubicBezTo>
                  <a:pt x="6031" y="2049"/>
                  <a:pt x="6010" y="2036"/>
                  <a:pt x="6097" y="2103"/>
                </a:cubicBezTo>
                <a:cubicBezTo>
                  <a:pt x="6184" y="2170"/>
                  <a:pt x="6353" y="2295"/>
                  <a:pt x="6490" y="2403"/>
                </a:cubicBezTo>
                <a:cubicBezTo>
                  <a:pt x="6627" y="2511"/>
                  <a:pt x="6769" y="2625"/>
                  <a:pt x="6921" y="2752"/>
                </a:cubicBezTo>
                <a:cubicBezTo>
                  <a:pt x="7073" y="2879"/>
                  <a:pt x="7264" y="3042"/>
                  <a:pt x="7401" y="3162"/>
                </a:cubicBezTo>
                <a:cubicBezTo>
                  <a:pt x="7537" y="3282"/>
                  <a:pt x="7608" y="3350"/>
                  <a:pt x="7738" y="3472"/>
                </a:cubicBezTo>
                <a:cubicBezTo>
                  <a:pt x="7867" y="3594"/>
                  <a:pt x="7997" y="3709"/>
                  <a:pt x="8177" y="3892"/>
                </a:cubicBezTo>
                <a:cubicBezTo>
                  <a:pt x="8357" y="4075"/>
                  <a:pt x="8667" y="4407"/>
                  <a:pt x="8821" y="4572"/>
                </a:cubicBezTo>
                <a:cubicBezTo>
                  <a:pt x="8975" y="4737"/>
                  <a:pt x="9023" y="4798"/>
                  <a:pt x="9100" y="4883"/>
                </a:cubicBezTo>
                <a:lnTo>
                  <a:pt x="9283" y="5083"/>
                </a:lnTo>
                <a:cubicBezTo>
                  <a:pt x="9287" y="5071"/>
                  <a:pt x="9200" y="5195"/>
                  <a:pt x="9143" y="5263"/>
                </a:cubicBezTo>
                <a:cubicBezTo>
                  <a:pt x="9086" y="5331"/>
                  <a:pt x="9008" y="5419"/>
                  <a:pt x="8943" y="5493"/>
                </a:cubicBezTo>
                <a:cubicBezTo>
                  <a:pt x="8878" y="5567"/>
                  <a:pt x="8824" y="5628"/>
                  <a:pt x="8752" y="5707"/>
                </a:cubicBezTo>
                <a:cubicBezTo>
                  <a:pt x="8680" y="5786"/>
                  <a:pt x="8603" y="5873"/>
                  <a:pt x="8512" y="5967"/>
                </a:cubicBezTo>
                <a:cubicBezTo>
                  <a:pt x="8421" y="6061"/>
                  <a:pt x="8283" y="6194"/>
                  <a:pt x="8206" y="6271"/>
                </a:cubicBezTo>
                <a:cubicBezTo>
                  <a:pt x="8129" y="6348"/>
                  <a:pt x="8115" y="6363"/>
                  <a:pt x="8050" y="6427"/>
                </a:cubicBezTo>
                <a:cubicBezTo>
                  <a:pt x="7985" y="6491"/>
                  <a:pt x="7887" y="6582"/>
                  <a:pt x="7813" y="6653"/>
                </a:cubicBezTo>
                <a:cubicBezTo>
                  <a:pt x="7739" y="6724"/>
                  <a:pt x="7678" y="6785"/>
                  <a:pt x="7605" y="6852"/>
                </a:cubicBezTo>
                <a:cubicBezTo>
                  <a:pt x="7532" y="6919"/>
                  <a:pt x="7467" y="6973"/>
                  <a:pt x="7373" y="7053"/>
                </a:cubicBezTo>
                <a:cubicBezTo>
                  <a:pt x="7279" y="7133"/>
                  <a:pt x="7156" y="7238"/>
                  <a:pt x="7043" y="7333"/>
                </a:cubicBezTo>
                <a:cubicBezTo>
                  <a:pt x="6930" y="7428"/>
                  <a:pt x="6810" y="7530"/>
                  <a:pt x="6693" y="7623"/>
                </a:cubicBezTo>
                <a:cubicBezTo>
                  <a:pt x="6576" y="7716"/>
                  <a:pt x="6458" y="7806"/>
                  <a:pt x="6343" y="7893"/>
                </a:cubicBezTo>
                <a:cubicBezTo>
                  <a:pt x="6228" y="7980"/>
                  <a:pt x="6134" y="8048"/>
                  <a:pt x="6000" y="8143"/>
                </a:cubicBezTo>
                <a:cubicBezTo>
                  <a:pt x="5866" y="8238"/>
                  <a:pt x="5683" y="8366"/>
                  <a:pt x="5540" y="8463"/>
                </a:cubicBezTo>
                <a:cubicBezTo>
                  <a:pt x="5397" y="8560"/>
                  <a:pt x="5262" y="8648"/>
                  <a:pt x="5140" y="8723"/>
                </a:cubicBezTo>
                <a:cubicBezTo>
                  <a:pt x="5018" y="8798"/>
                  <a:pt x="4926" y="8850"/>
                  <a:pt x="4810" y="8913"/>
                </a:cubicBezTo>
                <a:cubicBezTo>
                  <a:pt x="4694" y="8976"/>
                  <a:pt x="4568" y="9041"/>
                  <a:pt x="4443" y="9103"/>
                </a:cubicBezTo>
                <a:cubicBezTo>
                  <a:pt x="4318" y="9165"/>
                  <a:pt x="4187" y="9226"/>
                  <a:pt x="4057" y="9283"/>
                </a:cubicBezTo>
                <a:cubicBezTo>
                  <a:pt x="3927" y="9340"/>
                  <a:pt x="3819" y="9385"/>
                  <a:pt x="3663" y="9443"/>
                </a:cubicBezTo>
                <a:cubicBezTo>
                  <a:pt x="3507" y="9501"/>
                  <a:pt x="3322" y="9569"/>
                  <a:pt x="3123" y="9630"/>
                </a:cubicBezTo>
                <a:cubicBezTo>
                  <a:pt x="2924" y="9691"/>
                  <a:pt x="2634" y="9768"/>
                  <a:pt x="2467" y="9812"/>
                </a:cubicBezTo>
                <a:cubicBezTo>
                  <a:pt x="2300" y="9856"/>
                  <a:pt x="2295" y="9857"/>
                  <a:pt x="2119" y="9892"/>
                </a:cubicBezTo>
                <a:cubicBezTo>
                  <a:pt x="1943" y="9927"/>
                  <a:pt x="1610" y="9989"/>
                  <a:pt x="1414" y="10022"/>
                </a:cubicBezTo>
                <a:cubicBezTo>
                  <a:pt x="1218" y="10055"/>
                  <a:pt x="1100" y="10070"/>
                  <a:pt x="944" y="10092"/>
                </a:cubicBezTo>
                <a:cubicBezTo>
                  <a:pt x="788" y="10114"/>
                  <a:pt x="609" y="10139"/>
                  <a:pt x="480" y="10153"/>
                </a:cubicBezTo>
                <a:cubicBezTo>
                  <a:pt x="351" y="10167"/>
                  <a:pt x="247" y="10170"/>
                  <a:pt x="170" y="10173"/>
                </a:cubicBezTo>
                <a:lnTo>
                  <a:pt x="15" y="10172"/>
                </a:lnTo>
                <a:lnTo>
                  <a:pt x="7" y="9360"/>
                </a:lnTo>
                <a:cubicBezTo>
                  <a:pt x="6" y="9131"/>
                  <a:pt x="7" y="9193"/>
                  <a:pt x="7" y="8800"/>
                </a:cubicBezTo>
                <a:lnTo>
                  <a:pt x="7" y="7000"/>
                </a:lnTo>
                <a:lnTo>
                  <a:pt x="0" y="3"/>
                </a:lnTo>
                <a:lnTo>
                  <a:pt x="217" y="0"/>
                </a:lnTo>
                <a:close/>
              </a:path>
            </a:pathLst>
          </a:custGeom>
          <a:solidFill>
            <a:schemeClr val="bg1"/>
          </a:solidFill>
          <a:ln w="12700" cap="flat" cmpd="sng">
            <a:solidFill>
              <a:schemeClr val="accent1"/>
            </a:solid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pic>
        <p:nvPicPr>
          <p:cNvPr id="17" name="Image 16" descr="VE_RGB_C.jpg"/>
          <p:cNvPicPr>
            <a:picLocks noChangeAspect="1"/>
          </p:cNvPicPr>
          <p:nvPr userDrawn="1"/>
        </p:nvPicPr>
        <p:blipFill>
          <a:blip r:embed="rId2" cstate="print">
            <a:alphaModFix/>
            <a:extLst>
              <a:ext uri="{28A0092B-C50C-407E-A947-70E740481C1C}">
                <a14:useLocalDpi xmlns:a14="http://schemas.microsoft.com/office/drawing/2010/main"/>
              </a:ext>
            </a:extLst>
          </a:blip>
          <a:stretch>
            <a:fillRect/>
          </a:stretch>
        </p:blipFill>
        <p:spPr>
          <a:xfrm>
            <a:off x="9855203" y="5992155"/>
            <a:ext cx="2064077" cy="798109"/>
          </a:xfrm>
          <a:prstGeom prst="rect">
            <a:avLst/>
          </a:prstGeom>
        </p:spPr>
      </p:pic>
      <p:pic>
        <p:nvPicPr>
          <p:cNvPr id="9" name="Image 8"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Tree>
    <p:extLst>
      <p:ext uri="{BB962C8B-B14F-4D97-AF65-F5344CB8AC3E}">
        <p14:creationId xmlns:p14="http://schemas.microsoft.com/office/powerpoint/2010/main" val="223479536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0"/>
            <a:ext cx="5378548" cy="2430750"/>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62100"/>
            <a:ext cx="5378548" cy="2430750"/>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76951834"/>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269243" y="1576523"/>
            <a:ext cx="5378548" cy="243075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76523"/>
            <a:ext cx="5378548" cy="243075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86206931"/>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93843180"/>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7868" y="2084174"/>
            <a:ext cx="11294896" cy="1158793"/>
          </a:xfrm>
          <a:noFill/>
        </p:spPr>
        <p:txBody>
          <a:bodyPr wrap="square" tIns="91440" bIns="91440" anchor="t" anchorCtr="0">
            <a:spAutoFit/>
          </a:bodyPr>
          <a:lstStyle>
            <a:lvl1pPr>
              <a:defRPr sz="7054" spc="-98" baseline="0">
                <a:solidFill>
                  <a:schemeClr val="tx1"/>
                </a:solidFill>
              </a:defRPr>
            </a:lvl1pPr>
          </a:lstStyle>
          <a:p>
            <a:r>
              <a:rPr lang="en-US" dirty="0"/>
              <a:t>Section title</a:t>
            </a:r>
          </a:p>
        </p:txBody>
      </p:sp>
    </p:spTree>
    <p:extLst>
      <p:ext uri="{BB962C8B-B14F-4D97-AF65-F5344CB8AC3E}">
        <p14:creationId xmlns:p14="http://schemas.microsoft.com/office/powerpoint/2010/main" val="2226356473"/>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6919" y="2084174"/>
            <a:ext cx="11175844" cy="1158793"/>
          </a:xfrm>
          <a:noFill/>
        </p:spPr>
        <p:txBody>
          <a:bodyPr wrap="square" tIns="91440" bIns="91440" anchor="t" anchorCtr="0">
            <a:spAutoFit/>
          </a:bodyPr>
          <a:lstStyle>
            <a:lvl1pPr>
              <a:defRPr sz="7054" spc="-98" baseline="0">
                <a:solidFill>
                  <a:schemeClr val="tx1"/>
                </a:solidFill>
              </a:defRPr>
            </a:lvl1pPr>
          </a:lstStyle>
          <a:p>
            <a:r>
              <a:rPr lang="en-US" dirty="0"/>
              <a:t>Section title</a:t>
            </a:r>
          </a:p>
        </p:txBody>
      </p:sp>
      <p:sp>
        <p:nvSpPr>
          <p:cNvPr id="4" name="Text Placeholder 3"/>
          <p:cNvSpPr>
            <a:spLocks noGrp="1"/>
          </p:cNvSpPr>
          <p:nvPr>
            <p:ph type="body" sz="quarter" idx="10"/>
          </p:nvPr>
        </p:nvSpPr>
        <p:spPr>
          <a:xfrm>
            <a:off x="717509" y="4146553"/>
            <a:ext cx="10487801" cy="910337"/>
          </a:xfrm>
        </p:spPr>
        <p:txBody>
          <a:bodyPr/>
          <a:lstStyle>
            <a:lvl1pPr marL="0" indent="0">
              <a:buNone/>
              <a:defRPr sz="3137"/>
            </a:lvl1pPr>
            <a:lvl2pPr marL="0" indent="0">
              <a:buNone/>
              <a:defRPr sz="1765"/>
            </a:lvl2pPr>
            <a:lvl3pPr marL="0" indent="0">
              <a:buNone/>
              <a:defRPr sz="1568"/>
            </a:lvl3pPr>
            <a:lvl4pPr marL="0" indent="0">
              <a:buNone/>
              <a:defRPr sz="1372"/>
            </a:lvl4pPr>
            <a:lvl5pPr marL="0" indent="0">
              <a:buNone/>
              <a:defRPr sz="1372"/>
            </a:lvl5p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3835274698"/>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Fact Layout- Accent Color 1">
    <p:spTree>
      <p:nvGrpSpPr>
        <p:cNvPr id="1" name=""/>
        <p:cNvGrpSpPr/>
        <p:nvPr/>
      </p:nvGrpSpPr>
      <p:grpSpPr>
        <a:xfrm>
          <a:off x="0" y="0"/>
          <a:ext cx="0" cy="0"/>
          <a:chOff x="0" y="0"/>
          <a:chExt cx="0" cy="0"/>
        </a:xfrm>
      </p:grpSpPr>
      <p:sp>
        <p:nvSpPr>
          <p:cNvPr id="2" name="Title 1"/>
          <p:cNvSpPr>
            <a:spLocks noGrp="1"/>
          </p:cNvSpPr>
          <p:nvPr>
            <p:ph type="title"/>
          </p:nvPr>
        </p:nvSpPr>
        <p:spPr>
          <a:xfrm>
            <a:off x="2062091" y="2084173"/>
            <a:ext cx="8067823" cy="1793105"/>
          </a:xfrm>
          <a:noFill/>
        </p:spPr>
        <p:txBody>
          <a:bodyPr wrap="square" tIns="91440" bIns="91440" anchor="t" anchorCtr="0">
            <a:noAutofit/>
          </a:bodyPr>
          <a:lstStyle>
            <a:lvl1pPr>
              <a:defRPr sz="5880" spc="-98" baseline="0">
                <a:gradFill>
                  <a:gsLst>
                    <a:gs pos="100000">
                      <a:schemeClr val="accent6"/>
                    </a:gs>
                    <a:gs pos="0">
                      <a:schemeClr val="accent6"/>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71050498"/>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4301587"/>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chemeClr val="tx1"/>
                </a:solidFill>
                <a:effectLst/>
                <a:uLnTx/>
                <a:uFillTx/>
                <a:latin typeface="Segoe UI"/>
                <a:ea typeface="+mn-ea"/>
                <a:cs typeface="Segoe UI" pitchFamily="34" charset="0"/>
              </a:rPr>
              <a:t>© 2015 Microsoft Corporation. All rights reserved. </a:t>
            </a:r>
          </a:p>
        </p:txBody>
      </p:sp>
      <p:grpSp>
        <p:nvGrpSpPr>
          <p:cNvPr id="5" name="Group 4"/>
          <p:cNvGrpSpPr>
            <a:grpSpLocks noChangeAspect="1"/>
          </p:cNvGrpSpPr>
          <p:nvPr userDrawn="1"/>
        </p:nvGrpSpPr>
        <p:grpSpPr bwMode="black">
          <a:xfrm>
            <a:off x="450205" y="3083652"/>
            <a:ext cx="3048099" cy="654483"/>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739455678"/>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Black Notes slide Layout">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9"/>
            <a:ext cx="11653523" cy="2424715"/>
          </a:xfrm>
          <a:prstGeom prst="rect">
            <a:avLst/>
          </a:prstGeom>
        </p:spPr>
        <p:txBody>
          <a:bodyPr/>
          <a:lstStyle>
            <a:lvl1pPr marL="284680" indent="-28468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119174753"/>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11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097">
                <a:solidFill>
                  <a:schemeClr val="tx2"/>
                </a:solidFill>
              </a:defRPr>
            </a:lvl1pPr>
          </a:lstStyle>
          <a:p>
            <a:r>
              <a:rPr lang="en-US"/>
              <a:t>Click to edit Master title style</a:t>
            </a:r>
            <a:endParaRPr lang="en-IN" dirty="0"/>
          </a:p>
        </p:txBody>
      </p:sp>
    </p:spTree>
    <p:extLst>
      <p:ext uri="{BB962C8B-B14F-4D97-AF65-F5344CB8AC3E}">
        <p14:creationId xmlns:p14="http://schemas.microsoft.com/office/powerpoint/2010/main" val="82735138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iapositive de titre-V2">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2" name="Titre 1"/>
          <p:cNvSpPr>
            <a:spLocks noGrp="1"/>
          </p:cNvSpPr>
          <p:nvPr>
            <p:ph type="ctrTitle"/>
          </p:nvPr>
        </p:nvSpPr>
        <p:spPr>
          <a:xfrm>
            <a:off x="866365" y="2199974"/>
            <a:ext cx="5962001" cy="1470025"/>
          </a:xfrm>
        </p:spPr>
        <p:txBody>
          <a:bodyPr>
            <a:noAutofit/>
          </a:bodyPr>
          <a:lstStyle>
            <a:lvl1pPr algn="l">
              <a:lnSpc>
                <a:spcPct val="90000"/>
              </a:lnSpc>
              <a:defRPr sz="4533" b="1" i="0" baseline="0">
                <a:solidFill>
                  <a:schemeClr val="tx1"/>
                </a:solidFill>
                <a:latin typeface="Arial"/>
                <a:cs typeface="Arial"/>
              </a:defRPr>
            </a:lvl1pPr>
          </a:lstStyle>
          <a:p>
            <a:r>
              <a:rPr lang="nl-NL"/>
              <a:t>Klik om de stijl te bewerken</a:t>
            </a:r>
            <a:endParaRPr lang="fr-FR"/>
          </a:p>
        </p:txBody>
      </p:sp>
      <p:sp>
        <p:nvSpPr>
          <p:cNvPr id="3" name="Sous-titre 2"/>
          <p:cNvSpPr>
            <a:spLocks noGrp="1"/>
          </p:cNvSpPr>
          <p:nvPr>
            <p:ph type="subTitle" idx="1"/>
          </p:nvPr>
        </p:nvSpPr>
        <p:spPr>
          <a:xfrm>
            <a:off x="858676" y="3985273"/>
            <a:ext cx="5969691" cy="1248019"/>
          </a:xfrm>
        </p:spPr>
        <p:txBody>
          <a:bodyPr>
            <a:normAutofit/>
          </a:bodyPr>
          <a:lstStyle>
            <a:lvl1pPr marL="0" indent="0" algn="l">
              <a:buNone/>
              <a:defRPr sz="2667" baseline="0">
                <a:solidFill>
                  <a:schemeClr val="accent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a:p>
        </p:txBody>
      </p:sp>
      <p:sp>
        <p:nvSpPr>
          <p:cNvPr id="8" name="Espace réservé du texte 15"/>
          <p:cNvSpPr>
            <a:spLocks noGrp="1"/>
          </p:cNvSpPr>
          <p:nvPr>
            <p:ph type="body" sz="quarter" idx="12"/>
          </p:nvPr>
        </p:nvSpPr>
        <p:spPr>
          <a:xfrm>
            <a:off x="872861" y="6210695"/>
            <a:ext cx="5955504" cy="417512"/>
          </a:xfrm>
        </p:spPr>
        <p:txBody>
          <a:bodyPr>
            <a:noAutofit/>
          </a:bodyPr>
          <a:lstStyle>
            <a:lvl1pPr marL="0" indent="0" algn="l" defTabSz="609585" rtl="0" eaLnBrk="1" latinLnBrk="0" hangingPunct="1">
              <a:buNone/>
              <a:defRPr lang="fr-FR" sz="1867" b="0" i="0" kern="1200" dirty="0">
                <a:solidFill>
                  <a:schemeClr val="tx1"/>
                </a:solidFill>
                <a:latin typeface="Arial"/>
                <a:ea typeface="+mn-ea"/>
                <a:cs typeface="Arial"/>
              </a:defRPr>
            </a:lvl1pPr>
            <a:lvl3pPr marL="1219170" indent="0">
              <a:buNone/>
              <a:defRPr/>
            </a:lvl3pPr>
          </a:lstStyle>
          <a:p>
            <a:pPr lvl="0"/>
            <a:r>
              <a:rPr lang="nl-NL"/>
              <a:t>Klik om de modelstijlen te bewerken</a:t>
            </a:r>
          </a:p>
        </p:txBody>
      </p:sp>
      <p:sp>
        <p:nvSpPr>
          <p:cNvPr id="13" name="Espace réservé pour une image  20"/>
          <p:cNvSpPr>
            <a:spLocks noGrp="1" noChangeAspect="1"/>
          </p:cNvSpPr>
          <p:nvPr>
            <p:ph type="pic" sz="quarter" idx="10"/>
          </p:nvPr>
        </p:nvSpPr>
        <p:spPr>
          <a:xfrm>
            <a:off x="7897202" y="1118250"/>
            <a:ext cx="4311428" cy="4734863"/>
          </a:xfrm>
          <a:custGeom>
            <a:avLst/>
            <a:gdLst>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0 w 6044400"/>
              <a:gd name="connsiteY21" fmla="*/ 1454007 h 4143153"/>
              <a:gd name="connsiteX22" fmla="*/ 0 w 6044400"/>
              <a:gd name="connsiteY22" fmla="*/ 1424179 h 4143153"/>
              <a:gd name="connsiteX23" fmla="*/ 0 w 6044400"/>
              <a:gd name="connsiteY23" fmla="*/ 1392384 h 4143153"/>
              <a:gd name="connsiteX24" fmla="*/ 0 w 6044400"/>
              <a:gd name="connsiteY24" fmla="*/ 1382549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0 w 6044400"/>
              <a:gd name="connsiteY21" fmla="*/ 1454007 h 4143153"/>
              <a:gd name="connsiteX22" fmla="*/ 2134576 w 6044400"/>
              <a:gd name="connsiteY22" fmla="*/ 1868604 h 4143153"/>
              <a:gd name="connsiteX23" fmla="*/ 0 w 6044400"/>
              <a:gd name="connsiteY23" fmla="*/ 1392384 h 4143153"/>
              <a:gd name="connsiteX24" fmla="*/ 0 w 6044400"/>
              <a:gd name="connsiteY24" fmla="*/ 1382549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09409 w 6044400"/>
              <a:gd name="connsiteY21" fmla="*/ 2046573 h 4143153"/>
              <a:gd name="connsiteX22" fmla="*/ 2134576 w 6044400"/>
              <a:gd name="connsiteY22" fmla="*/ 1868604 h 4143153"/>
              <a:gd name="connsiteX23" fmla="*/ 0 w 6044400"/>
              <a:gd name="connsiteY23" fmla="*/ 1392384 h 4143153"/>
              <a:gd name="connsiteX24" fmla="*/ 0 w 6044400"/>
              <a:gd name="connsiteY24" fmla="*/ 1382549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09409 w 6044400"/>
              <a:gd name="connsiteY21" fmla="*/ 2046573 h 4143153"/>
              <a:gd name="connsiteX22" fmla="*/ 2134576 w 6044400"/>
              <a:gd name="connsiteY22" fmla="*/ 1868604 h 4143153"/>
              <a:gd name="connsiteX23" fmla="*/ 0 w 6044400"/>
              <a:gd name="connsiteY23" fmla="*/ 139238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09409 w 6044400"/>
              <a:gd name="connsiteY21" fmla="*/ 204657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9412"/>
              <a:gd name="connsiteY0" fmla="*/ 0 h 4143153"/>
              <a:gd name="connsiteX1" fmla="*/ 2442246 w 6049412"/>
              <a:gd name="connsiteY1" fmla="*/ 2597 h 4143153"/>
              <a:gd name="connsiteX2" fmla="*/ 5615266 w 6049412"/>
              <a:gd name="connsiteY2" fmla="*/ 354124 h 4143153"/>
              <a:gd name="connsiteX3" fmla="*/ 5976734 w 6049412"/>
              <a:gd name="connsiteY3" fmla="*/ 368537 h 4143153"/>
              <a:gd name="connsiteX4" fmla="*/ 6044400 w 6049412"/>
              <a:gd name="connsiteY4" fmla="*/ 511023 h 4143153"/>
              <a:gd name="connsiteX5" fmla="*/ 6044400 w 6049412"/>
              <a:gd name="connsiteY5" fmla="*/ 1228503 h 4143153"/>
              <a:gd name="connsiteX6" fmla="*/ 6044400 w 6049412"/>
              <a:gd name="connsiteY6" fmla="*/ 1254629 h 4143153"/>
              <a:gd name="connsiteX7" fmla="*/ 6044400 w 6049412"/>
              <a:gd name="connsiteY7" fmla="*/ 1302554 h 4143153"/>
              <a:gd name="connsiteX8" fmla="*/ 6044400 w 6049412"/>
              <a:gd name="connsiteY8" fmla="*/ 1339878 h 4143153"/>
              <a:gd name="connsiteX9" fmla="*/ 6044400 w 6049412"/>
              <a:gd name="connsiteY9" fmla="*/ 1367926 h 4143153"/>
              <a:gd name="connsiteX10" fmla="*/ 6044400 w 6049412"/>
              <a:gd name="connsiteY10" fmla="*/ 1388023 h 4143153"/>
              <a:gd name="connsiteX11" fmla="*/ 6044400 w 6049412"/>
              <a:gd name="connsiteY11" fmla="*/ 1401495 h 4143153"/>
              <a:gd name="connsiteX12" fmla="*/ 6044400 w 6049412"/>
              <a:gd name="connsiteY12" fmla="*/ 1413863 h 4143153"/>
              <a:gd name="connsiteX13" fmla="*/ 6044400 w 6049412"/>
              <a:gd name="connsiteY13" fmla="*/ 1415630 h 4143153"/>
              <a:gd name="connsiteX14" fmla="*/ 6044400 w 6049412"/>
              <a:gd name="connsiteY14" fmla="*/ 4143153 h 4143153"/>
              <a:gd name="connsiteX15" fmla="*/ 0 w 6049412"/>
              <a:gd name="connsiteY15" fmla="*/ 4143153 h 4143153"/>
              <a:gd name="connsiteX16" fmla="*/ 0 w 6049412"/>
              <a:gd name="connsiteY16" fmla="*/ 3959500 h 4143153"/>
              <a:gd name="connsiteX17" fmla="*/ 0 w 6049412"/>
              <a:gd name="connsiteY17" fmla="*/ 1494981 h 4143153"/>
              <a:gd name="connsiteX18" fmla="*/ 0 w 6049412"/>
              <a:gd name="connsiteY18" fmla="*/ 1492359 h 4143153"/>
              <a:gd name="connsiteX19" fmla="*/ 0 w 6049412"/>
              <a:gd name="connsiteY19" fmla="*/ 1486131 h 4143153"/>
              <a:gd name="connsiteX20" fmla="*/ 1684243 w 6049412"/>
              <a:gd name="connsiteY20" fmla="*/ 2271145 h 4143153"/>
              <a:gd name="connsiteX21" fmla="*/ 1917876 w 6049412"/>
              <a:gd name="connsiteY21" fmla="*/ 2053203 h 4143153"/>
              <a:gd name="connsiteX22" fmla="*/ 2134576 w 6049412"/>
              <a:gd name="connsiteY22" fmla="*/ 1868604 h 4143153"/>
              <a:gd name="connsiteX23" fmla="*/ 2251663 w 6049412"/>
              <a:gd name="connsiteY23" fmla="*/ 1780374 h 4143153"/>
              <a:gd name="connsiteX24" fmla="*/ 2368749 w 6049412"/>
              <a:gd name="connsiteY24" fmla="*/ 1692940 h 4143153"/>
              <a:gd name="connsiteX25" fmla="*/ 0 w 6049412"/>
              <a:gd name="connsiteY25" fmla="*/ 1327153 h 4143153"/>
              <a:gd name="connsiteX26" fmla="*/ 0 w 6049412"/>
              <a:gd name="connsiteY26" fmla="*/ 1256023 h 4143153"/>
              <a:gd name="connsiteX27" fmla="*/ 0 w 6049412"/>
              <a:gd name="connsiteY27" fmla="*/ 1231417 h 4143153"/>
              <a:gd name="connsiteX28" fmla="*/ 0 w 6049412"/>
              <a:gd name="connsiteY28" fmla="*/ 1228503 h 4143153"/>
              <a:gd name="connsiteX29" fmla="*/ 0 w 6049412"/>
              <a:gd name="connsiteY29" fmla="*/ 1085073 h 4143153"/>
              <a:gd name="connsiteX30" fmla="*/ 0 w 6049412"/>
              <a:gd name="connsiteY30" fmla="*/ 1058721 h 4143153"/>
              <a:gd name="connsiteX31" fmla="*/ 0 w 6049412"/>
              <a:gd name="connsiteY31" fmla="*/ 952655 h 4143153"/>
              <a:gd name="connsiteX32" fmla="*/ 0 w 6049412"/>
              <a:gd name="connsiteY32" fmla="*/ 951862 h 4143153"/>
              <a:gd name="connsiteX33" fmla="*/ 0 w 6049412"/>
              <a:gd name="connsiteY33" fmla="*/ 833468 h 4143153"/>
              <a:gd name="connsiteX34" fmla="*/ 0 w 6049412"/>
              <a:gd name="connsiteY34" fmla="*/ 828840 h 4143153"/>
              <a:gd name="connsiteX35" fmla="*/ 0 w 6049412"/>
              <a:gd name="connsiteY35" fmla="*/ 726814 h 4143153"/>
              <a:gd name="connsiteX36" fmla="*/ 0 w 6049412"/>
              <a:gd name="connsiteY36" fmla="*/ 688517 h 4143153"/>
              <a:gd name="connsiteX37" fmla="*/ 0 w 6049412"/>
              <a:gd name="connsiteY37" fmla="*/ 631998 h 4143153"/>
              <a:gd name="connsiteX38" fmla="*/ 0 w 6049412"/>
              <a:gd name="connsiteY38" fmla="*/ 529754 h 4143153"/>
              <a:gd name="connsiteX39" fmla="*/ 0 w 6049412"/>
              <a:gd name="connsiteY39" fmla="*/ 475093 h 4143153"/>
              <a:gd name="connsiteX40" fmla="*/ 0 w 6049412"/>
              <a:gd name="connsiteY40" fmla="*/ 351413 h 4143153"/>
              <a:gd name="connsiteX41" fmla="*/ 0 w 6049412"/>
              <a:gd name="connsiteY41" fmla="*/ 311109 h 4143153"/>
              <a:gd name="connsiteX42" fmla="*/ 0 w 6049412"/>
              <a:gd name="connsiteY42" fmla="*/ 156641 h 4143153"/>
              <a:gd name="connsiteX43" fmla="*/ 832114 w 6049412"/>
              <a:gd name="connsiteY43" fmla="*/ 61160 h 4143153"/>
              <a:gd name="connsiteX44" fmla="*/ 1108528 w 6049412"/>
              <a:gd name="connsiteY44" fmla="*/ 38207 h 4143153"/>
              <a:gd name="connsiteX45" fmla="*/ 1165665 w 6049412"/>
              <a:gd name="connsiteY45" fmla="*/ 33908 h 4143153"/>
              <a:gd name="connsiteX46" fmla="*/ 2227385 w 6049412"/>
              <a:gd name="connsiteY46" fmla="*/ 0 h 4143153"/>
              <a:gd name="connsiteX0" fmla="*/ 2227385 w 6048785"/>
              <a:gd name="connsiteY0" fmla="*/ 0 h 4143153"/>
              <a:gd name="connsiteX1" fmla="*/ 2442246 w 6048785"/>
              <a:gd name="connsiteY1" fmla="*/ 2597 h 4143153"/>
              <a:gd name="connsiteX2" fmla="*/ 5615266 w 6048785"/>
              <a:gd name="connsiteY2" fmla="*/ 354124 h 4143153"/>
              <a:gd name="connsiteX3" fmla="*/ 5985200 w 6048785"/>
              <a:gd name="connsiteY3" fmla="*/ 371853 h 4143153"/>
              <a:gd name="connsiteX4" fmla="*/ 6044400 w 6048785"/>
              <a:gd name="connsiteY4" fmla="*/ 511023 h 4143153"/>
              <a:gd name="connsiteX5" fmla="*/ 6044400 w 6048785"/>
              <a:gd name="connsiteY5" fmla="*/ 1228503 h 4143153"/>
              <a:gd name="connsiteX6" fmla="*/ 6044400 w 6048785"/>
              <a:gd name="connsiteY6" fmla="*/ 1254629 h 4143153"/>
              <a:gd name="connsiteX7" fmla="*/ 6044400 w 6048785"/>
              <a:gd name="connsiteY7" fmla="*/ 1302554 h 4143153"/>
              <a:gd name="connsiteX8" fmla="*/ 6044400 w 6048785"/>
              <a:gd name="connsiteY8" fmla="*/ 1339878 h 4143153"/>
              <a:gd name="connsiteX9" fmla="*/ 6044400 w 6048785"/>
              <a:gd name="connsiteY9" fmla="*/ 1367926 h 4143153"/>
              <a:gd name="connsiteX10" fmla="*/ 6044400 w 6048785"/>
              <a:gd name="connsiteY10" fmla="*/ 1388023 h 4143153"/>
              <a:gd name="connsiteX11" fmla="*/ 6044400 w 6048785"/>
              <a:gd name="connsiteY11" fmla="*/ 1401495 h 4143153"/>
              <a:gd name="connsiteX12" fmla="*/ 6044400 w 6048785"/>
              <a:gd name="connsiteY12" fmla="*/ 1413863 h 4143153"/>
              <a:gd name="connsiteX13" fmla="*/ 6044400 w 6048785"/>
              <a:gd name="connsiteY13" fmla="*/ 1415630 h 4143153"/>
              <a:gd name="connsiteX14" fmla="*/ 6044400 w 6048785"/>
              <a:gd name="connsiteY14" fmla="*/ 4143153 h 4143153"/>
              <a:gd name="connsiteX15" fmla="*/ 0 w 6048785"/>
              <a:gd name="connsiteY15" fmla="*/ 4143153 h 4143153"/>
              <a:gd name="connsiteX16" fmla="*/ 0 w 6048785"/>
              <a:gd name="connsiteY16" fmla="*/ 3959500 h 4143153"/>
              <a:gd name="connsiteX17" fmla="*/ 0 w 6048785"/>
              <a:gd name="connsiteY17" fmla="*/ 1494981 h 4143153"/>
              <a:gd name="connsiteX18" fmla="*/ 0 w 6048785"/>
              <a:gd name="connsiteY18" fmla="*/ 1492359 h 4143153"/>
              <a:gd name="connsiteX19" fmla="*/ 0 w 6048785"/>
              <a:gd name="connsiteY19" fmla="*/ 1486131 h 4143153"/>
              <a:gd name="connsiteX20" fmla="*/ 1684243 w 6048785"/>
              <a:gd name="connsiteY20" fmla="*/ 2271145 h 4143153"/>
              <a:gd name="connsiteX21" fmla="*/ 1917876 w 6048785"/>
              <a:gd name="connsiteY21" fmla="*/ 2053203 h 4143153"/>
              <a:gd name="connsiteX22" fmla="*/ 2134576 w 6048785"/>
              <a:gd name="connsiteY22" fmla="*/ 1868604 h 4143153"/>
              <a:gd name="connsiteX23" fmla="*/ 2251663 w 6048785"/>
              <a:gd name="connsiteY23" fmla="*/ 1780374 h 4143153"/>
              <a:gd name="connsiteX24" fmla="*/ 2368749 w 6048785"/>
              <a:gd name="connsiteY24" fmla="*/ 1692940 h 4143153"/>
              <a:gd name="connsiteX25" fmla="*/ 0 w 6048785"/>
              <a:gd name="connsiteY25" fmla="*/ 1327153 h 4143153"/>
              <a:gd name="connsiteX26" fmla="*/ 0 w 6048785"/>
              <a:gd name="connsiteY26" fmla="*/ 1256023 h 4143153"/>
              <a:gd name="connsiteX27" fmla="*/ 0 w 6048785"/>
              <a:gd name="connsiteY27" fmla="*/ 1231417 h 4143153"/>
              <a:gd name="connsiteX28" fmla="*/ 0 w 6048785"/>
              <a:gd name="connsiteY28" fmla="*/ 1228503 h 4143153"/>
              <a:gd name="connsiteX29" fmla="*/ 0 w 6048785"/>
              <a:gd name="connsiteY29" fmla="*/ 1085073 h 4143153"/>
              <a:gd name="connsiteX30" fmla="*/ 0 w 6048785"/>
              <a:gd name="connsiteY30" fmla="*/ 1058721 h 4143153"/>
              <a:gd name="connsiteX31" fmla="*/ 0 w 6048785"/>
              <a:gd name="connsiteY31" fmla="*/ 952655 h 4143153"/>
              <a:gd name="connsiteX32" fmla="*/ 0 w 6048785"/>
              <a:gd name="connsiteY32" fmla="*/ 951862 h 4143153"/>
              <a:gd name="connsiteX33" fmla="*/ 0 w 6048785"/>
              <a:gd name="connsiteY33" fmla="*/ 833468 h 4143153"/>
              <a:gd name="connsiteX34" fmla="*/ 0 w 6048785"/>
              <a:gd name="connsiteY34" fmla="*/ 828840 h 4143153"/>
              <a:gd name="connsiteX35" fmla="*/ 0 w 6048785"/>
              <a:gd name="connsiteY35" fmla="*/ 726814 h 4143153"/>
              <a:gd name="connsiteX36" fmla="*/ 0 w 6048785"/>
              <a:gd name="connsiteY36" fmla="*/ 688517 h 4143153"/>
              <a:gd name="connsiteX37" fmla="*/ 0 w 6048785"/>
              <a:gd name="connsiteY37" fmla="*/ 631998 h 4143153"/>
              <a:gd name="connsiteX38" fmla="*/ 0 w 6048785"/>
              <a:gd name="connsiteY38" fmla="*/ 529754 h 4143153"/>
              <a:gd name="connsiteX39" fmla="*/ 0 w 6048785"/>
              <a:gd name="connsiteY39" fmla="*/ 475093 h 4143153"/>
              <a:gd name="connsiteX40" fmla="*/ 0 w 6048785"/>
              <a:gd name="connsiteY40" fmla="*/ 351413 h 4143153"/>
              <a:gd name="connsiteX41" fmla="*/ 0 w 6048785"/>
              <a:gd name="connsiteY41" fmla="*/ 311109 h 4143153"/>
              <a:gd name="connsiteX42" fmla="*/ 0 w 6048785"/>
              <a:gd name="connsiteY42" fmla="*/ 156641 h 4143153"/>
              <a:gd name="connsiteX43" fmla="*/ 832114 w 6048785"/>
              <a:gd name="connsiteY43" fmla="*/ 61160 h 4143153"/>
              <a:gd name="connsiteX44" fmla="*/ 1108528 w 6048785"/>
              <a:gd name="connsiteY44" fmla="*/ 38207 h 4143153"/>
              <a:gd name="connsiteX45" fmla="*/ 1165665 w 6048785"/>
              <a:gd name="connsiteY45" fmla="*/ 33908 h 4143153"/>
              <a:gd name="connsiteX46" fmla="*/ 2227385 w 6048785"/>
              <a:gd name="connsiteY46" fmla="*/ 0 h 4143153"/>
              <a:gd name="connsiteX0" fmla="*/ 2227385 w 6049098"/>
              <a:gd name="connsiteY0" fmla="*/ 0 h 4143153"/>
              <a:gd name="connsiteX1" fmla="*/ 2442246 w 6049098"/>
              <a:gd name="connsiteY1" fmla="*/ 2597 h 4143153"/>
              <a:gd name="connsiteX2" fmla="*/ 5615266 w 6049098"/>
              <a:gd name="connsiteY2" fmla="*/ 354124 h 4143153"/>
              <a:gd name="connsiteX3" fmla="*/ 5980966 w 6049098"/>
              <a:gd name="connsiteY3" fmla="*/ 388431 h 4143153"/>
              <a:gd name="connsiteX4" fmla="*/ 6044400 w 6049098"/>
              <a:gd name="connsiteY4" fmla="*/ 511023 h 4143153"/>
              <a:gd name="connsiteX5" fmla="*/ 6044400 w 6049098"/>
              <a:gd name="connsiteY5" fmla="*/ 1228503 h 4143153"/>
              <a:gd name="connsiteX6" fmla="*/ 6044400 w 6049098"/>
              <a:gd name="connsiteY6" fmla="*/ 1254629 h 4143153"/>
              <a:gd name="connsiteX7" fmla="*/ 6044400 w 6049098"/>
              <a:gd name="connsiteY7" fmla="*/ 1302554 h 4143153"/>
              <a:gd name="connsiteX8" fmla="*/ 6044400 w 6049098"/>
              <a:gd name="connsiteY8" fmla="*/ 1339878 h 4143153"/>
              <a:gd name="connsiteX9" fmla="*/ 6044400 w 6049098"/>
              <a:gd name="connsiteY9" fmla="*/ 1367926 h 4143153"/>
              <a:gd name="connsiteX10" fmla="*/ 6044400 w 6049098"/>
              <a:gd name="connsiteY10" fmla="*/ 1388023 h 4143153"/>
              <a:gd name="connsiteX11" fmla="*/ 6044400 w 6049098"/>
              <a:gd name="connsiteY11" fmla="*/ 1401495 h 4143153"/>
              <a:gd name="connsiteX12" fmla="*/ 6044400 w 6049098"/>
              <a:gd name="connsiteY12" fmla="*/ 1413863 h 4143153"/>
              <a:gd name="connsiteX13" fmla="*/ 6044400 w 6049098"/>
              <a:gd name="connsiteY13" fmla="*/ 1415630 h 4143153"/>
              <a:gd name="connsiteX14" fmla="*/ 6044400 w 6049098"/>
              <a:gd name="connsiteY14" fmla="*/ 4143153 h 4143153"/>
              <a:gd name="connsiteX15" fmla="*/ 0 w 6049098"/>
              <a:gd name="connsiteY15" fmla="*/ 4143153 h 4143153"/>
              <a:gd name="connsiteX16" fmla="*/ 0 w 6049098"/>
              <a:gd name="connsiteY16" fmla="*/ 3959500 h 4143153"/>
              <a:gd name="connsiteX17" fmla="*/ 0 w 6049098"/>
              <a:gd name="connsiteY17" fmla="*/ 1494981 h 4143153"/>
              <a:gd name="connsiteX18" fmla="*/ 0 w 6049098"/>
              <a:gd name="connsiteY18" fmla="*/ 1492359 h 4143153"/>
              <a:gd name="connsiteX19" fmla="*/ 0 w 6049098"/>
              <a:gd name="connsiteY19" fmla="*/ 1486131 h 4143153"/>
              <a:gd name="connsiteX20" fmla="*/ 1684243 w 6049098"/>
              <a:gd name="connsiteY20" fmla="*/ 2271145 h 4143153"/>
              <a:gd name="connsiteX21" fmla="*/ 1917876 w 6049098"/>
              <a:gd name="connsiteY21" fmla="*/ 2053203 h 4143153"/>
              <a:gd name="connsiteX22" fmla="*/ 2134576 w 6049098"/>
              <a:gd name="connsiteY22" fmla="*/ 1868604 h 4143153"/>
              <a:gd name="connsiteX23" fmla="*/ 2251663 w 6049098"/>
              <a:gd name="connsiteY23" fmla="*/ 1780374 h 4143153"/>
              <a:gd name="connsiteX24" fmla="*/ 2368749 w 6049098"/>
              <a:gd name="connsiteY24" fmla="*/ 1692940 h 4143153"/>
              <a:gd name="connsiteX25" fmla="*/ 0 w 6049098"/>
              <a:gd name="connsiteY25" fmla="*/ 1327153 h 4143153"/>
              <a:gd name="connsiteX26" fmla="*/ 0 w 6049098"/>
              <a:gd name="connsiteY26" fmla="*/ 1256023 h 4143153"/>
              <a:gd name="connsiteX27" fmla="*/ 0 w 6049098"/>
              <a:gd name="connsiteY27" fmla="*/ 1231417 h 4143153"/>
              <a:gd name="connsiteX28" fmla="*/ 0 w 6049098"/>
              <a:gd name="connsiteY28" fmla="*/ 1228503 h 4143153"/>
              <a:gd name="connsiteX29" fmla="*/ 0 w 6049098"/>
              <a:gd name="connsiteY29" fmla="*/ 1085073 h 4143153"/>
              <a:gd name="connsiteX30" fmla="*/ 0 w 6049098"/>
              <a:gd name="connsiteY30" fmla="*/ 1058721 h 4143153"/>
              <a:gd name="connsiteX31" fmla="*/ 0 w 6049098"/>
              <a:gd name="connsiteY31" fmla="*/ 952655 h 4143153"/>
              <a:gd name="connsiteX32" fmla="*/ 0 w 6049098"/>
              <a:gd name="connsiteY32" fmla="*/ 951862 h 4143153"/>
              <a:gd name="connsiteX33" fmla="*/ 0 w 6049098"/>
              <a:gd name="connsiteY33" fmla="*/ 833468 h 4143153"/>
              <a:gd name="connsiteX34" fmla="*/ 0 w 6049098"/>
              <a:gd name="connsiteY34" fmla="*/ 828840 h 4143153"/>
              <a:gd name="connsiteX35" fmla="*/ 0 w 6049098"/>
              <a:gd name="connsiteY35" fmla="*/ 726814 h 4143153"/>
              <a:gd name="connsiteX36" fmla="*/ 0 w 6049098"/>
              <a:gd name="connsiteY36" fmla="*/ 688517 h 4143153"/>
              <a:gd name="connsiteX37" fmla="*/ 0 w 6049098"/>
              <a:gd name="connsiteY37" fmla="*/ 631998 h 4143153"/>
              <a:gd name="connsiteX38" fmla="*/ 0 w 6049098"/>
              <a:gd name="connsiteY38" fmla="*/ 529754 h 4143153"/>
              <a:gd name="connsiteX39" fmla="*/ 0 w 6049098"/>
              <a:gd name="connsiteY39" fmla="*/ 475093 h 4143153"/>
              <a:gd name="connsiteX40" fmla="*/ 0 w 6049098"/>
              <a:gd name="connsiteY40" fmla="*/ 351413 h 4143153"/>
              <a:gd name="connsiteX41" fmla="*/ 0 w 6049098"/>
              <a:gd name="connsiteY41" fmla="*/ 311109 h 4143153"/>
              <a:gd name="connsiteX42" fmla="*/ 0 w 6049098"/>
              <a:gd name="connsiteY42" fmla="*/ 156641 h 4143153"/>
              <a:gd name="connsiteX43" fmla="*/ 832114 w 6049098"/>
              <a:gd name="connsiteY43" fmla="*/ 61160 h 4143153"/>
              <a:gd name="connsiteX44" fmla="*/ 1108528 w 6049098"/>
              <a:gd name="connsiteY44" fmla="*/ 38207 h 4143153"/>
              <a:gd name="connsiteX45" fmla="*/ 1165665 w 6049098"/>
              <a:gd name="connsiteY45" fmla="*/ 33908 h 4143153"/>
              <a:gd name="connsiteX46" fmla="*/ 2227385 w 6049098"/>
              <a:gd name="connsiteY46" fmla="*/ 0 h 4143153"/>
              <a:gd name="connsiteX0" fmla="*/ 2227385 w 6049098"/>
              <a:gd name="connsiteY0" fmla="*/ 0 h 4143153"/>
              <a:gd name="connsiteX1" fmla="*/ 2442246 w 6049098"/>
              <a:gd name="connsiteY1" fmla="*/ 2597 h 4143153"/>
              <a:gd name="connsiteX2" fmla="*/ 5615266 w 6049098"/>
              <a:gd name="connsiteY2" fmla="*/ 354124 h 4143153"/>
              <a:gd name="connsiteX3" fmla="*/ 5980966 w 6049098"/>
              <a:gd name="connsiteY3" fmla="*/ 388431 h 4143153"/>
              <a:gd name="connsiteX4" fmla="*/ 6044400 w 6049098"/>
              <a:gd name="connsiteY4" fmla="*/ 511023 h 4143153"/>
              <a:gd name="connsiteX5" fmla="*/ 6044400 w 6049098"/>
              <a:gd name="connsiteY5" fmla="*/ 1228503 h 4143153"/>
              <a:gd name="connsiteX6" fmla="*/ 6044400 w 6049098"/>
              <a:gd name="connsiteY6" fmla="*/ 1254629 h 4143153"/>
              <a:gd name="connsiteX7" fmla="*/ 6044400 w 6049098"/>
              <a:gd name="connsiteY7" fmla="*/ 1302554 h 4143153"/>
              <a:gd name="connsiteX8" fmla="*/ 6044400 w 6049098"/>
              <a:gd name="connsiteY8" fmla="*/ 1339878 h 4143153"/>
              <a:gd name="connsiteX9" fmla="*/ 6044400 w 6049098"/>
              <a:gd name="connsiteY9" fmla="*/ 1367926 h 4143153"/>
              <a:gd name="connsiteX10" fmla="*/ 6044400 w 6049098"/>
              <a:gd name="connsiteY10" fmla="*/ 1388023 h 4143153"/>
              <a:gd name="connsiteX11" fmla="*/ 6044400 w 6049098"/>
              <a:gd name="connsiteY11" fmla="*/ 1401495 h 4143153"/>
              <a:gd name="connsiteX12" fmla="*/ 6044400 w 6049098"/>
              <a:gd name="connsiteY12" fmla="*/ 1413863 h 4143153"/>
              <a:gd name="connsiteX13" fmla="*/ 6044400 w 6049098"/>
              <a:gd name="connsiteY13" fmla="*/ 1415630 h 4143153"/>
              <a:gd name="connsiteX14" fmla="*/ 6044400 w 6049098"/>
              <a:gd name="connsiteY14" fmla="*/ 4143153 h 4143153"/>
              <a:gd name="connsiteX15" fmla="*/ 0 w 6049098"/>
              <a:gd name="connsiteY15" fmla="*/ 4143153 h 4143153"/>
              <a:gd name="connsiteX16" fmla="*/ 0 w 6049098"/>
              <a:gd name="connsiteY16" fmla="*/ 3959500 h 4143153"/>
              <a:gd name="connsiteX17" fmla="*/ 0 w 6049098"/>
              <a:gd name="connsiteY17" fmla="*/ 1494981 h 4143153"/>
              <a:gd name="connsiteX18" fmla="*/ 0 w 6049098"/>
              <a:gd name="connsiteY18" fmla="*/ 1492359 h 4143153"/>
              <a:gd name="connsiteX19" fmla="*/ 0 w 6049098"/>
              <a:gd name="connsiteY19" fmla="*/ 1486131 h 4143153"/>
              <a:gd name="connsiteX20" fmla="*/ 1684243 w 6049098"/>
              <a:gd name="connsiteY20" fmla="*/ 2271145 h 4143153"/>
              <a:gd name="connsiteX21" fmla="*/ 1917876 w 6049098"/>
              <a:gd name="connsiteY21" fmla="*/ 2053203 h 4143153"/>
              <a:gd name="connsiteX22" fmla="*/ 2134576 w 6049098"/>
              <a:gd name="connsiteY22" fmla="*/ 1868604 h 4143153"/>
              <a:gd name="connsiteX23" fmla="*/ 2251663 w 6049098"/>
              <a:gd name="connsiteY23" fmla="*/ 1780374 h 4143153"/>
              <a:gd name="connsiteX24" fmla="*/ 2368749 w 6049098"/>
              <a:gd name="connsiteY24" fmla="*/ 1692940 h 4143153"/>
              <a:gd name="connsiteX25" fmla="*/ 0 w 6049098"/>
              <a:gd name="connsiteY25" fmla="*/ 1327153 h 4143153"/>
              <a:gd name="connsiteX26" fmla="*/ 0 w 6049098"/>
              <a:gd name="connsiteY26" fmla="*/ 1256023 h 4143153"/>
              <a:gd name="connsiteX27" fmla="*/ 0 w 6049098"/>
              <a:gd name="connsiteY27" fmla="*/ 1231417 h 4143153"/>
              <a:gd name="connsiteX28" fmla="*/ 0 w 6049098"/>
              <a:gd name="connsiteY28" fmla="*/ 1228503 h 4143153"/>
              <a:gd name="connsiteX29" fmla="*/ 0 w 6049098"/>
              <a:gd name="connsiteY29" fmla="*/ 1085073 h 4143153"/>
              <a:gd name="connsiteX30" fmla="*/ 0 w 6049098"/>
              <a:gd name="connsiteY30" fmla="*/ 1058721 h 4143153"/>
              <a:gd name="connsiteX31" fmla="*/ 0 w 6049098"/>
              <a:gd name="connsiteY31" fmla="*/ 952655 h 4143153"/>
              <a:gd name="connsiteX32" fmla="*/ 0 w 6049098"/>
              <a:gd name="connsiteY32" fmla="*/ 951862 h 4143153"/>
              <a:gd name="connsiteX33" fmla="*/ 0 w 6049098"/>
              <a:gd name="connsiteY33" fmla="*/ 833468 h 4143153"/>
              <a:gd name="connsiteX34" fmla="*/ 0 w 6049098"/>
              <a:gd name="connsiteY34" fmla="*/ 828840 h 4143153"/>
              <a:gd name="connsiteX35" fmla="*/ 0 w 6049098"/>
              <a:gd name="connsiteY35" fmla="*/ 726814 h 4143153"/>
              <a:gd name="connsiteX36" fmla="*/ 0 w 6049098"/>
              <a:gd name="connsiteY36" fmla="*/ 688517 h 4143153"/>
              <a:gd name="connsiteX37" fmla="*/ 0 w 6049098"/>
              <a:gd name="connsiteY37" fmla="*/ 631998 h 4143153"/>
              <a:gd name="connsiteX38" fmla="*/ 0 w 6049098"/>
              <a:gd name="connsiteY38" fmla="*/ 529754 h 4143153"/>
              <a:gd name="connsiteX39" fmla="*/ 0 w 6049098"/>
              <a:gd name="connsiteY39" fmla="*/ 475093 h 4143153"/>
              <a:gd name="connsiteX40" fmla="*/ 0 w 6049098"/>
              <a:gd name="connsiteY40" fmla="*/ 351413 h 4143153"/>
              <a:gd name="connsiteX41" fmla="*/ 0 w 6049098"/>
              <a:gd name="connsiteY41" fmla="*/ 311109 h 4143153"/>
              <a:gd name="connsiteX42" fmla="*/ 0 w 6049098"/>
              <a:gd name="connsiteY42" fmla="*/ 156641 h 4143153"/>
              <a:gd name="connsiteX43" fmla="*/ 832114 w 6049098"/>
              <a:gd name="connsiteY43" fmla="*/ 61160 h 4143153"/>
              <a:gd name="connsiteX44" fmla="*/ 1108528 w 6049098"/>
              <a:gd name="connsiteY44" fmla="*/ 38207 h 4143153"/>
              <a:gd name="connsiteX45" fmla="*/ 1165665 w 6049098"/>
              <a:gd name="connsiteY45" fmla="*/ 33908 h 4143153"/>
              <a:gd name="connsiteX46" fmla="*/ 2227385 w 6049098"/>
              <a:gd name="connsiteY46" fmla="*/ 0 h 4143153"/>
              <a:gd name="connsiteX0" fmla="*/ 2227385 w 6049098"/>
              <a:gd name="connsiteY0" fmla="*/ 0 h 4143153"/>
              <a:gd name="connsiteX1" fmla="*/ 2442246 w 6049098"/>
              <a:gd name="connsiteY1" fmla="*/ 2597 h 4143153"/>
              <a:gd name="connsiteX2" fmla="*/ 5615266 w 6049098"/>
              <a:gd name="connsiteY2" fmla="*/ 354124 h 4143153"/>
              <a:gd name="connsiteX3" fmla="*/ 5980966 w 6049098"/>
              <a:gd name="connsiteY3" fmla="*/ 388431 h 4143153"/>
              <a:gd name="connsiteX4" fmla="*/ 6044400 w 6049098"/>
              <a:gd name="connsiteY4" fmla="*/ 511023 h 4143153"/>
              <a:gd name="connsiteX5" fmla="*/ 6044400 w 6049098"/>
              <a:gd name="connsiteY5" fmla="*/ 1228503 h 4143153"/>
              <a:gd name="connsiteX6" fmla="*/ 6044400 w 6049098"/>
              <a:gd name="connsiteY6" fmla="*/ 1254629 h 4143153"/>
              <a:gd name="connsiteX7" fmla="*/ 6044400 w 6049098"/>
              <a:gd name="connsiteY7" fmla="*/ 1302554 h 4143153"/>
              <a:gd name="connsiteX8" fmla="*/ 6044400 w 6049098"/>
              <a:gd name="connsiteY8" fmla="*/ 1339878 h 4143153"/>
              <a:gd name="connsiteX9" fmla="*/ 6044400 w 6049098"/>
              <a:gd name="connsiteY9" fmla="*/ 1367926 h 4143153"/>
              <a:gd name="connsiteX10" fmla="*/ 6044400 w 6049098"/>
              <a:gd name="connsiteY10" fmla="*/ 1388023 h 4143153"/>
              <a:gd name="connsiteX11" fmla="*/ 6044400 w 6049098"/>
              <a:gd name="connsiteY11" fmla="*/ 1401495 h 4143153"/>
              <a:gd name="connsiteX12" fmla="*/ 6044400 w 6049098"/>
              <a:gd name="connsiteY12" fmla="*/ 1413863 h 4143153"/>
              <a:gd name="connsiteX13" fmla="*/ 6044400 w 6049098"/>
              <a:gd name="connsiteY13" fmla="*/ 1415630 h 4143153"/>
              <a:gd name="connsiteX14" fmla="*/ 6044400 w 6049098"/>
              <a:gd name="connsiteY14" fmla="*/ 4143153 h 4143153"/>
              <a:gd name="connsiteX15" fmla="*/ 0 w 6049098"/>
              <a:gd name="connsiteY15" fmla="*/ 4143153 h 4143153"/>
              <a:gd name="connsiteX16" fmla="*/ 0 w 6049098"/>
              <a:gd name="connsiteY16" fmla="*/ 3959500 h 4143153"/>
              <a:gd name="connsiteX17" fmla="*/ 0 w 6049098"/>
              <a:gd name="connsiteY17" fmla="*/ 1494981 h 4143153"/>
              <a:gd name="connsiteX18" fmla="*/ 0 w 6049098"/>
              <a:gd name="connsiteY18" fmla="*/ 1492359 h 4143153"/>
              <a:gd name="connsiteX19" fmla="*/ 0 w 6049098"/>
              <a:gd name="connsiteY19" fmla="*/ 1486131 h 4143153"/>
              <a:gd name="connsiteX20" fmla="*/ 1684243 w 6049098"/>
              <a:gd name="connsiteY20" fmla="*/ 2271145 h 4143153"/>
              <a:gd name="connsiteX21" fmla="*/ 1917876 w 6049098"/>
              <a:gd name="connsiteY21" fmla="*/ 2053203 h 4143153"/>
              <a:gd name="connsiteX22" fmla="*/ 2134576 w 6049098"/>
              <a:gd name="connsiteY22" fmla="*/ 1868604 h 4143153"/>
              <a:gd name="connsiteX23" fmla="*/ 2251663 w 6049098"/>
              <a:gd name="connsiteY23" fmla="*/ 1780374 h 4143153"/>
              <a:gd name="connsiteX24" fmla="*/ 2368749 w 6049098"/>
              <a:gd name="connsiteY24" fmla="*/ 1692940 h 4143153"/>
              <a:gd name="connsiteX25" fmla="*/ 0 w 6049098"/>
              <a:gd name="connsiteY25" fmla="*/ 1327153 h 4143153"/>
              <a:gd name="connsiteX26" fmla="*/ 0 w 6049098"/>
              <a:gd name="connsiteY26" fmla="*/ 1256023 h 4143153"/>
              <a:gd name="connsiteX27" fmla="*/ 0 w 6049098"/>
              <a:gd name="connsiteY27" fmla="*/ 1231417 h 4143153"/>
              <a:gd name="connsiteX28" fmla="*/ 0 w 6049098"/>
              <a:gd name="connsiteY28" fmla="*/ 1228503 h 4143153"/>
              <a:gd name="connsiteX29" fmla="*/ 0 w 6049098"/>
              <a:gd name="connsiteY29" fmla="*/ 1085073 h 4143153"/>
              <a:gd name="connsiteX30" fmla="*/ 0 w 6049098"/>
              <a:gd name="connsiteY30" fmla="*/ 1058721 h 4143153"/>
              <a:gd name="connsiteX31" fmla="*/ 0 w 6049098"/>
              <a:gd name="connsiteY31" fmla="*/ 952655 h 4143153"/>
              <a:gd name="connsiteX32" fmla="*/ 0 w 6049098"/>
              <a:gd name="connsiteY32" fmla="*/ 951862 h 4143153"/>
              <a:gd name="connsiteX33" fmla="*/ 0 w 6049098"/>
              <a:gd name="connsiteY33" fmla="*/ 833468 h 4143153"/>
              <a:gd name="connsiteX34" fmla="*/ 0 w 6049098"/>
              <a:gd name="connsiteY34" fmla="*/ 828840 h 4143153"/>
              <a:gd name="connsiteX35" fmla="*/ 0 w 6049098"/>
              <a:gd name="connsiteY35" fmla="*/ 726814 h 4143153"/>
              <a:gd name="connsiteX36" fmla="*/ 0 w 6049098"/>
              <a:gd name="connsiteY36" fmla="*/ 688517 h 4143153"/>
              <a:gd name="connsiteX37" fmla="*/ 0 w 6049098"/>
              <a:gd name="connsiteY37" fmla="*/ 631998 h 4143153"/>
              <a:gd name="connsiteX38" fmla="*/ 0 w 6049098"/>
              <a:gd name="connsiteY38" fmla="*/ 529754 h 4143153"/>
              <a:gd name="connsiteX39" fmla="*/ 0 w 6049098"/>
              <a:gd name="connsiteY39" fmla="*/ 475093 h 4143153"/>
              <a:gd name="connsiteX40" fmla="*/ 0 w 6049098"/>
              <a:gd name="connsiteY40" fmla="*/ 351413 h 4143153"/>
              <a:gd name="connsiteX41" fmla="*/ 0 w 6049098"/>
              <a:gd name="connsiteY41" fmla="*/ 311109 h 4143153"/>
              <a:gd name="connsiteX42" fmla="*/ 0 w 6049098"/>
              <a:gd name="connsiteY42" fmla="*/ 156641 h 4143153"/>
              <a:gd name="connsiteX43" fmla="*/ 832114 w 6049098"/>
              <a:gd name="connsiteY43" fmla="*/ 61160 h 4143153"/>
              <a:gd name="connsiteX44" fmla="*/ 1108528 w 6049098"/>
              <a:gd name="connsiteY44" fmla="*/ 38207 h 4143153"/>
              <a:gd name="connsiteX45" fmla="*/ 1165665 w 6049098"/>
              <a:gd name="connsiteY45" fmla="*/ 33908 h 4143153"/>
              <a:gd name="connsiteX46" fmla="*/ 2227385 w 6049098"/>
              <a:gd name="connsiteY46" fmla="*/ 0 h 4143153"/>
              <a:gd name="connsiteX0" fmla="*/ 2227385 w 6044466"/>
              <a:gd name="connsiteY0" fmla="*/ 0 h 4143153"/>
              <a:gd name="connsiteX1" fmla="*/ 2442246 w 6044466"/>
              <a:gd name="connsiteY1" fmla="*/ 2597 h 4143153"/>
              <a:gd name="connsiteX2" fmla="*/ 5615266 w 6044466"/>
              <a:gd name="connsiteY2" fmla="*/ 354124 h 4143153"/>
              <a:gd name="connsiteX3" fmla="*/ 6044466 w 6044466"/>
              <a:gd name="connsiteY3" fmla="*/ 388431 h 4143153"/>
              <a:gd name="connsiteX4" fmla="*/ 6044400 w 6044466"/>
              <a:gd name="connsiteY4" fmla="*/ 511023 h 4143153"/>
              <a:gd name="connsiteX5" fmla="*/ 6044400 w 6044466"/>
              <a:gd name="connsiteY5" fmla="*/ 1228503 h 4143153"/>
              <a:gd name="connsiteX6" fmla="*/ 6044400 w 6044466"/>
              <a:gd name="connsiteY6" fmla="*/ 1254629 h 4143153"/>
              <a:gd name="connsiteX7" fmla="*/ 6044400 w 6044466"/>
              <a:gd name="connsiteY7" fmla="*/ 1302554 h 4143153"/>
              <a:gd name="connsiteX8" fmla="*/ 6044400 w 6044466"/>
              <a:gd name="connsiteY8" fmla="*/ 1339878 h 4143153"/>
              <a:gd name="connsiteX9" fmla="*/ 6044400 w 6044466"/>
              <a:gd name="connsiteY9" fmla="*/ 1367926 h 4143153"/>
              <a:gd name="connsiteX10" fmla="*/ 6044400 w 6044466"/>
              <a:gd name="connsiteY10" fmla="*/ 1388023 h 4143153"/>
              <a:gd name="connsiteX11" fmla="*/ 6044400 w 6044466"/>
              <a:gd name="connsiteY11" fmla="*/ 1401495 h 4143153"/>
              <a:gd name="connsiteX12" fmla="*/ 6044400 w 6044466"/>
              <a:gd name="connsiteY12" fmla="*/ 1413863 h 4143153"/>
              <a:gd name="connsiteX13" fmla="*/ 6044400 w 6044466"/>
              <a:gd name="connsiteY13" fmla="*/ 1415630 h 4143153"/>
              <a:gd name="connsiteX14" fmla="*/ 6044400 w 6044466"/>
              <a:gd name="connsiteY14" fmla="*/ 4143153 h 4143153"/>
              <a:gd name="connsiteX15" fmla="*/ 0 w 6044466"/>
              <a:gd name="connsiteY15" fmla="*/ 4143153 h 4143153"/>
              <a:gd name="connsiteX16" fmla="*/ 0 w 6044466"/>
              <a:gd name="connsiteY16" fmla="*/ 3959500 h 4143153"/>
              <a:gd name="connsiteX17" fmla="*/ 0 w 6044466"/>
              <a:gd name="connsiteY17" fmla="*/ 1494981 h 4143153"/>
              <a:gd name="connsiteX18" fmla="*/ 0 w 6044466"/>
              <a:gd name="connsiteY18" fmla="*/ 1492359 h 4143153"/>
              <a:gd name="connsiteX19" fmla="*/ 0 w 6044466"/>
              <a:gd name="connsiteY19" fmla="*/ 1486131 h 4143153"/>
              <a:gd name="connsiteX20" fmla="*/ 1684243 w 6044466"/>
              <a:gd name="connsiteY20" fmla="*/ 2271145 h 4143153"/>
              <a:gd name="connsiteX21" fmla="*/ 1917876 w 6044466"/>
              <a:gd name="connsiteY21" fmla="*/ 2053203 h 4143153"/>
              <a:gd name="connsiteX22" fmla="*/ 2134576 w 6044466"/>
              <a:gd name="connsiteY22" fmla="*/ 1868604 h 4143153"/>
              <a:gd name="connsiteX23" fmla="*/ 2251663 w 6044466"/>
              <a:gd name="connsiteY23" fmla="*/ 1780374 h 4143153"/>
              <a:gd name="connsiteX24" fmla="*/ 2368749 w 6044466"/>
              <a:gd name="connsiteY24" fmla="*/ 1692940 h 4143153"/>
              <a:gd name="connsiteX25" fmla="*/ 0 w 6044466"/>
              <a:gd name="connsiteY25" fmla="*/ 1327153 h 4143153"/>
              <a:gd name="connsiteX26" fmla="*/ 0 w 6044466"/>
              <a:gd name="connsiteY26" fmla="*/ 1256023 h 4143153"/>
              <a:gd name="connsiteX27" fmla="*/ 0 w 6044466"/>
              <a:gd name="connsiteY27" fmla="*/ 1231417 h 4143153"/>
              <a:gd name="connsiteX28" fmla="*/ 0 w 6044466"/>
              <a:gd name="connsiteY28" fmla="*/ 1228503 h 4143153"/>
              <a:gd name="connsiteX29" fmla="*/ 0 w 6044466"/>
              <a:gd name="connsiteY29" fmla="*/ 1085073 h 4143153"/>
              <a:gd name="connsiteX30" fmla="*/ 0 w 6044466"/>
              <a:gd name="connsiteY30" fmla="*/ 1058721 h 4143153"/>
              <a:gd name="connsiteX31" fmla="*/ 0 w 6044466"/>
              <a:gd name="connsiteY31" fmla="*/ 952655 h 4143153"/>
              <a:gd name="connsiteX32" fmla="*/ 0 w 6044466"/>
              <a:gd name="connsiteY32" fmla="*/ 951862 h 4143153"/>
              <a:gd name="connsiteX33" fmla="*/ 0 w 6044466"/>
              <a:gd name="connsiteY33" fmla="*/ 833468 h 4143153"/>
              <a:gd name="connsiteX34" fmla="*/ 0 w 6044466"/>
              <a:gd name="connsiteY34" fmla="*/ 828840 h 4143153"/>
              <a:gd name="connsiteX35" fmla="*/ 0 w 6044466"/>
              <a:gd name="connsiteY35" fmla="*/ 726814 h 4143153"/>
              <a:gd name="connsiteX36" fmla="*/ 0 w 6044466"/>
              <a:gd name="connsiteY36" fmla="*/ 688517 h 4143153"/>
              <a:gd name="connsiteX37" fmla="*/ 0 w 6044466"/>
              <a:gd name="connsiteY37" fmla="*/ 631998 h 4143153"/>
              <a:gd name="connsiteX38" fmla="*/ 0 w 6044466"/>
              <a:gd name="connsiteY38" fmla="*/ 529754 h 4143153"/>
              <a:gd name="connsiteX39" fmla="*/ 0 w 6044466"/>
              <a:gd name="connsiteY39" fmla="*/ 475093 h 4143153"/>
              <a:gd name="connsiteX40" fmla="*/ 0 w 6044466"/>
              <a:gd name="connsiteY40" fmla="*/ 351413 h 4143153"/>
              <a:gd name="connsiteX41" fmla="*/ 0 w 6044466"/>
              <a:gd name="connsiteY41" fmla="*/ 311109 h 4143153"/>
              <a:gd name="connsiteX42" fmla="*/ 0 w 6044466"/>
              <a:gd name="connsiteY42" fmla="*/ 156641 h 4143153"/>
              <a:gd name="connsiteX43" fmla="*/ 832114 w 6044466"/>
              <a:gd name="connsiteY43" fmla="*/ 61160 h 4143153"/>
              <a:gd name="connsiteX44" fmla="*/ 1108528 w 6044466"/>
              <a:gd name="connsiteY44" fmla="*/ 38207 h 4143153"/>
              <a:gd name="connsiteX45" fmla="*/ 1165665 w 6044466"/>
              <a:gd name="connsiteY45" fmla="*/ 33908 h 4143153"/>
              <a:gd name="connsiteX46" fmla="*/ 2227385 w 6044466"/>
              <a:gd name="connsiteY46" fmla="*/ 0 h 4143153"/>
              <a:gd name="connsiteX0" fmla="*/ 2227385 w 6076552"/>
              <a:gd name="connsiteY0" fmla="*/ 0 h 4143153"/>
              <a:gd name="connsiteX1" fmla="*/ 2442246 w 6076552"/>
              <a:gd name="connsiteY1" fmla="*/ 2597 h 4143153"/>
              <a:gd name="connsiteX2" fmla="*/ 5611032 w 6076552"/>
              <a:gd name="connsiteY2" fmla="*/ 360755 h 4143153"/>
              <a:gd name="connsiteX3" fmla="*/ 6044466 w 6076552"/>
              <a:gd name="connsiteY3" fmla="*/ 388431 h 4143153"/>
              <a:gd name="connsiteX4" fmla="*/ 6044400 w 6076552"/>
              <a:gd name="connsiteY4" fmla="*/ 511023 h 4143153"/>
              <a:gd name="connsiteX5" fmla="*/ 6044400 w 6076552"/>
              <a:gd name="connsiteY5" fmla="*/ 1228503 h 4143153"/>
              <a:gd name="connsiteX6" fmla="*/ 6044400 w 6076552"/>
              <a:gd name="connsiteY6" fmla="*/ 1254629 h 4143153"/>
              <a:gd name="connsiteX7" fmla="*/ 6044400 w 6076552"/>
              <a:gd name="connsiteY7" fmla="*/ 1302554 h 4143153"/>
              <a:gd name="connsiteX8" fmla="*/ 6044400 w 6076552"/>
              <a:gd name="connsiteY8" fmla="*/ 1339878 h 4143153"/>
              <a:gd name="connsiteX9" fmla="*/ 6044400 w 6076552"/>
              <a:gd name="connsiteY9" fmla="*/ 1367926 h 4143153"/>
              <a:gd name="connsiteX10" fmla="*/ 6044400 w 6076552"/>
              <a:gd name="connsiteY10" fmla="*/ 1388023 h 4143153"/>
              <a:gd name="connsiteX11" fmla="*/ 6044400 w 6076552"/>
              <a:gd name="connsiteY11" fmla="*/ 1401495 h 4143153"/>
              <a:gd name="connsiteX12" fmla="*/ 6044400 w 6076552"/>
              <a:gd name="connsiteY12" fmla="*/ 1413863 h 4143153"/>
              <a:gd name="connsiteX13" fmla="*/ 6044400 w 6076552"/>
              <a:gd name="connsiteY13" fmla="*/ 1415630 h 4143153"/>
              <a:gd name="connsiteX14" fmla="*/ 6044400 w 6076552"/>
              <a:gd name="connsiteY14" fmla="*/ 4143153 h 4143153"/>
              <a:gd name="connsiteX15" fmla="*/ 0 w 6076552"/>
              <a:gd name="connsiteY15" fmla="*/ 4143153 h 4143153"/>
              <a:gd name="connsiteX16" fmla="*/ 0 w 6076552"/>
              <a:gd name="connsiteY16" fmla="*/ 3959500 h 4143153"/>
              <a:gd name="connsiteX17" fmla="*/ 0 w 6076552"/>
              <a:gd name="connsiteY17" fmla="*/ 1494981 h 4143153"/>
              <a:gd name="connsiteX18" fmla="*/ 0 w 6076552"/>
              <a:gd name="connsiteY18" fmla="*/ 1492359 h 4143153"/>
              <a:gd name="connsiteX19" fmla="*/ 0 w 6076552"/>
              <a:gd name="connsiteY19" fmla="*/ 1486131 h 4143153"/>
              <a:gd name="connsiteX20" fmla="*/ 1684243 w 6076552"/>
              <a:gd name="connsiteY20" fmla="*/ 2271145 h 4143153"/>
              <a:gd name="connsiteX21" fmla="*/ 1917876 w 6076552"/>
              <a:gd name="connsiteY21" fmla="*/ 2053203 h 4143153"/>
              <a:gd name="connsiteX22" fmla="*/ 2134576 w 6076552"/>
              <a:gd name="connsiteY22" fmla="*/ 1868604 h 4143153"/>
              <a:gd name="connsiteX23" fmla="*/ 2251663 w 6076552"/>
              <a:gd name="connsiteY23" fmla="*/ 1780374 h 4143153"/>
              <a:gd name="connsiteX24" fmla="*/ 2368749 w 6076552"/>
              <a:gd name="connsiteY24" fmla="*/ 1692940 h 4143153"/>
              <a:gd name="connsiteX25" fmla="*/ 0 w 6076552"/>
              <a:gd name="connsiteY25" fmla="*/ 1327153 h 4143153"/>
              <a:gd name="connsiteX26" fmla="*/ 0 w 6076552"/>
              <a:gd name="connsiteY26" fmla="*/ 1256023 h 4143153"/>
              <a:gd name="connsiteX27" fmla="*/ 0 w 6076552"/>
              <a:gd name="connsiteY27" fmla="*/ 1231417 h 4143153"/>
              <a:gd name="connsiteX28" fmla="*/ 0 w 6076552"/>
              <a:gd name="connsiteY28" fmla="*/ 1228503 h 4143153"/>
              <a:gd name="connsiteX29" fmla="*/ 0 w 6076552"/>
              <a:gd name="connsiteY29" fmla="*/ 1085073 h 4143153"/>
              <a:gd name="connsiteX30" fmla="*/ 0 w 6076552"/>
              <a:gd name="connsiteY30" fmla="*/ 1058721 h 4143153"/>
              <a:gd name="connsiteX31" fmla="*/ 0 w 6076552"/>
              <a:gd name="connsiteY31" fmla="*/ 952655 h 4143153"/>
              <a:gd name="connsiteX32" fmla="*/ 0 w 6076552"/>
              <a:gd name="connsiteY32" fmla="*/ 951862 h 4143153"/>
              <a:gd name="connsiteX33" fmla="*/ 0 w 6076552"/>
              <a:gd name="connsiteY33" fmla="*/ 833468 h 4143153"/>
              <a:gd name="connsiteX34" fmla="*/ 0 w 6076552"/>
              <a:gd name="connsiteY34" fmla="*/ 828840 h 4143153"/>
              <a:gd name="connsiteX35" fmla="*/ 0 w 6076552"/>
              <a:gd name="connsiteY35" fmla="*/ 726814 h 4143153"/>
              <a:gd name="connsiteX36" fmla="*/ 0 w 6076552"/>
              <a:gd name="connsiteY36" fmla="*/ 688517 h 4143153"/>
              <a:gd name="connsiteX37" fmla="*/ 0 w 6076552"/>
              <a:gd name="connsiteY37" fmla="*/ 631998 h 4143153"/>
              <a:gd name="connsiteX38" fmla="*/ 0 w 6076552"/>
              <a:gd name="connsiteY38" fmla="*/ 529754 h 4143153"/>
              <a:gd name="connsiteX39" fmla="*/ 0 w 6076552"/>
              <a:gd name="connsiteY39" fmla="*/ 475093 h 4143153"/>
              <a:gd name="connsiteX40" fmla="*/ 0 w 6076552"/>
              <a:gd name="connsiteY40" fmla="*/ 351413 h 4143153"/>
              <a:gd name="connsiteX41" fmla="*/ 0 w 6076552"/>
              <a:gd name="connsiteY41" fmla="*/ 311109 h 4143153"/>
              <a:gd name="connsiteX42" fmla="*/ 0 w 6076552"/>
              <a:gd name="connsiteY42" fmla="*/ 156641 h 4143153"/>
              <a:gd name="connsiteX43" fmla="*/ 832114 w 6076552"/>
              <a:gd name="connsiteY43" fmla="*/ 61160 h 4143153"/>
              <a:gd name="connsiteX44" fmla="*/ 1108528 w 6076552"/>
              <a:gd name="connsiteY44" fmla="*/ 38207 h 4143153"/>
              <a:gd name="connsiteX45" fmla="*/ 1165665 w 6076552"/>
              <a:gd name="connsiteY45" fmla="*/ 33908 h 4143153"/>
              <a:gd name="connsiteX46" fmla="*/ 2227385 w 6076552"/>
              <a:gd name="connsiteY46" fmla="*/ 0 h 4143153"/>
              <a:gd name="connsiteX0" fmla="*/ 2227385 w 6076552"/>
              <a:gd name="connsiteY0" fmla="*/ 0 h 4143153"/>
              <a:gd name="connsiteX1" fmla="*/ 2442246 w 6076552"/>
              <a:gd name="connsiteY1" fmla="*/ 2597 h 4143153"/>
              <a:gd name="connsiteX2" fmla="*/ 5611032 w 6076552"/>
              <a:gd name="connsiteY2" fmla="*/ 360755 h 4143153"/>
              <a:gd name="connsiteX3" fmla="*/ 6044466 w 6076552"/>
              <a:gd name="connsiteY3" fmla="*/ 388431 h 4143153"/>
              <a:gd name="connsiteX4" fmla="*/ 6044400 w 6076552"/>
              <a:gd name="connsiteY4" fmla="*/ 511023 h 4143153"/>
              <a:gd name="connsiteX5" fmla="*/ 6044400 w 6076552"/>
              <a:gd name="connsiteY5" fmla="*/ 1228503 h 4143153"/>
              <a:gd name="connsiteX6" fmla="*/ 6044400 w 6076552"/>
              <a:gd name="connsiteY6" fmla="*/ 1254629 h 4143153"/>
              <a:gd name="connsiteX7" fmla="*/ 6044400 w 6076552"/>
              <a:gd name="connsiteY7" fmla="*/ 1302554 h 4143153"/>
              <a:gd name="connsiteX8" fmla="*/ 6044400 w 6076552"/>
              <a:gd name="connsiteY8" fmla="*/ 1339878 h 4143153"/>
              <a:gd name="connsiteX9" fmla="*/ 6044400 w 6076552"/>
              <a:gd name="connsiteY9" fmla="*/ 1367926 h 4143153"/>
              <a:gd name="connsiteX10" fmla="*/ 6044400 w 6076552"/>
              <a:gd name="connsiteY10" fmla="*/ 1388023 h 4143153"/>
              <a:gd name="connsiteX11" fmla="*/ 6044400 w 6076552"/>
              <a:gd name="connsiteY11" fmla="*/ 1401495 h 4143153"/>
              <a:gd name="connsiteX12" fmla="*/ 6044400 w 6076552"/>
              <a:gd name="connsiteY12" fmla="*/ 1413863 h 4143153"/>
              <a:gd name="connsiteX13" fmla="*/ 6044400 w 6076552"/>
              <a:gd name="connsiteY13" fmla="*/ 1415630 h 4143153"/>
              <a:gd name="connsiteX14" fmla="*/ 6044400 w 6076552"/>
              <a:gd name="connsiteY14" fmla="*/ 4143153 h 4143153"/>
              <a:gd name="connsiteX15" fmla="*/ 0 w 6076552"/>
              <a:gd name="connsiteY15" fmla="*/ 4143153 h 4143153"/>
              <a:gd name="connsiteX16" fmla="*/ 0 w 6076552"/>
              <a:gd name="connsiteY16" fmla="*/ 3959500 h 4143153"/>
              <a:gd name="connsiteX17" fmla="*/ 0 w 6076552"/>
              <a:gd name="connsiteY17" fmla="*/ 1494981 h 4143153"/>
              <a:gd name="connsiteX18" fmla="*/ 0 w 6076552"/>
              <a:gd name="connsiteY18" fmla="*/ 1492359 h 4143153"/>
              <a:gd name="connsiteX19" fmla="*/ 0 w 6076552"/>
              <a:gd name="connsiteY19" fmla="*/ 1486131 h 4143153"/>
              <a:gd name="connsiteX20" fmla="*/ 1684243 w 6076552"/>
              <a:gd name="connsiteY20" fmla="*/ 2271145 h 4143153"/>
              <a:gd name="connsiteX21" fmla="*/ 1917876 w 6076552"/>
              <a:gd name="connsiteY21" fmla="*/ 2053203 h 4143153"/>
              <a:gd name="connsiteX22" fmla="*/ 2134576 w 6076552"/>
              <a:gd name="connsiteY22" fmla="*/ 1868604 h 4143153"/>
              <a:gd name="connsiteX23" fmla="*/ 2251663 w 6076552"/>
              <a:gd name="connsiteY23" fmla="*/ 1780374 h 4143153"/>
              <a:gd name="connsiteX24" fmla="*/ 2368749 w 6076552"/>
              <a:gd name="connsiteY24" fmla="*/ 1692940 h 4143153"/>
              <a:gd name="connsiteX25" fmla="*/ 0 w 6076552"/>
              <a:gd name="connsiteY25" fmla="*/ 1327153 h 4143153"/>
              <a:gd name="connsiteX26" fmla="*/ 0 w 6076552"/>
              <a:gd name="connsiteY26" fmla="*/ 1256023 h 4143153"/>
              <a:gd name="connsiteX27" fmla="*/ 0 w 6076552"/>
              <a:gd name="connsiteY27" fmla="*/ 1231417 h 4143153"/>
              <a:gd name="connsiteX28" fmla="*/ 0 w 6076552"/>
              <a:gd name="connsiteY28" fmla="*/ 1228503 h 4143153"/>
              <a:gd name="connsiteX29" fmla="*/ 0 w 6076552"/>
              <a:gd name="connsiteY29" fmla="*/ 1085073 h 4143153"/>
              <a:gd name="connsiteX30" fmla="*/ 0 w 6076552"/>
              <a:gd name="connsiteY30" fmla="*/ 1058721 h 4143153"/>
              <a:gd name="connsiteX31" fmla="*/ 0 w 6076552"/>
              <a:gd name="connsiteY31" fmla="*/ 952655 h 4143153"/>
              <a:gd name="connsiteX32" fmla="*/ 0 w 6076552"/>
              <a:gd name="connsiteY32" fmla="*/ 951862 h 4143153"/>
              <a:gd name="connsiteX33" fmla="*/ 0 w 6076552"/>
              <a:gd name="connsiteY33" fmla="*/ 833468 h 4143153"/>
              <a:gd name="connsiteX34" fmla="*/ 0 w 6076552"/>
              <a:gd name="connsiteY34" fmla="*/ 828840 h 4143153"/>
              <a:gd name="connsiteX35" fmla="*/ 0 w 6076552"/>
              <a:gd name="connsiteY35" fmla="*/ 726814 h 4143153"/>
              <a:gd name="connsiteX36" fmla="*/ 0 w 6076552"/>
              <a:gd name="connsiteY36" fmla="*/ 688517 h 4143153"/>
              <a:gd name="connsiteX37" fmla="*/ 0 w 6076552"/>
              <a:gd name="connsiteY37" fmla="*/ 631998 h 4143153"/>
              <a:gd name="connsiteX38" fmla="*/ 0 w 6076552"/>
              <a:gd name="connsiteY38" fmla="*/ 529754 h 4143153"/>
              <a:gd name="connsiteX39" fmla="*/ 0 w 6076552"/>
              <a:gd name="connsiteY39" fmla="*/ 475093 h 4143153"/>
              <a:gd name="connsiteX40" fmla="*/ 0 w 6076552"/>
              <a:gd name="connsiteY40" fmla="*/ 351413 h 4143153"/>
              <a:gd name="connsiteX41" fmla="*/ 0 w 6076552"/>
              <a:gd name="connsiteY41" fmla="*/ 311109 h 4143153"/>
              <a:gd name="connsiteX42" fmla="*/ 0 w 6076552"/>
              <a:gd name="connsiteY42" fmla="*/ 156641 h 4143153"/>
              <a:gd name="connsiteX43" fmla="*/ 832114 w 6076552"/>
              <a:gd name="connsiteY43" fmla="*/ 61160 h 4143153"/>
              <a:gd name="connsiteX44" fmla="*/ 1108528 w 6076552"/>
              <a:gd name="connsiteY44" fmla="*/ 38207 h 4143153"/>
              <a:gd name="connsiteX45" fmla="*/ 1165665 w 6076552"/>
              <a:gd name="connsiteY45" fmla="*/ 33908 h 4143153"/>
              <a:gd name="connsiteX46" fmla="*/ 2227385 w 6076552"/>
              <a:gd name="connsiteY46" fmla="*/ 0 h 4143153"/>
              <a:gd name="connsiteX0" fmla="*/ 2227385 w 6076552"/>
              <a:gd name="connsiteY0" fmla="*/ 0 h 4143153"/>
              <a:gd name="connsiteX1" fmla="*/ 2442246 w 6076552"/>
              <a:gd name="connsiteY1" fmla="*/ 2597 h 4143153"/>
              <a:gd name="connsiteX2" fmla="*/ 5611032 w 6076552"/>
              <a:gd name="connsiteY2" fmla="*/ 360755 h 4143153"/>
              <a:gd name="connsiteX3" fmla="*/ 6044466 w 6076552"/>
              <a:gd name="connsiteY3" fmla="*/ 388431 h 4143153"/>
              <a:gd name="connsiteX4" fmla="*/ 6044400 w 6076552"/>
              <a:gd name="connsiteY4" fmla="*/ 511023 h 4143153"/>
              <a:gd name="connsiteX5" fmla="*/ 6044400 w 6076552"/>
              <a:gd name="connsiteY5" fmla="*/ 1228503 h 4143153"/>
              <a:gd name="connsiteX6" fmla="*/ 6044400 w 6076552"/>
              <a:gd name="connsiteY6" fmla="*/ 1254629 h 4143153"/>
              <a:gd name="connsiteX7" fmla="*/ 6044400 w 6076552"/>
              <a:gd name="connsiteY7" fmla="*/ 1302554 h 4143153"/>
              <a:gd name="connsiteX8" fmla="*/ 6044400 w 6076552"/>
              <a:gd name="connsiteY8" fmla="*/ 1339878 h 4143153"/>
              <a:gd name="connsiteX9" fmla="*/ 6044400 w 6076552"/>
              <a:gd name="connsiteY9" fmla="*/ 1367926 h 4143153"/>
              <a:gd name="connsiteX10" fmla="*/ 6044400 w 6076552"/>
              <a:gd name="connsiteY10" fmla="*/ 1388023 h 4143153"/>
              <a:gd name="connsiteX11" fmla="*/ 6044400 w 6076552"/>
              <a:gd name="connsiteY11" fmla="*/ 1401495 h 4143153"/>
              <a:gd name="connsiteX12" fmla="*/ 6044400 w 6076552"/>
              <a:gd name="connsiteY12" fmla="*/ 1413863 h 4143153"/>
              <a:gd name="connsiteX13" fmla="*/ 6044400 w 6076552"/>
              <a:gd name="connsiteY13" fmla="*/ 1415630 h 4143153"/>
              <a:gd name="connsiteX14" fmla="*/ 6044400 w 6076552"/>
              <a:gd name="connsiteY14" fmla="*/ 4143153 h 4143153"/>
              <a:gd name="connsiteX15" fmla="*/ 0 w 6076552"/>
              <a:gd name="connsiteY15" fmla="*/ 4143153 h 4143153"/>
              <a:gd name="connsiteX16" fmla="*/ 0 w 6076552"/>
              <a:gd name="connsiteY16" fmla="*/ 3959500 h 4143153"/>
              <a:gd name="connsiteX17" fmla="*/ 0 w 6076552"/>
              <a:gd name="connsiteY17" fmla="*/ 1494981 h 4143153"/>
              <a:gd name="connsiteX18" fmla="*/ 0 w 6076552"/>
              <a:gd name="connsiteY18" fmla="*/ 1492359 h 4143153"/>
              <a:gd name="connsiteX19" fmla="*/ 0 w 6076552"/>
              <a:gd name="connsiteY19" fmla="*/ 1486131 h 4143153"/>
              <a:gd name="connsiteX20" fmla="*/ 1684243 w 6076552"/>
              <a:gd name="connsiteY20" fmla="*/ 2271145 h 4143153"/>
              <a:gd name="connsiteX21" fmla="*/ 1917876 w 6076552"/>
              <a:gd name="connsiteY21" fmla="*/ 2053203 h 4143153"/>
              <a:gd name="connsiteX22" fmla="*/ 2134576 w 6076552"/>
              <a:gd name="connsiteY22" fmla="*/ 1868604 h 4143153"/>
              <a:gd name="connsiteX23" fmla="*/ 2251663 w 6076552"/>
              <a:gd name="connsiteY23" fmla="*/ 1780374 h 4143153"/>
              <a:gd name="connsiteX24" fmla="*/ 2368749 w 6076552"/>
              <a:gd name="connsiteY24" fmla="*/ 1692940 h 4143153"/>
              <a:gd name="connsiteX25" fmla="*/ 0 w 6076552"/>
              <a:gd name="connsiteY25" fmla="*/ 1327153 h 4143153"/>
              <a:gd name="connsiteX26" fmla="*/ 0 w 6076552"/>
              <a:gd name="connsiteY26" fmla="*/ 1256023 h 4143153"/>
              <a:gd name="connsiteX27" fmla="*/ 0 w 6076552"/>
              <a:gd name="connsiteY27" fmla="*/ 1231417 h 4143153"/>
              <a:gd name="connsiteX28" fmla="*/ 0 w 6076552"/>
              <a:gd name="connsiteY28" fmla="*/ 1228503 h 4143153"/>
              <a:gd name="connsiteX29" fmla="*/ 0 w 6076552"/>
              <a:gd name="connsiteY29" fmla="*/ 1085073 h 4143153"/>
              <a:gd name="connsiteX30" fmla="*/ 0 w 6076552"/>
              <a:gd name="connsiteY30" fmla="*/ 1058721 h 4143153"/>
              <a:gd name="connsiteX31" fmla="*/ 0 w 6076552"/>
              <a:gd name="connsiteY31" fmla="*/ 952655 h 4143153"/>
              <a:gd name="connsiteX32" fmla="*/ 0 w 6076552"/>
              <a:gd name="connsiteY32" fmla="*/ 951862 h 4143153"/>
              <a:gd name="connsiteX33" fmla="*/ 0 w 6076552"/>
              <a:gd name="connsiteY33" fmla="*/ 833468 h 4143153"/>
              <a:gd name="connsiteX34" fmla="*/ 0 w 6076552"/>
              <a:gd name="connsiteY34" fmla="*/ 828840 h 4143153"/>
              <a:gd name="connsiteX35" fmla="*/ 0 w 6076552"/>
              <a:gd name="connsiteY35" fmla="*/ 726814 h 4143153"/>
              <a:gd name="connsiteX36" fmla="*/ 0 w 6076552"/>
              <a:gd name="connsiteY36" fmla="*/ 688517 h 4143153"/>
              <a:gd name="connsiteX37" fmla="*/ 0 w 6076552"/>
              <a:gd name="connsiteY37" fmla="*/ 631998 h 4143153"/>
              <a:gd name="connsiteX38" fmla="*/ 0 w 6076552"/>
              <a:gd name="connsiteY38" fmla="*/ 529754 h 4143153"/>
              <a:gd name="connsiteX39" fmla="*/ 0 w 6076552"/>
              <a:gd name="connsiteY39" fmla="*/ 475093 h 4143153"/>
              <a:gd name="connsiteX40" fmla="*/ 0 w 6076552"/>
              <a:gd name="connsiteY40" fmla="*/ 351413 h 4143153"/>
              <a:gd name="connsiteX41" fmla="*/ 0 w 6076552"/>
              <a:gd name="connsiteY41" fmla="*/ 311109 h 4143153"/>
              <a:gd name="connsiteX42" fmla="*/ 0 w 6076552"/>
              <a:gd name="connsiteY42" fmla="*/ 156641 h 4143153"/>
              <a:gd name="connsiteX43" fmla="*/ 832114 w 6076552"/>
              <a:gd name="connsiteY43" fmla="*/ 61160 h 4143153"/>
              <a:gd name="connsiteX44" fmla="*/ 1108528 w 6076552"/>
              <a:gd name="connsiteY44" fmla="*/ 38207 h 4143153"/>
              <a:gd name="connsiteX45" fmla="*/ 1165665 w 6076552"/>
              <a:gd name="connsiteY45" fmla="*/ 33908 h 4143153"/>
              <a:gd name="connsiteX46" fmla="*/ 2227385 w 6076552"/>
              <a:gd name="connsiteY46" fmla="*/ 0 h 4143153"/>
              <a:gd name="connsiteX0" fmla="*/ 2227385 w 6093799"/>
              <a:gd name="connsiteY0" fmla="*/ 0 h 4143153"/>
              <a:gd name="connsiteX1" fmla="*/ 2442246 w 6093799"/>
              <a:gd name="connsiteY1" fmla="*/ 2597 h 4143153"/>
              <a:gd name="connsiteX2" fmla="*/ 5378199 w 6093799"/>
              <a:gd name="connsiteY2" fmla="*/ 400540 h 4143153"/>
              <a:gd name="connsiteX3" fmla="*/ 6044466 w 6093799"/>
              <a:gd name="connsiteY3" fmla="*/ 388431 h 4143153"/>
              <a:gd name="connsiteX4" fmla="*/ 6044400 w 6093799"/>
              <a:gd name="connsiteY4" fmla="*/ 511023 h 4143153"/>
              <a:gd name="connsiteX5" fmla="*/ 6044400 w 6093799"/>
              <a:gd name="connsiteY5" fmla="*/ 1228503 h 4143153"/>
              <a:gd name="connsiteX6" fmla="*/ 6044400 w 6093799"/>
              <a:gd name="connsiteY6" fmla="*/ 1254629 h 4143153"/>
              <a:gd name="connsiteX7" fmla="*/ 6044400 w 6093799"/>
              <a:gd name="connsiteY7" fmla="*/ 1302554 h 4143153"/>
              <a:gd name="connsiteX8" fmla="*/ 6044400 w 6093799"/>
              <a:gd name="connsiteY8" fmla="*/ 1339878 h 4143153"/>
              <a:gd name="connsiteX9" fmla="*/ 6044400 w 6093799"/>
              <a:gd name="connsiteY9" fmla="*/ 1367926 h 4143153"/>
              <a:gd name="connsiteX10" fmla="*/ 6044400 w 6093799"/>
              <a:gd name="connsiteY10" fmla="*/ 1388023 h 4143153"/>
              <a:gd name="connsiteX11" fmla="*/ 6044400 w 6093799"/>
              <a:gd name="connsiteY11" fmla="*/ 1401495 h 4143153"/>
              <a:gd name="connsiteX12" fmla="*/ 6044400 w 6093799"/>
              <a:gd name="connsiteY12" fmla="*/ 1413863 h 4143153"/>
              <a:gd name="connsiteX13" fmla="*/ 6044400 w 6093799"/>
              <a:gd name="connsiteY13" fmla="*/ 1415630 h 4143153"/>
              <a:gd name="connsiteX14" fmla="*/ 6044400 w 6093799"/>
              <a:gd name="connsiteY14" fmla="*/ 4143153 h 4143153"/>
              <a:gd name="connsiteX15" fmla="*/ 0 w 6093799"/>
              <a:gd name="connsiteY15" fmla="*/ 4143153 h 4143153"/>
              <a:gd name="connsiteX16" fmla="*/ 0 w 6093799"/>
              <a:gd name="connsiteY16" fmla="*/ 3959500 h 4143153"/>
              <a:gd name="connsiteX17" fmla="*/ 0 w 6093799"/>
              <a:gd name="connsiteY17" fmla="*/ 1494981 h 4143153"/>
              <a:gd name="connsiteX18" fmla="*/ 0 w 6093799"/>
              <a:gd name="connsiteY18" fmla="*/ 1492359 h 4143153"/>
              <a:gd name="connsiteX19" fmla="*/ 0 w 6093799"/>
              <a:gd name="connsiteY19" fmla="*/ 1486131 h 4143153"/>
              <a:gd name="connsiteX20" fmla="*/ 1684243 w 6093799"/>
              <a:gd name="connsiteY20" fmla="*/ 2271145 h 4143153"/>
              <a:gd name="connsiteX21" fmla="*/ 1917876 w 6093799"/>
              <a:gd name="connsiteY21" fmla="*/ 2053203 h 4143153"/>
              <a:gd name="connsiteX22" fmla="*/ 2134576 w 6093799"/>
              <a:gd name="connsiteY22" fmla="*/ 1868604 h 4143153"/>
              <a:gd name="connsiteX23" fmla="*/ 2251663 w 6093799"/>
              <a:gd name="connsiteY23" fmla="*/ 1780374 h 4143153"/>
              <a:gd name="connsiteX24" fmla="*/ 2368749 w 6093799"/>
              <a:gd name="connsiteY24" fmla="*/ 1692940 h 4143153"/>
              <a:gd name="connsiteX25" fmla="*/ 0 w 6093799"/>
              <a:gd name="connsiteY25" fmla="*/ 1327153 h 4143153"/>
              <a:gd name="connsiteX26" fmla="*/ 0 w 6093799"/>
              <a:gd name="connsiteY26" fmla="*/ 1256023 h 4143153"/>
              <a:gd name="connsiteX27" fmla="*/ 0 w 6093799"/>
              <a:gd name="connsiteY27" fmla="*/ 1231417 h 4143153"/>
              <a:gd name="connsiteX28" fmla="*/ 0 w 6093799"/>
              <a:gd name="connsiteY28" fmla="*/ 1228503 h 4143153"/>
              <a:gd name="connsiteX29" fmla="*/ 0 w 6093799"/>
              <a:gd name="connsiteY29" fmla="*/ 1085073 h 4143153"/>
              <a:gd name="connsiteX30" fmla="*/ 0 w 6093799"/>
              <a:gd name="connsiteY30" fmla="*/ 1058721 h 4143153"/>
              <a:gd name="connsiteX31" fmla="*/ 0 w 6093799"/>
              <a:gd name="connsiteY31" fmla="*/ 952655 h 4143153"/>
              <a:gd name="connsiteX32" fmla="*/ 0 w 6093799"/>
              <a:gd name="connsiteY32" fmla="*/ 951862 h 4143153"/>
              <a:gd name="connsiteX33" fmla="*/ 0 w 6093799"/>
              <a:gd name="connsiteY33" fmla="*/ 833468 h 4143153"/>
              <a:gd name="connsiteX34" fmla="*/ 0 w 6093799"/>
              <a:gd name="connsiteY34" fmla="*/ 828840 h 4143153"/>
              <a:gd name="connsiteX35" fmla="*/ 0 w 6093799"/>
              <a:gd name="connsiteY35" fmla="*/ 726814 h 4143153"/>
              <a:gd name="connsiteX36" fmla="*/ 0 w 6093799"/>
              <a:gd name="connsiteY36" fmla="*/ 688517 h 4143153"/>
              <a:gd name="connsiteX37" fmla="*/ 0 w 6093799"/>
              <a:gd name="connsiteY37" fmla="*/ 631998 h 4143153"/>
              <a:gd name="connsiteX38" fmla="*/ 0 w 6093799"/>
              <a:gd name="connsiteY38" fmla="*/ 529754 h 4143153"/>
              <a:gd name="connsiteX39" fmla="*/ 0 w 6093799"/>
              <a:gd name="connsiteY39" fmla="*/ 475093 h 4143153"/>
              <a:gd name="connsiteX40" fmla="*/ 0 w 6093799"/>
              <a:gd name="connsiteY40" fmla="*/ 351413 h 4143153"/>
              <a:gd name="connsiteX41" fmla="*/ 0 w 6093799"/>
              <a:gd name="connsiteY41" fmla="*/ 311109 h 4143153"/>
              <a:gd name="connsiteX42" fmla="*/ 0 w 6093799"/>
              <a:gd name="connsiteY42" fmla="*/ 156641 h 4143153"/>
              <a:gd name="connsiteX43" fmla="*/ 832114 w 6093799"/>
              <a:gd name="connsiteY43" fmla="*/ 61160 h 4143153"/>
              <a:gd name="connsiteX44" fmla="*/ 1108528 w 6093799"/>
              <a:gd name="connsiteY44" fmla="*/ 38207 h 4143153"/>
              <a:gd name="connsiteX45" fmla="*/ 1165665 w 6093799"/>
              <a:gd name="connsiteY45" fmla="*/ 33908 h 4143153"/>
              <a:gd name="connsiteX46" fmla="*/ 2227385 w 6093799"/>
              <a:gd name="connsiteY46" fmla="*/ 0 h 4143153"/>
              <a:gd name="connsiteX0" fmla="*/ 2227385 w 6093799"/>
              <a:gd name="connsiteY0" fmla="*/ 0 h 4143153"/>
              <a:gd name="connsiteX1" fmla="*/ 2442246 w 6093799"/>
              <a:gd name="connsiteY1" fmla="*/ 2597 h 4143153"/>
              <a:gd name="connsiteX2" fmla="*/ 5378199 w 6093799"/>
              <a:gd name="connsiteY2" fmla="*/ 400540 h 4143153"/>
              <a:gd name="connsiteX3" fmla="*/ 6044466 w 6093799"/>
              <a:gd name="connsiteY3" fmla="*/ 388431 h 4143153"/>
              <a:gd name="connsiteX4" fmla="*/ 6044400 w 6093799"/>
              <a:gd name="connsiteY4" fmla="*/ 511023 h 4143153"/>
              <a:gd name="connsiteX5" fmla="*/ 6044400 w 6093799"/>
              <a:gd name="connsiteY5" fmla="*/ 1228503 h 4143153"/>
              <a:gd name="connsiteX6" fmla="*/ 6044400 w 6093799"/>
              <a:gd name="connsiteY6" fmla="*/ 1254629 h 4143153"/>
              <a:gd name="connsiteX7" fmla="*/ 6044400 w 6093799"/>
              <a:gd name="connsiteY7" fmla="*/ 1302554 h 4143153"/>
              <a:gd name="connsiteX8" fmla="*/ 6044400 w 6093799"/>
              <a:gd name="connsiteY8" fmla="*/ 1339878 h 4143153"/>
              <a:gd name="connsiteX9" fmla="*/ 6044400 w 6093799"/>
              <a:gd name="connsiteY9" fmla="*/ 1367926 h 4143153"/>
              <a:gd name="connsiteX10" fmla="*/ 6044400 w 6093799"/>
              <a:gd name="connsiteY10" fmla="*/ 1388023 h 4143153"/>
              <a:gd name="connsiteX11" fmla="*/ 6044400 w 6093799"/>
              <a:gd name="connsiteY11" fmla="*/ 1401495 h 4143153"/>
              <a:gd name="connsiteX12" fmla="*/ 6044400 w 6093799"/>
              <a:gd name="connsiteY12" fmla="*/ 1413863 h 4143153"/>
              <a:gd name="connsiteX13" fmla="*/ 6044400 w 6093799"/>
              <a:gd name="connsiteY13" fmla="*/ 1415630 h 4143153"/>
              <a:gd name="connsiteX14" fmla="*/ 6044400 w 6093799"/>
              <a:gd name="connsiteY14" fmla="*/ 4143153 h 4143153"/>
              <a:gd name="connsiteX15" fmla="*/ 0 w 6093799"/>
              <a:gd name="connsiteY15" fmla="*/ 4143153 h 4143153"/>
              <a:gd name="connsiteX16" fmla="*/ 0 w 6093799"/>
              <a:gd name="connsiteY16" fmla="*/ 3959500 h 4143153"/>
              <a:gd name="connsiteX17" fmla="*/ 0 w 6093799"/>
              <a:gd name="connsiteY17" fmla="*/ 1494981 h 4143153"/>
              <a:gd name="connsiteX18" fmla="*/ 0 w 6093799"/>
              <a:gd name="connsiteY18" fmla="*/ 1492359 h 4143153"/>
              <a:gd name="connsiteX19" fmla="*/ 0 w 6093799"/>
              <a:gd name="connsiteY19" fmla="*/ 1486131 h 4143153"/>
              <a:gd name="connsiteX20" fmla="*/ 1684243 w 6093799"/>
              <a:gd name="connsiteY20" fmla="*/ 2271145 h 4143153"/>
              <a:gd name="connsiteX21" fmla="*/ 1917876 w 6093799"/>
              <a:gd name="connsiteY21" fmla="*/ 2053203 h 4143153"/>
              <a:gd name="connsiteX22" fmla="*/ 2134576 w 6093799"/>
              <a:gd name="connsiteY22" fmla="*/ 1868604 h 4143153"/>
              <a:gd name="connsiteX23" fmla="*/ 2251663 w 6093799"/>
              <a:gd name="connsiteY23" fmla="*/ 1780374 h 4143153"/>
              <a:gd name="connsiteX24" fmla="*/ 2368749 w 6093799"/>
              <a:gd name="connsiteY24" fmla="*/ 1692940 h 4143153"/>
              <a:gd name="connsiteX25" fmla="*/ 0 w 6093799"/>
              <a:gd name="connsiteY25" fmla="*/ 1327153 h 4143153"/>
              <a:gd name="connsiteX26" fmla="*/ 0 w 6093799"/>
              <a:gd name="connsiteY26" fmla="*/ 1256023 h 4143153"/>
              <a:gd name="connsiteX27" fmla="*/ 0 w 6093799"/>
              <a:gd name="connsiteY27" fmla="*/ 1231417 h 4143153"/>
              <a:gd name="connsiteX28" fmla="*/ 0 w 6093799"/>
              <a:gd name="connsiteY28" fmla="*/ 1228503 h 4143153"/>
              <a:gd name="connsiteX29" fmla="*/ 0 w 6093799"/>
              <a:gd name="connsiteY29" fmla="*/ 1085073 h 4143153"/>
              <a:gd name="connsiteX30" fmla="*/ 0 w 6093799"/>
              <a:gd name="connsiteY30" fmla="*/ 1058721 h 4143153"/>
              <a:gd name="connsiteX31" fmla="*/ 0 w 6093799"/>
              <a:gd name="connsiteY31" fmla="*/ 952655 h 4143153"/>
              <a:gd name="connsiteX32" fmla="*/ 0 w 6093799"/>
              <a:gd name="connsiteY32" fmla="*/ 951862 h 4143153"/>
              <a:gd name="connsiteX33" fmla="*/ 0 w 6093799"/>
              <a:gd name="connsiteY33" fmla="*/ 833468 h 4143153"/>
              <a:gd name="connsiteX34" fmla="*/ 0 w 6093799"/>
              <a:gd name="connsiteY34" fmla="*/ 828840 h 4143153"/>
              <a:gd name="connsiteX35" fmla="*/ 0 w 6093799"/>
              <a:gd name="connsiteY35" fmla="*/ 726814 h 4143153"/>
              <a:gd name="connsiteX36" fmla="*/ 0 w 6093799"/>
              <a:gd name="connsiteY36" fmla="*/ 688517 h 4143153"/>
              <a:gd name="connsiteX37" fmla="*/ 0 w 6093799"/>
              <a:gd name="connsiteY37" fmla="*/ 631998 h 4143153"/>
              <a:gd name="connsiteX38" fmla="*/ 0 w 6093799"/>
              <a:gd name="connsiteY38" fmla="*/ 529754 h 4143153"/>
              <a:gd name="connsiteX39" fmla="*/ 0 w 6093799"/>
              <a:gd name="connsiteY39" fmla="*/ 475093 h 4143153"/>
              <a:gd name="connsiteX40" fmla="*/ 0 w 6093799"/>
              <a:gd name="connsiteY40" fmla="*/ 351413 h 4143153"/>
              <a:gd name="connsiteX41" fmla="*/ 0 w 6093799"/>
              <a:gd name="connsiteY41" fmla="*/ 311109 h 4143153"/>
              <a:gd name="connsiteX42" fmla="*/ 0 w 6093799"/>
              <a:gd name="connsiteY42" fmla="*/ 156641 h 4143153"/>
              <a:gd name="connsiteX43" fmla="*/ 832114 w 6093799"/>
              <a:gd name="connsiteY43" fmla="*/ 61160 h 4143153"/>
              <a:gd name="connsiteX44" fmla="*/ 1108528 w 6093799"/>
              <a:gd name="connsiteY44" fmla="*/ 38207 h 4143153"/>
              <a:gd name="connsiteX45" fmla="*/ 1165665 w 6093799"/>
              <a:gd name="connsiteY45" fmla="*/ 33908 h 4143153"/>
              <a:gd name="connsiteX46" fmla="*/ 2227385 w 6093799"/>
              <a:gd name="connsiteY46" fmla="*/ 0 h 4143153"/>
              <a:gd name="connsiteX0" fmla="*/ 2227385 w 6093799"/>
              <a:gd name="connsiteY0" fmla="*/ 0 h 4143153"/>
              <a:gd name="connsiteX1" fmla="*/ 2442246 w 6093799"/>
              <a:gd name="connsiteY1" fmla="*/ 2597 h 4143153"/>
              <a:gd name="connsiteX2" fmla="*/ 5378199 w 6093799"/>
              <a:gd name="connsiteY2" fmla="*/ 400540 h 4143153"/>
              <a:gd name="connsiteX3" fmla="*/ 6044466 w 6093799"/>
              <a:gd name="connsiteY3" fmla="*/ 388431 h 4143153"/>
              <a:gd name="connsiteX4" fmla="*/ 6044400 w 6093799"/>
              <a:gd name="connsiteY4" fmla="*/ 511023 h 4143153"/>
              <a:gd name="connsiteX5" fmla="*/ 6044400 w 6093799"/>
              <a:gd name="connsiteY5" fmla="*/ 1228503 h 4143153"/>
              <a:gd name="connsiteX6" fmla="*/ 6044400 w 6093799"/>
              <a:gd name="connsiteY6" fmla="*/ 1254629 h 4143153"/>
              <a:gd name="connsiteX7" fmla="*/ 6044400 w 6093799"/>
              <a:gd name="connsiteY7" fmla="*/ 1302554 h 4143153"/>
              <a:gd name="connsiteX8" fmla="*/ 6044400 w 6093799"/>
              <a:gd name="connsiteY8" fmla="*/ 1339878 h 4143153"/>
              <a:gd name="connsiteX9" fmla="*/ 6044400 w 6093799"/>
              <a:gd name="connsiteY9" fmla="*/ 1367926 h 4143153"/>
              <a:gd name="connsiteX10" fmla="*/ 6044400 w 6093799"/>
              <a:gd name="connsiteY10" fmla="*/ 1388023 h 4143153"/>
              <a:gd name="connsiteX11" fmla="*/ 6044400 w 6093799"/>
              <a:gd name="connsiteY11" fmla="*/ 1401495 h 4143153"/>
              <a:gd name="connsiteX12" fmla="*/ 6044400 w 6093799"/>
              <a:gd name="connsiteY12" fmla="*/ 1413863 h 4143153"/>
              <a:gd name="connsiteX13" fmla="*/ 6044400 w 6093799"/>
              <a:gd name="connsiteY13" fmla="*/ 1415630 h 4143153"/>
              <a:gd name="connsiteX14" fmla="*/ 6044400 w 6093799"/>
              <a:gd name="connsiteY14" fmla="*/ 4143153 h 4143153"/>
              <a:gd name="connsiteX15" fmla="*/ 0 w 6093799"/>
              <a:gd name="connsiteY15" fmla="*/ 4143153 h 4143153"/>
              <a:gd name="connsiteX16" fmla="*/ 0 w 6093799"/>
              <a:gd name="connsiteY16" fmla="*/ 3959500 h 4143153"/>
              <a:gd name="connsiteX17" fmla="*/ 0 w 6093799"/>
              <a:gd name="connsiteY17" fmla="*/ 1494981 h 4143153"/>
              <a:gd name="connsiteX18" fmla="*/ 0 w 6093799"/>
              <a:gd name="connsiteY18" fmla="*/ 1492359 h 4143153"/>
              <a:gd name="connsiteX19" fmla="*/ 0 w 6093799"/>
              <a:gd name="connsiteY19" fmla="*/ 1486131 h 4143153"/>
              <a:gd name="connsiteX20" fmla="*/ 1684243 w 6093799"/>
              <a:gd name="connsiteY20" fmla="*/ 2271145 h 4143153"/>
              <a:gd name="connsiteX21" fmla="*/ 1917876 w 6093799"/>
              <a:gd name="connsiteY21" fmla="*/ 2053203 h 4143153"/>
              <a:gd name="connsiteX22" fmla="*/ 2134576 w 6093799"/>
              <a:gd name="connsiteY22" fmla="*/ 1868604 h 4143153"/>
              <a:gd name="connsiteX23" fmla="*/ 2251663 w 6093799"/>
              <a:gd name="connsiteY23" fmla="*/ 1780374 h 4143153"/>
              <a:gd name="connsiteX24" fmla="*/ 2368749 w 6093799"/>
              <a:gd name="connsiteY24" fmla="*/ 1692940 h 4143153"/>
              <a:gd name="connsiteX25" fmla="*/ 0 w 6093799"/>
              <a:gd name="connsiteY25" fmla="*/ 1327153 h 4143153"/>
              <a:gd name="connsiteX26" fmla="*/ 0 w 6093799"/>
              <a:gd name="connsiteY26" fmla="*/ 1256023 h 4143153"/>
              <a:gd name="connsiteX27" fmla="*/ 0 w 6093799"/>
              <a:gd name="connsiteY27" fmla="*/ 1231417 h 4143153"/>
              <a:gd name="connsiteX28" fmla="*/ 0 w 6093799"/>
              <a:gd name="connsiteY28" fmla="*/ 1228503 h 4143153"/>
              <a:gd name="connsiteX29" fmla="*/ 0 w 6093799"/>
              <a:gd name="connsiteY29" fmla="*/ 1085073 h 4143153"/>
              <a:gd name="connsiteX30" fmla="*/ 0 w 6093799"/>
              <a:gd name="connsiteY30" fmla="*/ 1058721 h 4143153"/>
              <a:gd name="connsiteX31" fmla="*/ 0 w 6093799"/>
              <a:gd name="connsiteY31" fmla="*/ 952655 h 4143153"/>
              <a:gd name="connsiteX32" fmla="*/ 0 w 6093799"/>
              <a:gd name="connsiteY32" fmla="*/ 951862 h 4143153"/>
              <a:gd name="connsiteX33" fmla="*/ 0 w 6093799"/>
              <a:gd name="connsiteY33" fmla="*/ 833468 h 4143153"/>
              <a:gd name="connsiteX34" fmla="*/ 0 w 6093799"/>
              <a:gd name="connsiteY34" fmla="*/ 828840 h 4143153"/>
              <a:gd name="connsiteX35" fmla="*/ 0 w 6093799"/>
              <a:gd name="connsiteY35" fmla="*/ 726814 h 4143153"/>
              <a:gd name="connsiteX36" fmla="*/ 0 w 6093799"/>
              <a:gd name="connsiteY36" fmla="*/ 688517 h 4143153"/>
              <a:gd name="connsiteX37" fmla="*/ 0 w 6093799"/>
              <a:gd name="connsiteY37" fmla="*/ 631998 h 4143153"/>
              <a:gd name="connsiteX38" fmla="*/ 0 w 6093799"/>
              <a:gd name="connsiteY38" fmla="*/ 529754 h 4143153"/>
              <a:gd name="connsiteX39" fmla="*/ 0 w 6093799"/>
              <a:gd name="connsiteY39" fmla="*/ 475093 h 4143153"/>
              <a:gd name="connsiteX40" fmla="*/ 0 w 6093799"/>
              <a:gd name="connsiteY40" fmla="*/ 351413 h 4143153"/>
              <a:gd name="connsiteX41" fmla="*/ 0 w 6093799"/>
              <a:gd name="connsiteY41" fmla="*/ 311109 h 4143153"/>
              <a:gd name="connsiteX42" fmla="*/ 0 w 6093799"/>
              <a:gd name="connsiteY42" fmla="*/ 156641 h 4143153"/>
              <a:gd name="connsiteX43" fmla="*/ 832114 w 6093799"/>
              <a:gd name="connsiteY43" fmla="*/ 61160 h 4143153"/>
              <a:gd name="connsiteX44" fmla="*/ 1108528 w 6093799"/>
              <a:gd name="connsiteY44" fmla="*/ 38207 h 4143153"/>
              <a:gd name="connsiteX45" fmla="*/ 1165665 w 6093799"/>
              <a:gd name="connsiteY45" fmla="*/ 33908 h 4143153"/>
              <a:gd name="connsiteX46" fmla="*/ 2227385 w 6093799"/>
              <a:gd name="connsiteY46" fmla="*/ 0 h 4143153"/>
              <a:gd name="connsiteX0" fmla="*/ 2227385 w 6093172"/>
              <a:gd name="connsiteY0" fmla="*/ 0 h 4143153"/>
              <a:gd name="connsiteX1" fmla="*/ 2442246 w 6093172"/>
              <a:gd name="connsiteY1" fmla="*/ 2597 h 4143153"/>
              <a:gd name="connsiteX2" fmla="*/ 5386666 w 6093172"/>
              <a:gd name="connsiteY2" fmla="*/ 430379 h 4143153"/>
              <a:gd name="connsiteX3" fmla="*/ 6044466 w 6093172"/>
              <a:gd name="connsiteY3" fmla="*/ 388431 h 4143153"/>
              <a:gd name="connsiteX4" fmla="*/ 6044400 w 6093172"/>
              <a:gd name="connsiteY4" fmla="*/ 511023 h 4143153"/>
              <a:gd name="connsiteX5" fmla="*/ 6044400 w 6093172"/>
              <a:gd name="connsiteY5" fmla="*/ 1228503 h 4143153"/>
              <a:gd name="connsiteX6" fmla="*/ 6044400 w 6093172"/>
              <a:gd name="connsiteY6" fmla="*/ 1254629 h 4143153"/>
              <a:gd name="connsiteX7" fmla="*/ 6044400 w 6093172"/>
              <a:gd name="connsiteY7" fmla="*/ 1302554 h 4143153"/>
              <a:gd name="connsiteX8" fmla="*/ 6044400 w 6093172"/>
              <a:gd name="connsiteY8" fmla="*/ 1339878 h 4143153"/>
              <a:gd name="connsiteX9" fmla="*/ 6044400 w 6093172"/>
              <a:gd name="connsiteY9" fmla="*/ 1367926 h 4143153"/>
              <a:gd name="connsiteX10" fmla="*/ 6044400 w 6093172"/>
              <a:gd name="connsiteY10" fmla="*/ 1388023 h 4143153"/>
              <a:gd name="connsiteX11" fmla="*/ 6044400 w 6093172"/>
              <a:gd name="connsiteY11" fmla="*/ 1401495 h 4143153"/>
              <a:gd name="connsiteX12" fmla="*/ 6044400 w 6093172"/>
              <a:gd name="connsiteY12" fmla="*/ 1413863 h 4143153"/>
              <a:gd name="connsiteX13" fmla="*/ 6044400 w 6093172"/>
              <a:gd name="connsiteY13" fmla="*/ 1415630 h 4143153"/>
              <a:gd name="connsiteX14" fmla="*/ 6044400 w 6093172"/>
              <a:gd name="connsiteY14" fmla="*/ 4143153 h 4143153"/>
              <a:gd name="connsiteX15" fmla="*/ 0 w 6093172"/>
              <a:gd name="connsiteY15" fmla="*/ 4143153 h 4143153"/>
              <a:gd name="connsiteX16" fmla="*/ 0 w 6093172"/>
              <a:gd name="connsiteY16" fmla="*/ 3959500 h 4143153"/>
              <a:gd name="connsiteX17" fmla="*/ 0 w 6093172"/>
              <a:gd name="connsiteY17" fmla="*/ 1494981 h 4143153"/>
              <a:gd name="connsiteX18" fmla="*/ 0 w 6093172"/>
              <a:gd name="connsiteY18" fmla="*/ 1492359 h 4143153"/>
              <a:gd name="connsiteX19" fmla="*/ 0 w 6093172"/>
              <a:gd name="connsiteY19" fmla="*/ 1486131 h 4143153"/>
              <a:gd name="connsiteX20" fmla="*/ 1684243 w 6093172"/>
              <a:gd name="connsiteY20" fmla="*/ 2271145 h 4143153"/>
              <a:gd name="connsiteX21" fmla="*/ 1917876 w 6093172"/>
              <a:gd name="connsiteY21" fmla="*/ 2053203 h 4143153"/>
              <a:gd name="connsiteX22" fmla="*/ 2134576 w 6093172"/>
              <a:gd name="connsiteY22" fmla="*/ 1868604 h 4143153"/>
              <a:gd name="connsiteX23" fmla="*/ 2251663 w 6093172"/>
              <a:gd name="connsiteY23" fmla="*/ 1780374 h 4143153"/>
              <a:gd name="connsiteX24" fmla="*/ 2368749 w 6093172"/>
              <a:gd name="connsiteY24" fmla="*/ 1692940 h 4143153"/>
              <a:gd name="connsiteX25" fmla="*/ 0 w 6093172"/>
              <a:gd name="connsiteY25" fmla="*/ 1327153 h 4143153"/>
              <a:gd name="connsiteX26" fmla="*/ 0 w 6093172"/>
              <a:gd name="connsiteY26" fmla="*/ 1256023 h 4143153"/>
              <a:gd name="connsiteX27" fmla="*/ 0 w 6093172"/>
              <a:gd name="connsiteY27" fmla="*/ 1231417 h 4143153"/>
              <a:gd name="connsiteX28" fmla="*/ 0 w 6093172"/>
              <a:gd name="connsiteY28" fmla="*/ 1228503 h 4143153"/>
              <a:gd name="connsiteX29" fmla="*/ 0 w 6093172"/>
              <a:gd name="connsiteY29" fmla="*/ 1085073 h 4143153"/>
              <a:gd name="connsiteX30" fmla="*/ 0 w 6093172"/>
              <a:gd name="connsiteY30" fmla="*/ 1058721 h 4143153"/>
              <a:gd name="connsiteX31" fmla="*/ 0 w 6093172"/>
              <a:gd name="connsiteY31" fmla="*/ 952655 h 4143153"/>
              <a:gd name="connsiteX32" fmla="*/ 0 w 6093172"/>
              <a:gd name="connsiteY32" fmla="*/ 951862 h 4143153"/>
              <a:gd name="connsiteX33" fmla="*/ 0 w 6093172"/>
              <a:gd name="connsiteY33" fmla="*/ 833468 h 4143153"/>
              <a:gd name="connsiteX34" fmla="*/ 0 w 6093172"/>
              <a:gd name="connsiteY34" fmla="*/ 828840 h 4143153"/>
              <a:gd name="connsiteX35" fmla="*/ 0 w 6093172"/>
              <a:gd name="connsiteY35" fmla="*/ 726814 h 4143153"/>
              <a:gd name="connsiteX36" fmla="*/ 0 w 6093172"/>
              <a:gd name="connsiteY36" fmla="*/ 688517 h 4143153"/>
              <a:gd name="connsiteX37" fmla="*/ 0 w 6093172"/>
              <a:gd name="connsiteY37" fmla="*/ 631998 h 4143153"/>
              <a:gd name="connsiteX38" fmla="*/ 0 w 6093172"/>
              <a:gd name="connsiteY38" fmla="*/ 529754 h 4143153"/>
              <a:gd name="connsiteX39" fmla="*/ 0 w 6093172"/>
              <a:gd name="connsiteY39" fmla="*/ 475093 h 4143153"/>
              <a:gd name="connsiteX40" fmla="*/ 0 w 6093172"/>
              <a:gd name="connsiteY40" fmla="*/ 351413 h 4143153"/>
              <a:gd name="connsiteX41" fmla="*/ 0 w 6093172"/>
              <a:gd name="connsiteY41" fmla="*/ 311109 h 4143153"/>
              <a:gd name="connsiteX42" fmla="*/ 0 w 6093172"/>
              <a:gd name="connsiteY42" fmla="*/ 156641 h 4143153"/>
              <a:gd name="connsiteX43" fmla="*/ 832114 w 6093172"/>
              <a:gd name="connsiteY43" fmla="*/ 61160 h 4143153"/>
              <a:gd name="connsiteX44" fmla="*/ 1108528 w 6093172"/>
              <a:gd name="connsiteY44" fmla="*/ 38207 h 4143153"/>
              <a:gd name="connsiteX45" fmla="*/ 1165665 w 6093172"/>
              <a:gd name="connsiteY45" fmla="*/ 33908 h 4143153"/>
              <a:gd name="connsiteX46" fmla="*/ 2227385 w 6093172"/>
              <a:gd name="connsiteY46" fmla="*/ 0 h 4143153"/>
              <a:gd name="connsiteX0" fmla="*/ 2227385 w 6093172"/>
              <a:gd name="connsiteY0" fmla="*/ 0 h 4143153"/>
              <a:gd name="connsiteX1" fmla="*/ 2442246 w 6093172"/>
              <a:gd name="connsiteY1" fmla="*/ 2597 h 4143153"/>
              <a:gd name="connsiteX2" fmla="*/ 4770167 w 6093172"/>
              <a:gd name="connsiteY2" fmla="*/ 467173 h 4143153"/>
              <a:gd name="connsiteX3" fmla="*/ 5386666 w 6093172"/>
              <a:gd name="connsiteY3" fmla="*/ 430379 h 4143153"/>
              <a:gd name="connsiteX4" fmla="*/ 6044466 w 6093172"/>
              <a:gd name="connsiteY4" fmla="*/ 388431 h 4143153"/>
              <a:gd name="connsiteX5" fmla="*/ 6044400 w 6093172"/>
              <a:gd name="connsiteY5" fmla="*/ 511023 h 4143153"/>
              <a:gd name="connsiteX6" fmla="*/ 6044400 w 6093172"/>
              <a:gd name="connsiteY6" fmla="*/ 1228503 h 4143153"/>
              <a:gd name="connsiteX7" fmla="*/ 6044400 w 6093172"/>
              <a:gd name="connsiteY7" fmla="*/ 1254629 h 4143153"/>
              <a:gd name="connsiteX8" fmla="*/ 6044400 w 6093172"/>
              <a:gd name="connsiteY8" fmla="*/ 1302554 h 4143153"/>
              <a:gd name="connsiteX9" fmla="*/ 6044400 w 6093172"/>
              <a:gd name="connsiteY9" fmla="*/ 1339878 h 4143153"/>
              <a:gd name="connsiteX10" fmla="*/ 6044400 w 6093172"/>
              <a:gd name="connsiteY10" fmla="*/ 1367926 h 4143153"/>
              <a:gd name="connsiteX11" fmla="*/ 6044400 w 6093172"/>
              <a:gd name="connsiteY11" fmla="*/ 1388023 h 4143153"/>
              <a:gd name="connsiteX12" fmla="*/ 6044400 w 6093172"/>
              <a:gd name="connsiteY12" fmla="*/ 1401495 h 4143153"/>
              <a:gd name="connsiteX13" fmla="*/ 6044400 w 6093172"/>
              <a:gd name="connsiteY13" fmla="*/ 1413863 h 4143153"/>
              <a:gd name="connsiteX14" fmla="*/ 6044400 w 6093172"/>
              <a:gd name="connsiteY14" fmla="*/ 1415630 h 4143153"/>
              <a:gd name="connsiteX15" fmla="*/ 6044400 w 6093172"/>
              <a:gd name="connsiteY15" fmla="*/ 4143153 h 4143153"/>
              <a:gd name="connsiteX16" fmla="*/ 0 w 6093172"/>
              <a:gd name="connsiteY16" fmla="*/ 4143153 h 4143153"/>
              <a:gd name="connsiteX17" fmla="*/ 0 w 6093172"/>
              <a:gd name="connsiteY17" fmla="*/ 3959500 h 4143153"/>
              <a:gd name="connsiteX18" fmla="*/ 0 w 6093172"/>
              <a:gd name="connsiteY18" fmla="*/ 1494981 h 4143153"/>
              <a:gd name="connsiteX19" fmla="*/ 0 w 6093172"/>
              <a:gd name="connsiteY19" fmla="*/ 1492359 h 4143153"/>
              <a:gd name="connsiteX20" fmla="*/ 0 w 6093172"/>
              <a:gd name="connsiteY20" fmla="*/ 1486131 h 4143153"/>
              <a:gd name="connsiteX21" fmla="*/ 1684243 w 6093172"/>
              <a:gd name="connsiteY21" fmla="*/ 2271145 h 4143153"/>
              <a:gd name="connsiteX22" fmla="*/ 1917876 w 6093172"/>
              <a:gd name="connsiteY22" fmla="*/ 2053203 h 4143153"/>
              <a:gd name="connsiteX23" fmla="*/ 2134576 w 6093172"/>
              <a:gd name="connsiteY23" fmla="*/ 1868604 h 4143153"/>
              <a:gd name="connsiteX24" fmla="*/ 2251663 w 6093172"/>
              <a:gd name="connsiteY24" fmla="*/ 1780374 h 4143153"/>
              <a:gd name="connsiteX25" fmla="*/ 2368749 w 6093172"/>
              <a:gd name="connsiteY25" fmla="*/ 1692940 h 4143153"/>
              <a:gd name="connsiteX26" fmla="*/ 0 w 6093172"/>
              <a:gd name="connsiteY26" fmla="*/ 1327153 h 4143153"/>
              <a:gd name="connsiteX27" fmla="*/ 0 w 6093172"/>
              <a:gd name="connsiteY27" fmla="*/ 1256023 h 4143153"/>
              <a:gd name="connsiteX28" fmla="*/ 0 w 6093172"/>
              <a:gd name="connsiteY28" fmla="*/ 1231417 h 4143153"/>
              <a:gd name="connsiteX29" fmla="*/ 0 w 6093172"/>
              <a:gd name="connsiteY29" fmla="*/ 1228503 h 4143153"/>
              <a:gd name="connsiteX30" fmla="*/ 0 w 6093172"/>
              <a:gd name="connsiteY30" fmla="*/ 1085073 h 4143153"/>
              <a:gd name="connsiteX31" fmla="*/ 0 w 6093172"/>
              <a:gd name="connsiteY31" fmla="*/ 1058721 h 4143153"/>
              <a:gd name="connsiteX32" fmla="*/ 0 w 6093172"/>
              <a:gd name="connsiteY32" fmla="*/ 952655 h 4143153"/>
              <a:gd name="connsiteX33" fmla="*/ 0 w 6093172"/>
              <a:gd name="connsiteY33" fmla="*/ 951862 h 4143153"/>
              <a:gd name="connsiteX34" fmla="*/ 0 w 6093172"/>
              <a:gd name="connsiteY34" fmla="*/ 833468 h 4143153"/>
              <a:gd name="connsiteX35" fmla="*/ 0 w 6093172"/>
              <a:gd name="connsiteY35" fmla="*/ 828840 h 4143153"/>
              <a:gd name="connsiteX36" fmla="*/ 0 w 6093172"/>
              <a:gd name="connsiteY36" fmla="*/ 726814 h 4143153"/>
              <a:gd name="connsiteX37" fmla="*/ 0 w 6093172"/>
              <a:gd name="connsiteY37" fmla="*/ 688517 h 4143153"/>
              <a:gd name="connsiteX38" fmla="*/ 0 w 6093172"/>
              <a:gd name="connsiteY38" fmla="*/ 631998 h 4143153"/>
              <a:gd name="connsiteX39" fmla="*/ 0 w 6093172"/>
              <a:gd name="connsiteY39" fmla="*/ 529754 h 4143153"/>
              <a:gd name="connsiteX40" fmla="*/ 0 w 6093172"/>
              <a:gd name="connsiteY40" fmla="*/ 475093 h 4143153"/>
              <a:gd name="connsiteX41" fmla="*/ 0 w 6093172"/>
              <a:gd name="connsiteY41" fmla="*/ 351413 h 4143153"/>
              <a:gd name="connsiteX42" fmla="*/ 0 w 6093172"/>
              <a:gd name="connsiteY42" fmla="*/ 311109 h 4143153"/>
              <a:gd name="connsiteX43" fmla="*/ 0 w 6093172"/>
              <a:gd name="connsiteY43" fmla="*/ 156641 h 4143153"/>
              <a:gd name="connsiteX44" fmla="*/ 832114 w 6093172"/>
              <a:gd name="connsiteY44" fmla="*/ 61160 h 4143153"/>
              <a:gd name="connsiteX45" fmla="*/ 1108528 w 6093172"/>
              <a:gd name="connsiteY45" fmla="*/ 38207 h 4143153"/>
              <a:gd name="connsiteX46" fmla="*/ 1165665 w 6093172"/>
              <a:gd name="connsiteY46" fmla="*/ 33908 h 4143153"/>
              <a:gd name="connsiteX47" fmla="*/ 2227385 w 6093172"/>
              <a:gd name="connsiteY47" fmla="*/ 0 h 4143153"/>
              <a:gd name="connsiteX0" fmla="*/ 2227385 w 6093172"/>
              <a:gd name="connsiteY0" fmla="*/ 0 h 4143153"/>
              <a:gd name="connsiteX1" fmla="*/ 2442246 w 6093172"/>
              <a:gd name="connsiteY1" fmla="*/ 2597 h 4143153"/>
              <a:gd name="connsiteX2" fmla="*/ 4770167 w 6093172"/>
              <a:gd name="connsiteY2" fmla="*/ 467173 h 4143153"/>
              <a:gd name="connsiteX3" fmla="*/ 5386666 w 6093172"/>
              <a:gd name="connsiteY3" fmla="*/ 430379 h 4143153"/>
              <a:gd name="connsiteX4" fmla="*/ 6044466 w 6093172"/>
              <a:gd name="connsiteY4" fmla="*/ 388431 h 4143153"/>
              <a:gd name="connsiteX5" fmla="*/ 6044400 w 6093172"/>
              <a:gd name="connsiteY5" fmla="*/ 511023 h 4143153"/>
              <a:gd name="connsiteX6" fmla="*/ 6044400 w 6093172"/>
              <a:gd name="connsiteY6" fmla="*/ 1228503 h 4143153"/>
              <a:gd name="connsiteX7" fmla="*/ 6044400 w 6093172"/>
              <a:gd name="connsiteY7" fmla="*/ 1254629 h 4143153"/>
              <a:gd name="connsiteX8" fmla="*/ 6044400 w 6093172"/>
              <a:gd name="connsiteY8" fmla="*/ 1302554 h 4143153"/>
              <a:gd name="connsiteX9" fmla="*/ 6044400 w 6093172"/>
              <a:gd name="connsiteY9" fmla="*/ 1339878 h 4143153"/>
              <a:gd name="connsiteX10" fmla="*/ 6044400 w 6093172"/>
              <a:gd name="connsiteY10" fmla="*/ 1367926 h 4143153"/>
              <a:gd name="connsiteX11" fmla="*/ 6044400 w 6093172"/>
              <a:gd name="connsiteY11" fmla="*/ 1388023 h 4143153"/>
              <a:gd name="connsiteX12" fmla="*/ 6044400 w 6093172"/>
              <a:gd name="connsiteY12" fmla="*/ 1401495 h 4143153"/>
              <a:gd name="connsiteX13" fmla="*/ 6044400 w 6093172"/>
              <a:gd name="connsiteY13" fmla="*/ 1413863 h 4143153"/>
              <a:gd name="connsiteX14" fmla="*/ 6044400 w 6093172"/>
              <a:gd name="connsiteY14" fmla="*/ 1415630 h 4143153"/>
              <a:gd name="connsiteX15" fmla="*/ 6044400 w 6093172"/>
              <a:gd name="connsiteY15" fmla="*/ 4143153 h 4143153"/>
              <a:gd name="connsiteX16" fmla="*/ 0 w 6093172"/>
              <a:gd name="connsiteY16" fmla="*/ 4143153 h 4143153"/>
              <a:gd name="connsiteX17" fmla="*/ 0 w 6093172"/>
              <a:gd name="connsiteY17" fmla="*/ 3959500 h 4143153"/>
              <a:gd name="connsiteX18" fmla="*/ 0 w 6093172"/>
              <a:gd name="connsiteY18" fmla="*/ 1494981 h 4143153"/>
              <a:gd name="connsiteX19" fmla="*/ 0 w 6093172"/>
              <a:gd name="connsiteY19" fmla="*/ 1492359 h 4143153"/>
              <a:gd name="connsiteX20" fmla="*/ 0 w 6093172"/>
              <a:gd name="connsiteY20" fmla="*/ 1486131 h 4143153"/>
              <a:gd name="connsiteX21" fmla="*/ 1684243 w 6093172"/>
              <a:gd name="connsiteY21" fmla="*/ 2271145 h 4143153"/>
              <a:gd name="connsiteX22" fmla="*/ 1917876 w 6093172"/>
              <a:gd name="connsiteY22" fmla="*/ 2053203 h 4143153"/>
              <a:gd name="connsiteX23" fmla="*/ 2134576 w 6093172"/>
              <a:gd name="connsiteY23" fmla="*/ 1868604 h 4143153"/>
              <a:gd name="connsiteX24" fmla="*/ 2251663 w 6093172"/>
              <a:gd name="connsiteY24" fmla="*/ 1780374 h 4143153"/>
              <a:gd name="connsiteX25" fmla="*/ 2368749 w 6093172"/>
              <a:gd name="connsiteY25" fmla="*/ 1692940 h 4143153"/>
              <a:gd name="connsiteX26" fmla="*/ 0 w 6093172"/>
              <a:gd name="connsiteY26" fmla="*/ 1327153 h 4143153"/>
              <a:gd name="connsiteX27" fmla="*/ 0 w 6093172"/>
              <a:gd name="connsiteY27" fmla="*/ 1256023 h 4143153"/>
              <a:gd name="connsiteX28" fmla="*/ 0 w 6093172"/>
              <a:gd name="connsiteY28" fmla="*/ 1231417 h 4143153"/>
              <a:gd name="connsiteX29" fmla="*/ 0 w 6093172"/>
              <a:gd name="connsiteY29" fmla="*/ 1228503 h 4143153"/>
              <a:gd name="connsiteX30" fmla="*/ 0 w 6093172"/>
              <a:gd name="connsiteY30" fmla="*/ 1085073 h 4143153"/>
              <a:gd name="connsiteX31" fmla="*/ 0 w 6093172"/>
              <a:gd name="connsiteY31" fmla="*/ 1058721 h 4143153"/>
              <a:gd name="connsiteX32" fmla="*/ 0 w 6093172"/>
              <a:gd name="connsiteY32" fmla="*/ 952655 h 4143153"/>
              <a:gd name="connsiteX33" fmla="*/ 0 w 6093172"/>
              <a:gd name="connsiteY33" fmla="*/ 951862 h 4143153"/>
              <a:gd name="connsiteX34" fmla="*/ 0 w 6093172"/>
              <a:gd name="connsiteY34" fmla="*/ 833468 h 4143153"/>
              <a:gd name="connsiteX35" fmla="*/ 0 w 6093172"/>
              <a:gd name="connsiteY35" fmla="*/ 828840 h 4143153"/>
              <a:gd name="connsiteX36" fmla="*/ 0 w 6093172"/>
              <a:gd name="connsiteY36" fmla="*/ 726814 h 4143153"/>
              <a:gd name="connsiteX37" fmla="*/ 0 w 6093172"/>
              <a:gd name="connsiteY37" fmla="*/ 688517 h 4143153"/>
              <a:gd name="connsiteX38" fmla="*/ 0 w 6093172"/>
              <a:gd name="connsiteY38" fmla="*/ 631998 h 4143153"/>
              <a:gd name="connsiteX39" fmla="*/ 0 w 6093172"/>
              <a:gd name="connsiteY39" fmla="*/ 529754 h 4143153"/>
              <a:gd name="connsiteX40" fmla="*/ 0 w 6093172"/>
              <a:gd name="connsiteY40" fmla="*/ 475093 h 4143153"/>
              <a:gd name="connsiteX41" fmla="*/ 0 w 6093172"/>
              <a:gd name="connsiteY41" fmla="*/ 351413 h 4143153"/>
              <a:gd name="connsiteX42" fmla="*/ 0 w 6093172"/>
              <a:gd name="connsiteY42" fmla="*/ 311109 h 4143153"/>
              <a:gd name="connsiteX43" fmla="*/ 0 w 6093172"/>
              <a:gd name="connsiteY43" fmla="*/ 156641 h 4143153"/>
              <a:gd name="connsiteX44" fmla="*/ 832114 w 6093172"/>
              <a:gd name="connsiteY44" fmla="*/ 61160 h 4143153"/>
              <a:gd name="connsiteX45" fmla="*/ 1108528 w 6093172"/>
              <a:gd name="connsiteY45" fmla="*/ 38207 h 4143153"/>
              <a:gd name="connsiteX46" fmla="*/ 1165665 w 6093172"/>
              <a:gd name="connsiteY46" fmla="*/ 33908 h 4143153"/>
              <a:gd name="connsiteX47" fmla="*/ 2227385 w 6093172"/>
              <a:gd name="connsiteY47" fmla="*/ 0 h 4143153"/>
              <a:gd name="connsiteX0" fmla="*/ 2227385 w 6093172"/>
              <a:gd name="connsiteY0" fmla="*/ 0 h 4143153"/>
              <a:gd name="connsiteX1" fmla="*/ 2442246 w 6093172"/>
              <a:gd name="connsiteY1" fmla="*/ 2597 h 4143153"/>
              <a:gd name="connsiteX2" fmla="*/ 4770167 w 6093172"/>
              <a:gd name="connsiteY2" fmla="*/ 467173 h 4143153"/>
              <a:gd name="connsiteX3" fmla="*/ 5386666 w 6093172"/>
              <a:gd name="connsiteY3" fmla="*/ 430379 h 4143153"/>
              <a:gd name="connsiteX4" fmla="*/ 6044466 w 6093172"/>
              <a:gd name="connsiteY4" fmla="*/ 388431 h 4143153"/>
              <a:gd name="connsiteX5" fmla="*/ 6044400 w 6093172"/>
              <a:gd name="connsiteY5" fmla="*/ 511023 h 4143153"/>
              <a:gd name="connsiteX6" fmla="*/ 6044400 w 6093172"/>
              <a:gd name="connsiteY6" fmla="*/ 1228503 h 4143153"/>
              <a:gd name="connsiteX7" fmla="*/ 6044400 w 6093172"/>
              <a:gd name="connsiteY7" fmla="*/ 1254629 h 4143153"/>
              <a:gd name="connsiteX8" fmla="*/ 6044400 w 6093172"/>
              <a:gd name="connsiteY8" fmla="*/ 1302554 h 4143153"/>
              <a:gd name="connsiteX9" fmla="*/ 6044400 w 6093172"/>
              <a:gd name="connsiteY9" fmla="*/ 1339878 h 4143153"/>
              <a:gd name="connsiteX10" fmla="*/ 6044400 w 6093172"/>
              <a:gd name="connsiteY10" fmla="*/ 1367926 h 4143153"/>
              <a:gd name="connsiteX11" fmla="*/ 6044400 w 6093172"/>
              <a:gd name="connsiteY11" fmla="*/ 1388023 h 4143153"/>
              <a:gd name="connsiteX12" fmla="*/ 6044400 w 6093172"/>
              <a:gd name="connsiteY12" fmla="*/ 1401495 h 4143153"/>
              <a:gd name="connsiteX13" fmla="*/ 6044400 w 6093172"/>
              <a:gd name="connsiteY13" fmla="*/ 1413863 h 4143153"/>
              <a:gd name="connsiteX14" fmla="*/ 6044400 w 6093172"/>
              <a:gd name="connsiteY14" fmla="*/ 1415630 h 4143153"/>
              <a:gd name="connsiteX15" fmla="*/ 6044400 w 6093172"/>
              <a:gd name="connsiteY15" fmla="*/ 4143153 h 4143153"/>
              <a:gd name="connsiteX16" fmla="*/ 0 w 6093172"/>
              <a:gd name="connsiteY16" fmla="*/ 4143153 h 4143153"/>
              <a:gd name="connsiteX17" fmla="*/ 0 w 6093172"/>
              <a:gd name="connsiteY17" fmla="*/ 3959500 h 4143153"/>
              <a:gd name="connsiteX18" fmla="*/ 0 w 6093172"/>
              <a:gd name="connsiteY18" fmla="*/ 1494981 h 4143153"/>
              <a:gd name="connsiteX19" fmla="*/ 0 w 6093172"/>
              <a:gd name="connsiteY19" fmla="*/ 1492359 h 4143153"/>
              <a:gd name="connsiteX20" fmla="*/ 0 w 6093172"/>
              <a:gd name="connsiteY20" fmla="*/ 1486131 h 4143153"/>
              <a:gd name="connsiteX21" fmla="*/ 1684243 w 6093172"/>
              <a:gd name="connsiteY21" fmla="*/ 2271145 h 4143153"/>
              <a:gd name="connsiteX22" fmla="*/ 1917876 w 6093172"/>
              <a:gd name="connsiteY22" fmla="*/ 2053203 h 4143153"/>
              <a:gd name="connsiteX23" fmla="*/ 2134576 w 6093172"/>
              <a:gd name="connsiteY23" fmla="*/ 1868604 h 4143153"/>
              <a:gd name="connsiteX24" fmla="*/ 2251663 w 6093172"/>
              <a:gd name="connsiteY24" fmla="*/ 1780374 h 4143153"/>
              <a:gd name="connsiteX25" fmla="*/ 2368749 w 6093172"/>
              <a:gd name="connsiteY25" fmla="*/ 1692940 h 4143153"/>
              <a:gd name="connsiteX26" fmla="*/ 0 w 6093172"/>
              <a:gd name="connsiteY26" fmla="*/ 1327153 h 4143153"/>
              <a:gd name="connsiteX27" fmla="*/ 0 w 6093172"/>
              <a:gd name="connsiteY27" fmla="*/ 1256023 h 4143153"/>
              <a:gd name="connsiteX28" fmla="*/ 0 w 6093172"/>
              <a:gd name="connsiteY28" fmla="*/ 1231417 h 4143153"/>
              <a:gd name="connsiteX29" fmla="*/ 0 w 6093172"/>
              <a:gd name="connsiteY29" fmla="*/ 1228503 h 4143153"/>
              <a:gd name="connsiteX30" fmla="*/ 0 w 6093172"/>
              <a:gd name="connsiteY30" fmla="*/ 1085073 h 4143153"/>
              <a:gd name="connsiteX31" fmla="*/ 0 w 6093172"/>
              <a:gd name="connsiteY31" fmla="*/ 1058721 h 4143153"/>
              <a:gd name="connsiteX32" fmla="*/ 0 w 6093172"/>
              <a:gd name="connsiteY32" fmla="*/ 952655 h 4143153"/>
              <a:gd name="connsiteX33" fmla="*/ 0 w 6093172"/>
              <a:gd name="connsiteY33" fmla="*/ 951862 h 4143153"/>
              <a:gd name="connsiteX34" fmla="*/ 0 w 6093172"/>
              <a:gd name="connsiteY34" fmla="*/ 833468 h 4143153"/>
              <a:gd name="connsiteX35" fmla="*/ 0 w 6093172"/>
              <a:gd name="connsiteY35" fmla="*/ 828840 h 4143153"/>
              <a:gd name="connsiteX36" fmla="*/ 0 w 6093172"/>
              <a:gd name="connsiteY36" fmla="*/ 726814 h 4143153"/>
              <a:gd name="connsiteX37" fmla="*/ 0 w 6093172"/>
              <a:gd name="connsiteY37" fmla="*/ 688517 h 4143153"/>
              <a:gd name="connsiteX38" fmla="*/ 0 w 6093172"/>
              <a:gd name="connsiteY38" fmla="*/ 631998 h 4143153"/>
              <a:gd name="connsiteX39" fmla="*/ 0 w 6093172"/>
              <a:gd name="connsiteY39" fmla="*/ 529754 h 4143153"/>
              <a:gd name="connsiteX40" fmla="*/ 0 w 6093172"/>
              <a:gd name="connsiteY40" fmla="*/ 475093 h 4143153"/>
              <a:gd name="connsiteX41" fmla="*/ 0 w 6093172"/>
              <a:gd name="connsiteY41" fmla="*/ 351413 h 4143153"/>
              <a:gd name="connsiteX42" fmla="*/ 0 w 6093172"/>
              <a:gd name="connsiteY42" fmla="*/ 311109 h 4143153"/>
              <a:gd name="connsiteX43" fmla="*/ 0 w 6093172"/>
              <a:gd name="connsiteY43" fmla="*/ 156641 h 4143153"/>
              <a:gd name="connsiteX44" fmla="*/ 832114 w 6093172"/>
              <a:gd name="connsiteY44" fmla="*/ 61160 h 4143153"/>
              <a:gd name="connsiteX45" fmla="*/ 1108528 w 6093172"/>
              <a:gd name="connsiteY45" fmla="*/ 38207 h 4143153"/>
              <a:gd name="connsiteX46" fmla="*/ 1165665 w 6093172"/>
              <a:gd name="connsiteY46" fmla="*/ 33908 h 4143153"/>
              <a:gd name="connsiteX47" fmla="*/ 2227385 w 6093172"/>
              <a:gd name="connsiteY47" fmla="*/ 0 h 4143153"/>
              <a:gd name="connsiteX0" fmla="*/ 2227385 w 6088154"/>
              <a:gd name="connsiteY0" fmla="*/ 0 h 4143153"/>
              <a:gd name="connsiteX1" fmla="*/ 2442246 w 6088154"/>
              <a:gd name="connsiteY1" fmla="*/ 2597 h 4143153"/>
              <a:gd name="connsiteX2" fmla="*/ 4770167 w 6088154"/>
              <a:gd name="connsiteY2" fmla="*/ 467173 h 4143153"/>
              <a:gd name="connsiteX3" fmla="*/ 5454400 w 6088154"/>
              <a:gd name="connsiteY3" fmla="*/ 596151 h 4143153"/>
              <a:gd name="connsiteX4" fmla="*/ 6044466 w 6088154"/>
              <a:gd name="connsiteY4" fmla="*/ 388431 h 4143153"/>
              <a:gd name="connsiteX5" fmla="*/ 6044400 w 6088154"/>
              <a:gd name="connsiteY5" fmla="*/ 511023 h 4143153"/>
              <a:gd name="connsiteX6" fmla="*/ 6044400 w 6088154"/>
              <a:gd name="connsiteY6" fmla="*/ 1228503 h 4143153"/>
              <a:gd name="connsiteX7" fmla="*/ 6044400 w 6088154"/>
              <a:gd name="connsiteY7" fmla="*/ 1254629 h 4143153"/>
              <a:gd name="connsiteX8" fmla="*/ 6044400 w 6088154"/>
              <a:gd name="connsiteY8" fmla="*/ 1302554 h 4143153"/>
              <a:gd name="connsiteX9" fmla="*/ 6044400 w 6088154"/>
              <a:gd name="connsiteY9" fmla="*/ 1339878 h 4143153"/>
              <a:gd name="connsiteX10" fmla="*/ 6044400 w 6088154"/>
              <a:gd name="connsiteY10" fmla="*/ 1367926 h 4143153"/>
              <a:gd name="connsiteX11" fmla="*/ 6044400 w 6088154"/>
              <a:gd name="connsiteY11" fmla="*/ 1388023 h 4143153"/>
              <a:gd name="connsiteX12" fmla="*/ 6044400 w 6088154"/>
              <a:gd name="connsiteY12" fmla="*/ 1401495 h 4143153"/>
              <a:gd name="connsiteX13" fmla="*/ 6044400 w 6088154"/>
              <a:gd name="connsiteY13" fmla="*/ 1413863 h 4143153"/>
              <a:gd name="connsiteX14" fmla="*/ 6044400 w 6088154"/>
              <a:gd name="connsiteY14" fmla="*/ 1415630 h 4143153"/>
              <a:gd name="connsiteX15" fmla="*/ 6044400 w 6088154"/>
              <a:gd name="connsiteY15" fmla="*/ 4143153 h 4143153"/>
              <a:gd name="connsiteX16" fmla="*/ 0 w 6088154"/>
              <a:gd name="connsiteY16" fmla="*/ 4143153 h 4143153"/>
              <a:gd name="connsiteX17" fmla="*/ 0 w 6088154"/>
              <a:gd name="connsiteY17" fmla="*/ 3959500 h 4143153"/>
              <a:gd name="connsiteX18" fmla="*/ 0 w 6088154"/>
              <a:gd name="connsiteY18" fmla="*/ 1494981 h 4143153"/>
              <a:gd name="connsiteX19" fmla="*/ 0 w 6088154"/>
              <a:gd name="connsiteY19" fmla="*/ 1492359 h 4143153"/>
              <a:gd name="connsiteX20" fmla="*/ 0 w 6088154"/>
              <a:gd name="connsiteY20" fmla="*/ 1486131 h 4143153"/>
              <a:gd name="connsiteX21" fmla="*/ 1684243 w 6088154"/>
              <a:gd name="connsiteY21" fmla="*/ 2271145 h 4143153"/>
              <a:gd name="connsiteX22" fmla="*/ 1917876 w 6088154"/>
              <a:gd name="connsiteY22" fmla="*/ 2053203 h 4143153"/>
              <a:gd name="connsiteX23" fmla="*/ 2134576 w 6088154"/>
              <a:gd name="connsiteY23" fmla="*/ 1868604 h 4143153"/>
              <a:gd name="connsiteX24" fmla="*/ 2251663 w 6088154"/>
              <a:gd name="connsiteY24" fmla="*/ 1780374 h 4143153"/>
              <a:gd name="connsiteX25" fmla="*/ 2368749 w 6088154"/>
              <a:gd name="connsiteY25" fmla="*/ 1692940 h 4143153"/>
              <a:gd name="connsiteX26" fmla="*/ 0 w 6088154"/>
              <a:gd name="connsiteY26" fmla="*/ 1327153 h 4143153"/>
              <a:gd name="connsiteX27" fmla="*/ 0 w 6088154"/>
              <a:gd name="connsiteY27" fmla="*/ 1256023 h 4143153"/>
              <a:gd name="connsiteX28" fmla="*/ 0 w 6088154"/>
              <a:gd name="connsiteY28" fmla="*/ 1231417 h 4143153"/>
              <a:gd name="connsiteX29" fmla="*/ 0 w 6088154"/>
              <a:gd name="connsiteY29" fmla="*/ 1228503 h 4143153"/>
              <a:gd name="connsiteX30" fmla="*/ 0 w 6088154"/>
              <a:gd name="connsiteY30" fmla="*/ 1085073 h 4143153"/>
              <a:gd name="connsiteX31" fmla="*/ 0 w 6088154"/>
              <a:gd name="connsiteY31" fmla="*/ 1058721 h 4143153"/>
              <a:gd name="connsiteX32" fmla="*/ 0 w 6088154"/>
              <a:gd name="connsiteY32" fmla="*/ 952655 h 4143153"/>
              <a:gd name="connsiteX33" fmla="*/ 0 w 6088154"/>
              <a:gd name="connsiteY33" fmla="*/ 951862 h 4143153"/>
              <a:gd name="connsiteX34" fmla="*/ 0 w 6088154"/>
              <a:gd name="connsiteY34" fmla="*/ 833468 h 4143153"/>
              <a:gd name="connsiteX35" fmla="*/ 0 w 6088154"/>
              <a:gd name="connsiteY35" fmla="*/ 828840 h 4143153"/>
              <a:gd name="connsiteX36" fmla="*/ 0 w 6088154"/>
              <a:gd name="connsiteY36" fmla="*/ 726814 h 4143153"/>
              <a:gd name="connsiteX37" fmla="*/ 0 w 6088154"/>
              <a:gd name="connsiteY37" fmla="*/ 688517 h 4143153"/>
              <a:gd name="connsiteX38" fmla="*/ 0 w 6088154"/>
              <a:gd name="connsiteY38" fmla="*/ 631998 h 4143153"/>
              <a:gd name="connsiteX39" fmla="*/ 0 w 6088154"/>
              <a:gd name="connsiteY39" fmla="*/ 529754 h 4143153"/>
              <a:gd name="connsiteX40" fmla="*/ 0 w 6088154"/>
              <a:gd name="connsiteY40" fmla="*/ 475093 h 4143153"/>
              <a:gd name="connsiteX41" fmla="*/ 0 w 6088154"/>
              <a:gd name="connsiteY41" fmla="*/ 351413 h 4143153"/>
              <a:gd name="connsiteX42" fmla="*/ 0 w 6088154"/>
              <a:gd name="connsiteY42" fmla="*/ 311109 h 4143153"/>
              <a:gd name="connsiteX43" fmla="*/ 0 w 6088154"/>
              <a:gd name="connsiteY43" fmla="*/ 156641 h 4143153"/>
              <a:gd name="connsiteX44" fmla="*/ 832114 w 6088154"/>
              <a:gd name="connsiteY44" fmla="*/ 61160 h 4143153"/>
              <a:gd name="connsiteX45" fmla="*/ 1108528 w 6088154"/>
              <a:gd name="connsiteY45" fmla="*/ 38207 h 4143153"/>
              <a:gd name="connsiteX46" fmla="*/ 1165665 w 6088154"/>
              <a:gd name="connsiteY46" fmla="*/ 33908 h 4143153"/>
              <a:gd name="connsiteX47" fmla="*/ 2227385 w 6088154"/>
              <a:gd name="connsiteY47" fmla="*/ 0 h 4143153"/>
              <a:gd name="connsiteX0" fmla="*/ 2227385 w 6068854"/>
              <a:gd name="connsiteY0" fmla="*/ 0 h 4143153"/>
              <a:gd name="connsiteX1" fmla="*/ 2442246 w 6068854"/>
              <a:gd name="connsiteY1" fmla="*/ 2597 h 4143153"/>
              <a:gd name="connsiteX2" fmla="*/ 4770167 w 6068854"/>
              <a:gd name="connsiteY2" fmla="*/ 467173 h 4143153"/>
              <a:gd name="connsiteX3" fmla="*/ 5454400 w 6068854"/>
              <a:gd name="connsiteY3" fmla="*/ 596151 h 4143153"/>
              <a:gd name="connsiteX4" fmla="*/ 5714266 w 6068854"/>
              <a:gd name="connsiteY4" fmla="*/ 166297 h 4143153"/>
              <a:gd name="connsiteX5" fmla="*/ 6044400 w 6068854"/>
              <a:gd name="connsiteY5" fmla="*/ 511023 h 4143153"/>
              <a:gd name="connsiteX6" fmla="*/ 6044400 w 6068854"/>
              <a:gd name="connsiteY6" fmla="*/ 1228503 h 4143153"/>
              <a:gd name="connsiteX7" fmla="*/ 6044400 w 6068854"/>
              <a:gd name="connsiteY7" fmla="*/ 1254629 h 4143153"/>
              <a:gd name="connsiteX8" fmla="*/ 6044400 w 6068854"/>
              <a:gd name="connsiteY8" fmla="*/ 1302554 h 4143153"/>
              <a:gd name="connsiteX9" fmla="*/ 6044400 w 6068854"/>
              <a:gd name="connsiteY9" fmla="*/ 1339878 h 4143153"/>
              <a:gd name="connsiteX10" fmla="*/ 6044400 w 6068854"/>
              <a:gd name="connsiteY10" fmla="*/ 1367926 h 4143153"/>
              <a:gd name="connsiteX11" fmla="*/ 6044400 w 6068854"/>
              <a:gd name="connsiteY11" fmla="*/ 1388023 h 4143153"/>
              <a:gd name="connsiteX12" fmla="*/ 6044400 w 6068854"/>
              <a:gd name="connsiteY12" fmla="*/ 1401495 h 4143153"/>
              <a:gd name="connsiteX13" fmla="*/ 6044400 w 6068854"/>
              <a:gd name="connsiteY13" fmla="*/ 1413863 h 4143153"/>
              <a:gd name="connsiteX14" fmla="*/ 6044400 w 6068854"/>
              <a:gd name="connsiteY14" fmla="*/ 1415630 h 4143153"/>
              <a:gd name="connsiteX15" fmla="*/ 6044400 w 6068854"/>
              <a:gd name="connsiteY15" fmla="*/ 4143153 h 4143153"/>
              <a:gd name="connsiteX16" fmla="*/ 0 w 6068854"/>
              <a:gd name="connsiteY16" fmla="*/ 4143153 h 4143153"/>
              <a:gd name="connsiteX17" fmla="*/ 0 w 6068854"/>
              <a:gd name="connsiteY17" fmla="*/ 3959500 h 4143153"/>
              <a:gd name="connsiteX18" fmla="*/ 0 w 6068854"/>
              <a:gd name="connsiteY18" fmla="*/ 1494981 h 4143153"/>
              <a:gd name="connsiteX19" fmla="*/ 0 w 6068854"/>
              <a:gd name="connsiteY19" fmla="*/ 1492359 h 4143153"/>
              <a:gd name="connsiteX20" fmla="*/ 0 w 6068854"/>
              <a:gd name="connsiteY20" fmla="*/ 1486131 h 4143153"/>
              <a:gd name="connsiteX21" fmla="*/ 1684243 w 6068854"/>
              <a:gd name="connsiteY21" fmla="*/ 2271145 h 4143153"/>
              <a:gd name="connsiteX22" fmla="*/ 1917876 w 6068854"/>
              <a:gd name="connsiteY22" fmla="*/ 2053203 h 4143153"/>
              <a:gd name="connsiteX23" fmla="*/ 2134576 w 6068854"/>
              <a:gd name="connsiteY23" fmla="*/ 1868604 h 4143153"/>
              <a:gd name="connsiteX24" fmla="*/ 2251663 w 6068854"/>
              <a:gd name="connsiteY24" fmla="*/ 1780374 h 4143153"/>
              <a:gd name="connsiteX25" fmla="*/ 2368749 w 6068854"/>
              <a:gd name="connsiteY25" fmla="*/ 1692940 h 4143153"/>
              <a:gd name="connsiteX26" fmla="*/ 0 w 6068854"/>
              <a:gd name="connsiteY26" fmla="*/ 1327153 h 4143153"/>
              <a:gd name="connsiteX27" fmla="*/ 0 w 6068854"/>
              <a:gd name="connsiteY27" fmla="*/ 1256023 h 4143153"/>
              <a:gd name="connsiteX28" fmla="*/ 0 w 6068854"/>
              <a:gd name="connsiteY28" fmla="*/ 1231417 h 4143153"/>
              <a:gd name="connsiteX29" fmla="*/ 0 w 6068854"/>
              <a:gd name="connsiteY29" fmla="*/ 1228503 h 4143153"/>
              <a:gd name="connsiteX30" fmla="*/ 0 w 6068854"/>
              <a:gd name="connsiteY30" fmla="*/ 1085073 h 4143153"/>
              <a:gd name="connsiteX31" fmla="*/ 0 w 6068854"/>
              <a:gd name="connsiteY31" fmla="*/ 1058721 h 4143153"/>
              <a:gd name="connsiteX32" fmla="*/ 0 w 6068854"/>
              <a:gd name="connsiteY32" fmla="*/ 952655 h 4143153"/>
              <a:gd name="connsiteX33" fmla="*/ 0 w 6068854"/>
              <a:gd name="connsiteY33" fmla="*/ 951862 h 4143153"/>
              <a:gd name="connsiteX34" fmla="*/ 0 w 6068854"/>
              <a:gd name="connsiteY34" fmla="*/ 833468 h 4143153"/>
              <a:gd name="connsiteX35" fmla="*/ 0 w 6068854"/>
              <a:gd name="connsiteY35" fmla="*/ 828840 h 4143153"/>
              <a:gd name="connsiteX36" fmla="*/ 0 w 6068854"/>
              <a:gd name="connsiteY36" fmla="*/ 726814 h 4143153"/>
              <a:gd name="connsiteX37" fmla="*/ 0 w 6068854"/>
              <a:gd name="connsiteY37" fmla="*/ 688517 h 4143153"/>
              <a:gd name="connsiteX38" fmla="*/ 0 w 6068854"/>
              <a:gd name="connsiteY38" fmla="*/ 631998 h 4143153"/>
              <a:gd name="connsiteX39" fmla="*/ 0 w 6068854"/>
              <a:gd name="connsiteY39" fmla="*/ 529754 h 4143153"/>
              <a:gd name="connsiteX40" fmla="*/ 0 w 6068854"/>
              <a:gd name="connsiteY40" fmla="*/ 475093 h 4143153"/>
              <a:gd name="connsiteX41" fmla="*/ 0 w 6068854"/>
              <a:gd name="connsiteY41" fmla="*/ 351413 h 4143153"/>
              <a:gd name="connsiteX42" fmla="*/ 0 w 6068854"/>
              <a:gd name="connsiteY42" fmla="*/ 311109 h 4143153"/>
              <a:gd name="connsiteX43" fmla="*/ 0 w 6068854"/>
              <a:gd name="connsiteY43" fmla="*/ 156641 h 4143153"/>
              <a:gd name="connsiteX44" fmla="*/ 832114 w 6068854"/>
              <a:gd name="connsiteY44" fmla="*/ 61160 h 4143153"/>
              <a:gd name="connsiteX45" fmla="*/ 1108528 w 6068854"/>
              <a:gd name="connsiteY45" fmla="*/ 38207 h 4143153"/>
              <a:gd name="connsiteX46" fmla="*/ 1165665 w 6068854"/>
              <a:gd name="connsiteY46" fmla="*/ 33908 h 4143153"/>
              <a:gd name="connsiteX47" fmla="*/ 2227385 w 6068854"/>
              <a:gd name="connsiteY47" fmla="*/ 0 h 4143153"/>
              <a:gd name="connsiteX0" fmla="*/ 2227385 w 6050247"/>
              <a:gd name="connsiteY0" fmla="*/ 0 h 4143153"/>
              <a:gd name="connsiteX1" fmla="*/ 2442246 w 6050247"/>
              <a:gd name="connsiteY1" fmla="*/ 2597 h 4143153"/>
              <a:gd name="connsiteX2" fmla="*/ 4770167 w 6050247"/>
              <a:gd name="connsiteY2" fmla="*/ 467173 h 4143153"/>
              <a:gd name="connsiteX3" fmla="*/ 5454400 w 6050247"/>
              <a:gd name="connsiteY3" fmla="*/ 596151 h 4143153"/>
              <a:gd name="connsiteX4" fmla="*/ 5714266 w 6050247"/>
              <a:gd name="connsiteY4" fmla="*/ 166297 h 4143153"/>
              <a:gd name="connsiteX5" fmla="*/ 6014766 w 6050247"/>
              <a:gd name="connsiteY5" fmla="*/ 385037 h 4143153"/>
              <a:gd name="connsiteX6" fmla="*/ 6044400 w 6050247"/>
              <a:gd name="connsiteY6" fmla="*/ 1228503 h 4143153"/>
              <a:gd name="connsiteX7" fmla="*/ 6044400 w 6050247"/>
              <a:gd name="connsiteY7" fmla="*/ 1254629 h 4143153"/>
              <a:gd name="connsiteX8" fmla="*/ 6044400 w 6050247"/>
              <a:gd name="connsiteY8" fmla="*/ 1302554 h 4143153"/>
              <a:gd name="connsiteX9" fmla="*/ 6044400 w 6050247"/>
              <a:gd name="connsiteY9" fmla="*/ 1339878 h 4143153"/>
              <a:gd name="connsiteX10" fmla="*/ 6044400 w 6050247"/>
              <a:gd name="connsiteY10" fmla="*/ 1367926 h 4143153"/>
              <a:gd name="connsiteX11" fmla="*/ 6044400 w 6050247"/>
              <a:gd name="connsiteY11" fmla="*/ 1388023 h 4143153"/>
              <a:gd name="connsiteX12" fmla="*/ 6044400 w 6050247"/>
              <a:gd name="connsiteY12" fmla="*/ 1401495 h 4143153"/>
              <a:gd name="connsiteX13" fmla="*/ 6044400 w 6050247"/>
              <a:gd name="connsiteY13" fmla="*/ 1413863 h 4143153"/>
              <a:gd name="connsiteX14" fmla="*/ 6044400 w 6050247"/>
              <a:gd name="connsiteY14" fmla="*/ 1415630 h 4143153"/>
              <a:gd name="connsiteX15" fmla="*/ 6044400 w 6050247"/>
              <a:gd name="connsiteY15" fmla="*/ 4143153 h 4143153"/>
              <a:gd name="connsiteX16" fmla="*/ 0 w 6050247"/>
              <a:gd name="connsiteY16" fmla="*/ 4143153 h 4143153"/>
              <a:gd name="connsiteX17" fmla="*/ 0 w 6050247"/>
              <a:gd name="connsiteY17" fmla="*/ 3959500 h 4143153"/>
              <a:gd name="connsiteX18" fmla="*/ 0 w 6050247"/>
              <a:gd name="connsiteY18" fmla="*/ 1494981 h 4143153"/>
              <a:gd name="connsiteX19" fmla="*/ 0 w 6050247"/>
              <a:gd name="connsiteY19" fmla="*/ 1492359 h 4143153"/>
              <a:gd name="connsiteX20" fmla="*/ 0 w 6050247"/>
              <a:gd name="connsiteY20" fmla="*/ 1486131 h 4143153"/>
              <a:gd name="connsiteX21" fmla="*/ 1684243 w 6050247"/>
              <a:gd name="connsiteY21" fmla="*/ 2271145 h 4143153"/>
              <a:gd name="connsiteX22" fmla="*/ 1917876 w 6050247"/>
              <a:gd name="connsiteY22" fmla="*/ 2053203 h 4143153"/>
              <a:gd name="connsiteX23" fmla="*/ 2134576 w 6050247"/>
              <a:gd name="connsiteY23" fmla="*/ 1868604 h 4143153"/>
              <a:gd name="connsiteX24" fmla="*/ 2251663 w 6050247"/>
              <a:gd name="connsiteY24" fmla="*/ 1780374 h 4143153"/>
              <a:gd name="connsiteX25" fmla="*/ 2368749 w 6050247"/>
              <a:gd name="connsiteY25" fmla="*/ 1692940 h 4143153"/>
              <a:gd name="connsiteX26" fmla="*/ 0 w 6050247"/>
              <a:gd name="connsiteY26" fmla="*/ 1327153 h 4143153"/>
              <a:gd name="connsiteX27" fmla="*/ 0 w 6050247"/>
              <a:gd name="connsiteY27" fmla="*/ 1256023 h 4143153"/>
              <a:gd name="connsiteX28" fmla="*/ 0 w 6050247"/>
              <a:gd name="connsiteY28" fmla="*/ 1231417 h 4143153"/>
              <a:gd name="connsiteX29" fmla="*/ 0 w 6050247"/>
              <a:gd name="connsiteY29" fmla="*/ 1228503 h 4143153"/>
              <a:gd name="connsiteX30" fmla="*/ 0 w 6050247"/>
              <a:gd name="connsiteY30" fmla="*/ 1085073 h 4143153"/>
              <a:gd name="connsiteX31" fmla="*/ 0 w 6050247"/>
              <a:gd name="connsiteY31" fmla="*/ 1058721 h 4143153"/>
              <a:gd name="connsiteX32" fmla="*/ 0 w 6050247"/>
              <a:gd name="connsiteY32" fmla="*/ 952655 h 4143153"/>
              <a:gd name="connsiteX33" fmla="*/ 0 w 6050247"/>
              <a:gd name="connsiteY33" fmla="*/ 951862 h 4143153"/>
              <a:gd name="connsiteX34" fmla="*/ 0 w 6050247"/>
              <a:gd name="connsiteY34" fmla="*/ 833468 h 4143153"/>
              <a:gd name="connsiteX35" fmla="*/ 0 w 6050247"/>
              <a:gd name="connsiteY35" fmla="*/ 828840 h 4143153"/>
              <a:gd name="connsiteX36" fmla="*/ 0 w 6050247"/>
              <a:gd name="connsiteY36" fmla="*/ 726814 h 4143153"/>
              <a:gd name="connsiteX37" fmla="*/ 0 w 6050247"/>
              <a:gd name="connsiteY37" fmla="*/ 688517 h 4143153"/>
              <a:gd name="connsiteX38" fmla="*/ 0 w 6050247"/>
              <a:gd name="connsiteY38" fmla="*/ 631998 h 4143153"/>
              <a:gd name="connsiteX39" fmla="*/ 0 w 6050247"/>
              <a:gd name="connsiteY39" fmla="*/ 529754 h 4143153"/>
              <a:gd name="connsiteX40" fmla="*/ 0 w 6050247"/>
              <a:gd name="connsiteY40" fmla="*/ 475093 h 4143153"/>
              <a:gd name="connsiteX41" fmla="*/ 0 w 6050247"/>
              <a:gd name="connsiteY41" fmla="*/ 351413 h 4143153"/>
              <a:gd name="connsiteX42" fmla="*/ 0 w 6050247"/>
              <a:gd name="connsiteY42" fmla="*/ 311109 h 4143153"/>
              <a:gd name="connsiteX43" fmla="*/ 0 w 6050247"/>
              <a:gd name="connsiteY43" fmla="*/ 156641 h 4143153"/>
              <a:gd name="connsiteX44" fmla="*/ 832114 w 6050247"/>
              <a:gd name="connsiteY44" fmla="*/ 61160 h 4143153"/>
              <a:gd name="connsiteX45" fmla="*/ 1108528 w 6050247"/>
              <a:gd name="connsiteY45" fmla="*/ 38207 h 4143153"/>
              <a:gd name="connsiteX46" fmla="*/ 1165665 w 6050247"/>
              <a:gd name="connsiteY46" fmla="*/ 33908 h 4143153"/>
              <a:gd name="connsiteX47" fmla="*/ 2227385 w 6050247"/>
              <a:gd name="connsiteY47"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714266 w 6044400"/>
              <a:gd name="connsiteY4" fmla="*/ 166297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900533 w 6044400"/>
              <a:gd name="connsiteY4" fmla="*/ 225975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900533 w 6044400"/>
              <a:gd name="connsiteY4" fmla="*/ 225975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900533 w 6044400"/>
              <a:gd name="connsiteY4" fmla="*/ 225975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8699"/>
              <a:gd name="connsiteY0" fmla="*/ 0 h 4143153"/>
              <a:gd name="connsiteX1" fmla="*/ 2442246 w 6048699"/>
              <a:gd name="connsiteY1" fmla="*/ 2597 h 4143153"/>
              <a:gd name="connsiteX2" fmla="*/ 4770167 w 6048699"/>
              <a:gd name="connsiteY2" fmla="*/ 467173 h 4143153"/>
              <a:gd name="connsiteX3" fmla="*/ 5454400 w 6048699"/>
              <a:gd name="connsiteY3" fmla="*/ 596151 h 4143153"/>
              <a:gd name="connsiteX4" fmla="*/ 6048699 w 6048699"/>
              <a:gd name="connsiteY4" fmla="*/ 395062 h 4143153"/>
              <a:gd name="connsiteX5" fmla="*/ 6044400 w 6048699"/>
              <a:gd name="connsiteY5" fmla="*/ 1228503 h 4143153"/>
              <a:gd name="connsiteX6" fmla="*/ 6044400 w 6048699"/>
              <a:gd name="connsiteY6" fmla="*/ 1254629 h 4143153"/>
              <a:gd name="connsiteX7" fmla="*/ 6044400 w 6048699"/>
              <a:gd name="connsiteY7" fmla="*/ 1302554 h 4143153"/>
              <a:gd name="connsiteX8" fmla="*/ 6044400 w 6048699"/>
              <a:gd name="connsiteY8" fmla="*/ 1339878 h 4143153"/>
              <a:gd name="connsiteX9" fmla="*/ 6044400 w 6048699"/>
              <a:gd name="connsiteY9" fmla="*/ 1367926 h 4143153"/>
              <a:gd name="connsiteX10" fmla="*/ 6044400 w 6048699"/>
              <a:gd name="connsiteY10" fmla="*/ 1388023 h 4143153"/>
              <a:gd name="connsiteX11" fmla="*/ 6044400 w 6048699"/>
              <a:gd name="connsiteY11" fmla="*/ 1401495 h 4143153"/>
              <a:gd name="connsiteX12" fmla="*/ 6044400 w 6048699"/>
              <a:gd name="connsiteY12" fmla="*/ 1413863 h 4143153"/>
              <a:gd name="connsiteX13" fmla="*/ 6044400 w 6048699"/>
              <a:gd name="connsiteY13" fmla="*/ 1415630 h 4143153"/>
              <a:gd name="connsiteX14" fmla="*/ 6044400 w 6048699"/>
              <a:gd name="connsiteY14" fmla="*/ 4143153 h 4143153"/>
              <a:gd name="connsiteX15" fmla="*/ 0 w 6048699"/>
              <a:gd name="connsiteY15" fmla="*/ 4143153 h 4143153"/>
              <a:gd name="connsiteX16" fmla="*/ 0 w 6048699"/>
              <a:gd name="connsiteY16" fmla="*/ 3959500 h 4143153"/>
              <a:gd name="connsiteX17" fmla="*/ 0 w 6048699"/>
              <a:gd name="connsiteY17" fmla="*/ 1494981 h 4143153"/>
              <a:gd name="connsiteX18" fmla="*/ 0 w 6048699"/>
              <a:gd name="connsiteY18" fmla="*/ 1492359 h 4143153"/>
              <a:gd name="connsiteX19" fmla="*/ 0 w 6048699"/>
              <a:gd name="connsiteY19" fmla="*/ 1486131 h 4143153"/>
              <a:gd name="connsiteX20" fmla="*/ 1684243 w 6048699"/>
              <a:gd name="connsiteY20" fmla="*/ 2271145 h 4143153"/>
              <a:gd name="connsiteX21" fmla="*/ 1917876 w 6048699"/>
              <a:gd name="connsiteY21" fmla="*/ 2053203 h 4143153"/>
              <a:gd name="connsiteX22" fmla="*/ 2134576 w 6048699"/>
              <a:gd name="connsiteY22" fmla="*/ 1868604 h 4143153"/>
              <a:gd name="connsiteX23" fmla="*/ 2251663 w 6048699"/>
              <a:gd name="connsiteY23" fmla="*/ 1780374 h 4143153"/>
              <a:gd name="connsiteX24" fmla="*/ 2368749 w 6048699"/>
              <a:gd name="connsiteY24" fmla="*/ 1692940 h 4143153"/>
              <a:gd name="connsiteX25" fmla="*/ 0 w 6048699"/>
              <a:gd name="connsiteY25" fmla="*/ 1327153 h 4143153"/>
              <a:gd name="connsiteX26" fmla="*/ 0 w 6048699"/>
              <a:gd name="connsiteY26" fmla="*/ 1256023 h 4143153"/>
              <a:gd name="connsiteX27" fmla="*/ 0 w 6048699"/>
              <a:gd name="connsiteY27" fmla="*/ 1231417 h 4143153"/>
              <a:gd name="connsiteX28" fmla="*/ 0 w 6048699"/>
              <a:gd name="connsiteY28" fmla="*/ 1228503 h 4143153"/>
              <a:gd name="connsiteX29" fmla="*/ 0 w 6048699"/>
              <a:gd name="connsiteY29" fmla="*/ 1085073 h 4143153"/>
              <a:gd name="connsiteX30" fmla="*/ 0 w 6048699"/>
              <a:gd name="connsiteY30" fmla="*/ 1058721 h 4143153"/>
              <a:gd name="connsiteX31" fmla="*/ 0 w 6048699"/>
              <a:gd name="connsiteY31" fmla="*/ 952655 h 4143153"/>
              <a:gd name="connsiteX32" fmla="*/ 0 w 6048699"/>
              <a:gd name="connsiteY32" fmla="*/ 951862 h 4143153"/>
              <a:gd name="connsiteX33" fmla="*/ 0 w 6048699"/>
              <a:gd name="connsiteY33" fmla="*/ 833468 h 4143153"/>
              <a:gd name="connsiteX34" fmla="*/ 0 w 6048699"/>
              <a:gd name="connsiteY34" fmla="*/ 828840 h 4143153"/>
              <a:gd name="connsiteX35" fmla="*/ 0 w 6048699"/>
              <a:gd name="connsiteY35" fmla="*/ 726814 h 4143153"/>
              <a:gd name="connsiteX36" fmla="*/ 0 w 6048699"/>
              <a:gd name="connsiteY36" fmla="*/ 688517 h 4143153"/>
              <a:gd name="connsiteX37" fmla="*/ 0 w 6048699"/>
              <a:gd name="connsiteY37" fmla="*/ 631998 h 4143153"/>
              <a:gd name="connsiteX38" fmla="*/ 0 w 6048699"/>
              <a:gd name="connsiteY38" fmla="*/ 529754 h 4143153"/>
              <a:gd name="connsiteX39" fmla="*/ 0 w 6048699"/>
              <a:gd name="connsiteY39" fmla="*/ 475093 h 4143153"/>
              <a:gd name="connsiteX40" fmla="*/ 0 w 6048699"/>
              <a:gd name="connsiteY40" fmla="*/ 351413 h 4143153"/>
              <a:gd name="connsiteX41" fmla="*/ 0 w 6048699"/>
              <a:gd name="connsiteY41" fmla="*/ 311109 h 4143153"/>
              <a:gd name="connsiteX42" fmla="*/ 0 w 6048699"/>
              <a:gd name="connsiteY42" fmla="*/ 156641 h 4143153"/>
              <a:gd name="connsiteX43" fmla="*/ 832114 w 6048699"/>
              <a:gd name="connsiteY43" fmla="*/ 61160 h 4143153"/>
              <a:gd name="connsiteX44" fmla="*/ 1108528 w 6048699"/>
              <a:gd name="connsiteY44" fmla="*/ 38207 h 4143153"/>
              <a:gd name="connsiteX45" fmla="*/ 1165665 w 6048699"/>
              <a:gd name="connsiteY45" fmla="*/ 33908 h 4143153"/>
              <a:gd name="connsiteX46" fmla="*/ 2227385 w 6048699"/>
              <a:gd name="connsiteY46" fmla="*/ 0 h 4143153"/>
              <a:gd name="connsiteX0" fmla="*/ 2227385 w 6048699"/>
              <a:gd name="connsiteY0" fmla="*/ 0 h 4143153"/>
              <a:gd name="connsiteX1" fmla="*/ 2442246 w 6048699"/>
              <a:gd name="connsiteY1" fmla="*/ 2597 h 4143153"/>
              <a:gd name="connsiteX2" fmla="*/ 4770167 w 6048699"/>
              <a:gd name="connsiteY2" fmla="*/ 467173 h 4143153"/>
              <a:gd name="connsiteX3" fmla="*/ 5454400 w 6048699"/>
              <a:gd name="connsiteY3" fmla="*/ 596151 h 4143153"/>
              <a:gd name="connsiteX4" fmla="*/ 6048699 w 6048699"/>
              <a:gd name="connsiteY4" fmla="*/ 395062 h 4143153"/>
              <a:gd name="connsiteX5" fmla="*/ 6044400 w 6048699"/>
              <a:gd name="connsiteY5" fmla="*/ 1228503 h 4143153"/>
              <a:gd name="connsiteX6" fmla="*/ 6044400 w 6048699"/>
              <a:gd name="connsiteY6" fmla="*/ 1254629 h 4143153"/>
              <a:gd name="connsiteX7" fmla="*/ 6044400 w 6048699"/>
              <a:gd name="connsiteY7" fmla="*/ 1302554 h 4143153"/>
              <a:gd name="connsiteX8" fmla="*/ 6044400 w 6048699"/>
              <a:gd name="connsiteY8" fmla="*/ 1339878 h 4143153"/>
              <a:gd name="connsiteX9" fmla="*/ 6044400 w 6048699"/>
              <a:gd name="connsiteY9" fmla="*/ 1367926 h 4143153"/>
              <a:gd name="connsiteX10" fmla="*/ 6044400 w 6048699"/>
              <a:gd name="connsiteY10" fmla="*/ 1388023 h 4143153"/>
              <a:gd name="connsiteX11" fmla="*/ 6044400 w 6048699"/>
              <a:gd name="connsiteY11" fmla="*/ 1401495 h 4143153"/>
              <a:gd name="connsiteX12" fmla="*/ 6044400 w 6048699"/>
              <a:gd name="connsiteY12" fmla="*/ 1413863 h 4143153"/>
              <a:gd name="connsiteX13" fmla="*/ 6044400 w 6048699"/>
              <a:gd name="connsiteY13" fmla="*/ 1415630 h 4143153"/>
              <a:gd name="connsiteX14" fmla="*/ 6044400 w 6048699"/>
              <a:gd name="connsiteY14" fmla="*/ 4143153 h 4143153"/>
              <a:gd name="connsiteX15" fmla="*/ 0 w 6048699"/>
              <a:gd name="connsiteY15" fmla="*/ 4143153 h 4143153"/>
              <a:gd name="connsiteX16" fmla="*/ 0 w 6048699"/>
              <a:gd name="connsiteY16" fmla="*/ 3959500 h 4143153"/>
              <a:gd name="connsiteX17" fmla="*/ 0 w 6048699"/>
              <a:gd name="connsiteY17" fmla="*/ 1494981 h 4143153"/>
              <a:gd name="connsiteX18" fmla="*/ 0 w 6048699"/>
              <a:gd name="connsiteY18" fmla="*/ 1492359 h 4143153"/>
              <a:gd name="connsiteX19" fmla="*/ 0 w 6048699"/>
              <a:gd name="connsiteY19" fmla="*/ 1486131 h 4143153"/>
              <a:gd name="connsiteX20" fmla="*/ 1684243 w 6048699"/>
              <a:gd name="connsiteY20" fmla="*/ 2271145 h 4143153"/>
              <a:gd name="connsiteX21" fmla="*/ 1917876 w 6048699"/>
              <a:gd name="connsiteY21" fmla="*/ 2053203 h 4143153"/>
              <a:gd name="connsiteX22" fmla="*/ 2134576 w 6048699"/>
              <a:gd name="connsiteY22" fmla="*/ 1868604 h 4143153"/>
              <a:gd name="connsiteX23" fmla="*/ 2251663 w 6048699"/>
              <a:gd name="connsiteY23" fmla="*/ 1780374 h 4143153"/>
              <a:gd name="connsiteX24" fmla="*/ 2368749 w 6048699"/>
              <a:gd name="connsiteY24" fmla="*/ 1692940 h 4143153"/>
              <a:gd name="connsiteX25" fmla="*/ 0 w 6048699"/>
              <a:gd name="connsiteY25" fmla="*/ 1327153 h 4143153"/>
              <a:gd name="connsiteX26" fmla="*/ 0 w 6048699"/>
              <a:gd name="connsiteY26" fmla="*/ 1256023 h 4143153"/>
              <a:gd name="connsiteX27" fmla="*/ 0 w 6048699"/>
              <a:gd name="connsiteY27" fmla="*/ 1231417 h 4143153"/>
              <a:gd name="connsiteX28" fmla="*/ 0 w 6048699"/>
              <a:gd name="connsiteY28" fmla="*/ 1228503 h 4143153"/>
              <a:gd name="connsiteX29" fmla="*/ 0 w 6048699"/>
              <a:gd name="connsiteY29" fmla="*/ 1085073 h 4143153"/>
              <a:gd name="connsiteX30" fmla="*/ 0 w 6048699"/>
              <a:gd name="connsiteY30" fmla="*/ 1058721 h 4143153"/>
              <a:gd name="connsiteX31" fmla="*/ 0 w 6048699"/>
              <a:gd name="connsiteY31" fmla="*/ 952655 h 4143153"/>
              <a:gd name="connsiteX32" fmla="*/ 0 w 6048699"/>
              <a:gd name="connsiteY32" fmla="*/ 951862 h 4143153"/>
              <a:gd name="connsiteX33" fmla="*/ 0 w 6048699"/>
              <a:gd name="connsiteY33" fmla="*/ 833468 h 4143153"/>
              <a:gd name="connsiteX34" fmla="*/ 0 w 6048699"/>
              <a:gd name="connsiteY34" fmla="*/ 828840 h 4143153"/>
              <a:gd name="connsiteX35" fmla="*/ 0 w 6048699"/>
              <a:gd name="connsiteY35" fmla="*/ 726814 h 4143153"/>
              <a:gd name="connsiteX36" fmla="*/ 0 w 6048699"/>
              <a:gd name="connsiteY36" fmla="*/ 688517 h 4143153"/>
              <a:gd name="connsiteX37" fmla="*/ 0 w 6048699"/>
              <a:gd name="connsiteY37" fmla="*/ 631998 h 4143153"/>
              <a:gd name="connsiteX38" fmla="*/ 0 w 6048699"/>
              <a:gd name="connsiteY38" fmla="*/ 529754 h 4143153"/>
              <a:gd name="connsiteX39" fmla="*/ 0 w 6048699"/>
              <a:gd name="connsiteY39" fmla="*/ 475093 h 4143153"/>
              <a:gd name="connsiteX40" fmla="*/ 0 w 6048699"/>
              <a:gd name="connsiteY40" fmla="*/ 351413 h 4143153"/>
              <a:gd name="connsiteX41" fmla="*/ 0 w 6048699"/>
              <a:gd name="connsiteY41" fmla="*/ 311109 h 4143153"/>
              <a:gd name="connsiteX42" fmla="*/ 0 w 6048699"/>
              <a:gd name="connsiteY42" fmla="*/ 156641 h 4143153"/>
              <a:gd name="connsiteX43" fmla="*/ 832114 w 6048699"/>
              <a:gd name="connsiteY43" fmla="*/ 61160 h 4143153"/>
              <a:gd name="connsiteX44" fmla="*/ 1108528 w 6048699"/>
              <a:gd name="connsiteY44" fmla="*/ 38207 h 4143153"/>
              <a:gd name="connsiteX45" fmla="*/ 1165665 w 6048699"/>
              <a:gd name="connsiteY45" fmla="*/ 33908 h 4143153"/>
              <a:gd name="connsiteX46" fmla="*/ 2227385 w 6048699"/>
              <a:gd name="connsiteY46" fmla="*/ 0 h 4143153"/>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0 w 6048699"/>
              <a:gd name="connsiteY26" fmla="*/ 1327153 h 4143155"/>
              <a:gd name="connsiteX27" fmla="*/ 0 w 6048699"/>
              <a:gd name="connsiteY27" fmla="*/ 1256023 h 4143155"/>
              <a:gd name="connsiteX28" fmla="*/ 0 w 6048699"/>
              <a:gd name="connsiteY28" fmla="*/ 1231417 h 4143155"/>
              <a:gd name="connsiteX29" fmla="*/ 0 w 6048699"/>
              <a:gd name="connsiteY29" fmla="*/ 1228503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0 w 6048699"/>
              <a:gd name="connsiteY27" fmla="*/ 1256023 h 4143155"/>
              <a:gd name="connsiteX28" fmla="*/ 0 w 6048699"/>
              <a:gd name="connsiteY28" fmla="*/ 1231417 h 4143155"/>
              <a:gd name="connsiteX29" fmla="*/ 0 w 6048699"/>
              <a:gd name="connsiteY29" fmla="*/ 1228503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0 w 6048699"/>
              <a:gd name="connsiteY28" fmla="*/ 1231417 h 4143155"/>
              <a:gd name="connsiteX29" fmla="*/ 0 w 6048699"/>
              <a:gd name="connsiteY29" fmla="*/ 1228503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0 w 6048699"/>
              <a:gd name="connsiteY28" fmla="*/ 1231417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2853266 w 6048699"/>
              <a:gd name="connsiteY28" fmla="*/ 1364034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2853266 w 6048699"/>
              <a:gd name="connsiteY28" fmla="*/ 1364034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2853266 w 6048699"/>
              <a:gd name="connsiteY28" fmla="*/ 1364034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93502"/>
              <a:gd name="connsiteY0" fmla="*/ 0 h 4143155"/>
              <a:gd name="connsiteX1" fmla="*/ 2442246 w 6093502"/>
              <a:gd name="connsiteY1" fmla="*/ 2597 h 4143155"/>
              <a:gd name="connsiteX2" fmla="*/ 4770167 w 6093502"/>
              <a:gd name="connsiteY2" fmla="*/ 467173 h 4143155"/>
              <a:gd name="connsiteX3" fmla="*/ 5429000 w 6093502"/>
              <a:gd name="connsiteY3" fmla="*/ 443641 h 4143155"/>
              <a:gd name="connsiteX4" fmla="*/ 6048699 w 6093502"/>
              <a:gd name="connsiteY4" fmla="*/ 395062 h 4143155"/>
              <a:gd name="connsiteX5" fmla="*/ 6044400 w 6093502"/>
              <a:gd name="connsiteY5" fmla="*/ 1228503 h 4143155"/>
              <a:gd name="connsiteX6" fmla="*/ 6044400 w 6093502"/>
              <a:gd name="connsiteY6" fmla="*/ 1254629 h 4143155"/>
              <a:gd name="connsiteX7" fmla="*/ 6044400 w 6093502"/>
              <a:gd name="connsiteY7" fmla="*/ 1302554 h 4143155"/>
              <a:gd name="connsiteX8" fmla="*/ 6044400 w 6093502"/>
              <a:gd name="connsiteY8" fmla="*/ 1339878 h 4143155"/>
              <a:gd name="connsiteX9" fmla="*/ 6044400 w 6093502"/>
              <a:gd name="connsiteY9" fmla="*/ 1367926 h 4143155"/>
              <a:gd name="connsiteX10" fmla="*/ 6044400 w 6093502"/>
              <a:gd name="connsiteY10" fmla="*/ 1388023 h 4143155"/>
              <a:gd name="connsiteX11" fmla="*/ 6044400 w 6093502"/>
              <a:gd name="connsiteY11" fmla="*/ 1401495 h 4143155"/>
              <a:gd name="connsiteX12" fmla="*/ 6044400 w 6093502"/>
              <a:gd name="connsiteY12" fmla="*/ 1413863 h 4143155"/>
              <a:gd name="connsiteX13" fmla="*/ 6044400 w 6093502"/>
              <a:gd name="connsiteY13" fmla="*/ 1415630 h 4143155"/>
              <a:gd name="connsiteX14" fmla="*/ 6044400 w 6093502"/>
              <a:gd name="connsiteY14" fmla="*/ 4143153 h 4143155"/>
              <a:gd name="connsiteX15" fmla="*/ 5557568 w 6093502"/>
              <a:gd name="connsiteY15" fmla="*/ 4124099 h 4143155"/>
              <a:gd name="connsiteX16" fmla="*/ 0 w 6093502"/>
              <a:gd name="connsiteY16" fmla="*/ 4143153 h 4143155"/>
              <a:gd name="connsiteX17" fmla="*/ 0 w 6093502"/>
              <a:gd name="connsiteY17" fmla="*/ 3959500 h 4143155"/>
              <a:gd name="connsiteX18" fmla="*/ 0 w 6093502"/>
              <a:gd name="connsiteY18" fmla="*/ 1494981 h 4143155"/>
              <a:gd name="connsiteX19" fmla="*/ 0 w 6093502"/>
              <a:gd name="connsiteY19" fmla="*/ 1492359 h 4143155"/>
              <a:gd name="connsiteX20" fmla="*/ 0 w 6093502"/>
              <a:gd name="connsiteY20" fmla="*/ 1486131 h 4143155"/>
              <a:gd name="connsiteX21" fmla="*/ 1684243 w 6093502"/>
              <a:gd name="connsiteY21" fmla="*/ 2271145 h 4143155"/>
              <a:gd name="connsiteX22" fmla="*/ 1917876 w 6093502"/>
              <a:gd name="connsiteY22" fmla="*/ 2053203 h 4143155"/>
              <a:gd name="connsiteX23" fmla="*/ 2134576 w 6093502"/>
              <a:gd name="connsiteY23" fmla="*/ 1868604 h 4143155"/>
              <a:gd name="connsiteX24" fmla="*/ 2251663 w 6093502"/>
              <a:gd name="connsiteY24" fmla="*/ 1780374 h 4143155"/>
              <a:gd name="connsiteX25" fmla="*/ 2368749 w 6093502"/>
              <a:gd name="connsiteY25" fmla="*/ 1692940 h 4143155"/>
              <a:gd name="connsiteX26" fmla="*/ 2582334 w 6093502"/>
              <a:gd name="connsiteY26" fmla="*/ 1545972 h 4143155"/>
              <a:gd name="connsiteX27" fmla="*/ 2772833 w 6093502"/>
              <a:gd name="connsiteY27" fmla="*/ 1421795 h 4143155"/>
              <a:gd name="connsiteX28" fmla="*/ 2853266 w 6093502"/>
              <a:gd name="connsiteY28" fmla="*/ 1364034 h 4143155"/>
              <a:gd name="connsiteX29" fmla="*/ 2963334 w 6093502"/>
              <a:gd name="connsiteY29" fmla="*/ 1298127 h 4143155"/>
              <a:gd name="connsiteX30" fmla="*/ 0 w 6093502"/>
              <a:gd name="connsiteY30" fmla="*/ 1085073 h 4143155"/>
              <a:gd name="connsiteX31" fmla="*/ 0 w 6093502"/>
              <a:gd name="connsiteY31" fmla="*/ 1058721 h 4143155"/>
              <a:gd name="connsiteX32" fmla="*/ 0 w 6093502"/>
              <a:gd name="connsiteY32" fmla="*/ 952655 h 4143155"/>
              <a:gd name="connsiteX33" fmla="*/ 0 w 6093502"/>
              <a:gd name="connsiteY33" fmla="*/ 951862 h 4143155"/>
              <a:gd name="connsiteX34" fmla="*/ 0 w 6093502"/>
              <a:gd name="connsiteY34" fmla="*/ 833468 h 4143155"/>
              <a:gd name="connsiteX35" fmla="*/ 0 w 6093502"/>
              <a:gd name="connsiteY35" fmla="*/ 828840 h 4143155"/>
              <a:gd name="connsiteX36" fmla="*/ 0 w 6093502"/>
              <a:gd name="connsiteY36" fmla="*/ 726814 h 4143155"/>
              <a:gd name="connsiteX37" fmla="*/ 0 w 6093502"/>
              <a:gd name="connsiteY37" fmla="*/ 688517 h 4143155"/>
              <a:gd name="connsiteX38" fmla="*/ 0 w 6093502"/>
              <a:gd name="connsiteY38" fmla="*/ 631998 h 4143155"/>
              <a:gd name="connsiteX39" fmla="*/ 0 w 6093502"/>
              <a:gd name="connsiteY39" fmla="*/ 529754 h 4143155"/>
              <a:gd name="connsiteX40" fmla="*/ 0 w 6093502"/>
              <a:gd name="connsiteY40" fmla="*/ 475093 h 4143155"/>
              <a:gd name="connsiteX41" fmla="*/ 0 w 6093502"/>
              <a:gd name="connsiteY41" fmla="*/ 351413 h 4143155"/>
              <a:gd name="connsiteX42" fmla="*/ 0 w 6093502"/>
              <a:gd name="connsiteY42" fmla="*/ 311109 h 4143155"/>
              <a:gd name="connsiteX43" fmla="*/ 0 w 6093502"/>
              <a:gd name="connsiteY43" fmla="*/ 156641 h 4143155"/>
              <a:gd name="connsiteX44" fmla="*/ 832114 w 6093502"/>
              <a:gd name="connsiteY44" fmla="*/ 61160 h 4143155"/>
              <a:gd name="connsiteX45" fmla="*/ 1108528 w 6093502"/>
              <a:gd name="connsiteY45" fmla="*/ 38207 h 4143155"/>
              <a:gd name="connsiteX46" fmla="*/ 1165665 w 6093502"/>
              <a:gd name="connsiteY46" fmla="*/ 33908 h 4143155"/>
              <a:gd name="connsiteX47" fmla="*/ 2227385 w 6093502"/>
              <a:gd name="connsiteY47" fmla="*/ 0 h 4143155"/>
              <a:gd name="connsiteX0" fmla="*/ 2227385 w 6093502"/>
              <a:gd name="connsiteY0" fmla="*/ 0 h 4143155"/>
              <a:gd name="connsiteX1" fmla="*/ 2442246 w 6093502"/>
              <a:gd name="connsiteY1" fmla="*/ 2597 h 4143155"/>
              <a:gd name="connsiteX2" fmla="*/ 4770167 w 6093502"/>
              <a:gd name="connsiteY2" fmla="*/ 467173 h 4143155"/>
              <a:gd name="connsiteX3" fmla="*/ 5429000 w 6093502"/>
              <a:gd name="connsiteY3" fmla="*/ 443641 h 4143155"/>
              <a:gd name="connsiteX4" fmla="*/ 6048699 w 6093502"/>
              <a:gd name="connsiteY4" fmla="*/ 395062 h 4143155"/>
              <a:gd name="connsiteX5" fmla="*/ 6044400 w 6093502"/>
              <a:gd name="connsiteY5" fmla="*/ 1228503 h 4143155"/>
              <a:gd name="connsiteX6" fmla="*/ 6044400 w 6093502"/>
              <a:gd name="connsiteY6" fmla="*/ 1254629 h 4143155"/>
              <a:gd name="connsiteX7" fmla="*/ 6044400 w 6093502"/>
              <a:gd name="connsiteY7" fmla="*/ 1302554 h 4143155"/>
              <a:gd name="connsiteX8" fmla="*/ 6044400 w 6093502"/>
              <a:gd name="connsiteY8" fmla="*/ 1339878 h 4143155"/>
              <a:gd name="connsiteX9" fmla="*/ 6044400 w 6093502"/>
              <a:gd name="connsiteY9" fmla="*/ 1367926 h 4143155"/>
              <a:gd name="connsiteX10" fmla="*/ 6044400 w 6093502"/>
              <a:gd name="connsiteY10" fmla="*/ 1388023 h 4143155"/>
              <a:gd name="connsiteX11" fmla="*/ 6044400 w 6093502"/>
              <a:gd name="connsiteY11" fmla="*/ 1401495 h 4143155"/>
              <a:gd name="connsiteX12" fmla="*/ 6044400 w 6093502"/>
              <a:gd name="connsiteY12" fmla="*/ 1413863 h 4143155"/>
              <a:gd name="connsiteX13" fmla="*/ 6044400 w 6093502"/>
              <a:gd name="connsiteY13" fmla="*/ 1415630 h 4143155"/>
              <a:gd name="connsiteX14" fmla="*/ 6044400 w 6093502"/>
              <a:gd name="connsiteY14" fmla="*/ 4143153 h 4143155"/>
              <a:gd name="connsiteX15" fmla="*/ 5557568 w 6093502"/>
              <a:gd name="connsiteY15" fmla="*/ 4124099 h 4143155"/>
              <a:gd name="connsiteX16" fmla="*/ 0 w 6093502"/>
              <a:gd name="connsiteY16" fmla="*/ 4143153 h 4143155"/>
              <a:gd name="connsiteX17" fmla="*/ 0 w 6093502"/>
              <a:gd name="connsiteY17" fmla="*/ 3959500 h 4143155"/>
              <a:gd name="connsiteX18" fmla="*/ 0 w 6093502"/>
              <a:gd name="connsiteY18" fmla="*/ 1494981 h 4143155"/>
              <a:gd name="connsiteX19" fmla="*/ 0 w 6093502"/>
              <a:gd name="connsiteY19" fmla="*/ 1492359 h 4143155"/>
              <a:gd name="connsiteX20" fmla="*/ 0 w 6093502"/>
              <a:gd name="connsiteY20" fmla="*/ 1486131 h 4143155"/>
              <a:gd name="connsiteX21" fmla="*/ 1684243 w 6093502"/>
              <a:gd name="connsiteY21" fmla="*/ 2271145 h 4143155"/>
              <a:gd name="connsiteX22" fmla="*/ 1917876 w 6093502"/>
              <a:gd name="connsiteY22" fmla="*/ 2053203 h 4143155"/>
              <a:gd name="connsiteX23" fmla="*/ 2134576 w 6093502"/>
              <a:gd name="connsiteY23" fmla="*/ 1868604 h 4143155"/>
              <a:gd name="connsiteX24" fmla="*/ 2251663 w 6093502"/>
              <a:gd name="connsiteY24" fmla="*/ 1780374 h 4143155"/>
              <a:gd name="connsiteX25" fmla="*/ 2368749 w 6093502"/>
              <a:gd name="connsiteY25" fmla="*/ 1692940 h 4143155"/>
              <a:gd name="connsiteX26" fmla="*/ 2582334 w 6093502"/>
              <a:gd name="connsiteY26" fmla="*/ 1545972 h 4143155"/>
              <a:gd name="connsiteX27" fmla="*/ 2772833 w 6093502"/>
              <a:gd name="connsiteY27" fmla="*/ 1421795 h 4143155"/>
              <a:gd name="connsiteX28" fmla="*/ 2853266 w 6093502"/>
              <a:gd name="connsiteY28" fmla="*/ 1364034 h 4143155"/>
              <a:gd name="connsiteX29" fmla="*/ 2963334 w 6093502"/>
              <a:gd name="connsiteY29" fmla="*/ 1298127 h 4143155"/>
              <a:gd name="connsiteX30" fmla="*/ 0 w 6093502"/>
              <a:gd name="connsiteY30" fmla="*/ 1085073 h 4143155"/>
              <a:gd name="connsiteX31" fmla="*/ 0 w 6093502"/>
              <a:gd name="connsiteY31" fmla="*/ 1058721 h 4143155"/>
              <a:gd name="connsiteX32" fmla="*/ 0 w 6093502"/>
              <a:gd name="connsiteY32" fmla="*/ 952655 h 4143155"/>
              <a:gd name="connsiteX33" fmla="*/ 0 w 6093502"/>
              <a:gd name="connsiteY33" fmla="*/ 951862 h 4143155"/>
              <a:gd name="connsiteX34" fmla="*/ 0 w 6093502"/>
              <a:gd name="connsiteY34" fmla="*/ 833468 h 4143155"/>
              <a:gd name="connsiteX35" fmla="*/ 0 w 6093502"/>
              <a:gd name="connsiteY35" fmla="*/ 828840 h 4143155"/>
              <a:gd name="connsiteX36" fmla="*/ 0 w 6093502"/>
              <a:gd name="connsiteY36" fmla="*/ 726814 h 4143155"/>
              <a:gd name="connsiteX37" fmla="*/ 0 w 6093502"/>
              <a:gd name="connsiteY37" fmla="*/ 688517 h 4143155"/>
              <a:gd name="connsiteX38" fmla="*/ 0 w 6093502"/>
              <a:gd name="connsiteY38" fmla="*/ 631998 h 4143155"/>
              <a:gd name="connsiteX39" fmla="*/ 0 w 6093502"/>
              <a:gd name="connsiteY39" fmla="*/ 529754 h 4143155"/>
              <a:gd name="connsiteX40" fmla="*/ 0 w 6093502"/>
              <a:gd name="connsiteY40" fmla="*/ 475093 h 4143155"/>
              <a:gd name="connsiteX41" fmla="*/ 0 w 6093502"/>
              <a:gd name="connsiteY41" fmla="*/ 351413 h 4143155"/>
              <a:gd name="connsiteX42" fmla="*/ 0 w 6093502"/>
              <a:gd name="connsiteY42" fmla="*/ 311109 h 4143155"/>
              <a:gd name="connsiteX43" fmla="*/ 0 w 6093502"/>
              <a:gd name="connsiteY43" fmla="*/ 156641 h 4143155"/>
              <a:gd name="connsiteX44" fmla="*/ 832114 w 6093502"/>
              <a:gd name="connsiteY44" fmla="*/ 61160 h 4143155"/>
              <a:gd name="connsiteX45" fmla="*/ 1108528 w 6093502"/>
              <a:gd name="connsiteY45" fmla="*/ 38207 h 4143155"/>
              <a:gd name="connsiteX46" fmla="*/ 1165665 w 6093502"/>
              <a:gd name="connsiteY46" fmla="*/ 33908 h 4143155"/>
              <a:gd name="connsiteX47" fmla="*/ 2227385 w 6093502"/>
              <a:gd name="connsiteY47"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429000 w 6050425"/>
              <a:gd name="connsiteY3" fmla="*/ 443641 h 4143155"/>
              <a:gd name="connsiteX4" fmla="*/ 6048699 w 6050425"/>
              <a:gd name="connsiteY4" fmla="*/ 395062 h 4143155"/>
              <a:gd name="connsiteX5" fmla="*/ 6044400 w 6050425"/>
              <a:gd name="connsiteY5" fmla="*/ 1228503 h 4143155"/>
              <a:gd name="connsiteX6" fmla="*/ 6044400 w 6050425"/>
              <a:gd name="connsiteY6" fmla="*/ 1254629 h 4143155"/>
              <a:gd name="connsiteX7" fmla="*/ 6044400 w 6050425"/>
              <a:gd name="connsiteY7" fmla="*/ 1302554 h 4143155"/>
              <a:gd name="connsiteX8" fmla="*/ 6044400 w 6050425"/>
              <a:gd name="connsiteY8" fmla="*/ 1339878 h 4143155"/>
              <a:gd name="connsiteX9" fmla="*/ 6044400 w 6050425"/>
              <a:gd name="connsiteY9" fmla="*/ 1367926 h 4143155"/>
              <a:gd name="connsiteX10" fmla="*/ 6044400 w 6050425"/>
              <a:gd name="connsiteY10" fmla="*/ 1388023 h 4143155"/>
              <a:gd name="connsiteX11" fmla="*/ 6044400 w 6050425"/>
              <a:gd name="connsiteY11" fmla="*/ 1401495 h 4143155"/>
              <a:gd name="connsiteX12" fmla="*/ 6044400 w 6050425"/>
              <a:gd name="connsiteY12" fmla="*/ 1413863 h 4143155"/>
              <a:gd name="connsiteX13" fmla="*/ 6044400 w 6050425"/>
              <a:gd name="connsiteY13" fmla="*/ 1415630 h 4143155"/>
              <a:gd name="connsiteX14" fmla="*/ 6044400 w 6050425"/>
              <a:gd name="connsiteY14" fmla="*/ 4143153 h 4143155"/>
              <a:gd name="connsiteX15" fmla="*/ 5557568 w 6050425"/>
              <a:gd name="connsiteY15" fmla="*/ 4124099 h 4143155"/>
              <a:gd name="connsiteX16" fmla="*/ 0 w 6050425"/>
              <a:gd name="connsiteY16" fmla="*/ 4143153 h 4143155"/>
              <a:gd name="connsiteX17" fmla="*/ 0 w 6050425"/>
              <a:gd name="connsiteY17" fmla="*/ 3959500 h 4143155"/>
              <a:gd name="connsiteX18" fmla="*/ 0 w 6050425"/>
              <a:gd name="connsiteY18" fmla="*/ 1494981 h 4143155"/>
              <a:gd name="connsiteX19" fmla="*/ 0 w 6050425"/>
              <a:gd name="connsiteY19" fmla="*/ 1492359 h 4143155"/>
              <a:gd name="connsiteX20" fmla="*/ 0 w 6050425"/>
              <a:gd name="connsiteY20" fmla="*/ 1486131 h 4143155"/>
              <a:gd name="connsiteX21" fmla="*/ 1684243 w 6050425"/>
              <a:gd name="connsiteY21" fmla="*/ 2271145 h 4143155"/>
              <a:gd name="connsiteX22" fmla="*/ 1917876 w 6050425"/>
              <a:gd name="connsiteY22" fmla="*/ 2053203 h 4143155"/>
              <a:gd name="connsiteX23" fmla="*/ 2134576 w 6050425"/>
              <a:gd name="connsiteY23" fmla="*/ 1868604 h 4143155"/>
              <a:gd name="connsiteX24" fmla="*/ 2251663 w 6050425"/>
              <a:gd name="connsiteY24" fmla="*/ 1780374 h 4143155"/>
              <a:gd name="connsiteX25" fmla="*/ 2368749 w 6050425"/>
              <a:gd name="connsiteY25" fmla="*/ 1692940 h 4143155"/>
              <a:gd name="connsiteX26" fmla="*/ 2582334 w 6050425"/>
              <a:gd name="connsiteY26" fmla="*/ 1545972 h 4143155"/>
              <a:gd name="connsiteX27" fmla="*/ 2772833 w 6050425"/>
              <a:gd name="connsiteY27" fmla="*/ 1421795 h 4143155"/>
              <a:gd name="connsiteX28" fmla="*/ 2853266 w 6050425"/>
              <a:gd name="connsiteY28" fmla="*/ 1364034 h 4143155"/>
              <a:gd name="connsiteX29" fmla="*/ 2963334 w 6050425"/>
              <a:gd name="connsiteY29" fmla="*/ 1298127 h 4143155"/>
              <a:gd name="connsiteX30" fmla="*/ 0 w 6050425"/>
              <a:gd name="connsiteY30" fmla="*/ 1085073 h 4143155"/>
              <a:gd name="connsiteX31" fmla="*/ 0 w 6050425"/>
              <a:gd name="connsiteY31" fmla="*/ 1058721 h 4143155"/>
              <a:gd name="connsiteX32" fmla="*/ 0 w 6050425"/>
              <a:gd name="connsiteY32" fmla="*/ 952655 h 4143155"/>
              <a:gd name="connsiteX33" fmla="*/ 0 w 6050425"/>
              <a:gd name="connsiteY33" fmla="*/ 951862 h 4143155"/>
              <a:gd name="connsiteX34" fmla="*/ 0 w 6050425"/>
              <a:gd name="connsiteY34" fmla="*/ 833468 h 4143155"/>
              <a:gd name="connsiteX35" fmla="*/ 0 w 6050425"/>
              <a:gd name="connsiteY35" fmla="*/ 828840 h 4143155"/>
              <a:gd name="connsiteX36" fmla="*/ 0 w 6050425"/>
              <a:gd name="connsiteY36" fmla="*/ 726814 h 4143155"/>
              <a:gd name="connsiteX37" fmla="*/ 0 w 6050425"/>
              <a:gd name="connsiteY37" fmla="*/ 688517 h 4143155"/>
              <a:gd name="connsiteX38" fmla="*/ 0 w 6050425"/>
              <a:gd name="connsiteY38" fmla="*/ 631998 h 4143155"/>
              <a:gd name="connsiteX39" fmla="*/ 0 w 6050425"/>
              <a:gd name="connsiteY39" fmla="*/ 529754 h 4143155"/>
              <a:gd name="connsiteX40" fmla="*/ 0 w 6050425"/>
              <a:gd name="connsiteY40" fmla="*/ 475093 h 4143155"/>
              <a:gd name="connsiteX41" fmla="*/ 0 w 6050425"/>
              <a:gd name="connsiteY41" fmla="*/ 351413 h 4143155"/>
              <a:gd name="connsiteX42" fmla="*/ 0 w 6050425"/>
              <a:gd name="connsiteY42" fmla="*/ 311109 h 4143155"/>
              <a:gd name="connsiteX43" fmla="*/ 0 w 6050425"/>
              <a:gd name="connsiteY43" fmla="*/ 156641 h 4143155"/>
              <a:gd name="connsiteX44" fmla="*/ 832114 w 6050425"/>
              <a:gd name="connsiteY44" fmla="*/ 61160 h 4143155"/>
              <a:gd name="connsiteX45" fmla="*/ 1108528 w 6050425"/>
              <a:gd name="connsiteY45" fmla="*/ 38207 h 4143155"/>
              <a:gd name="connsiteX46" fmla="*/ 1165665 w 6050425"/>
              <a:gd name="connsiteY46" fmla="*/ 33908 h 4143155"/>
              <a:gd name="connsiteX47" fmla="*/ 2227385 w 6050425"/>
              <a:gd name="connsiteY47"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429000 w 6050425"/>
              <a:gd name="connsiteY3" fmla="*/ 443641 h 4143155"/>
              <a:gd name="connsiteX4" fmla="*/ 6048699 w 6050425"/>
              <a:gd name="connsiteY4" fmla="*/ 395062 h 4143155"/>
              <a:gd name="connsiteX5" fmla="*/ 6044400 w 6050425"/>
              <a:gd name="connsiteY5" fmla="*/ 1228503 h 4143155"/>
              <a:gd name="connsiteX6" fmla="*/ 6044400 w 6050425"/>
              <a:gd name="connsiteY6" fmla="*/ 1254629 h 4143155"/>
              <a:gd name="connsiteX7" fmla="*/ 6044400 w 6050425"/>
              <a:gd name="connsiteY7" fmla="*/ 1302554 h 4143155"/>
              <a:gd name="connsiteX8" fmla="*/ 6044400 w 6050425"/>
              <a:gd name="connsiteY8" fmla="*/ 1339878 h 4143155"/>
              <a:gd name="connsiteX9" fmla="*/ 6044400 w 6050425"/>
              <a:gd name="connsiteY9" fmla="*/ 1367926 h 4143155"/>
              <a:gd name="connsiteX10" fmla="*/ 6044400 w 6050425"/>
              <a:gd name="connsiteY10" fmla="*/ 1388023 h 4143155"/>
              <a:gd name="connsiteX11" fmla="*/ 6044400 w 6050425"/>
              <a:gd name="connsiteY11" fmla="*/ 1401495 h 4143155"/>
              <a:gd name="connsiteX12" fmla="*/ 6044400 w 6050425"/>
              <a:gd name="connsiteY12" fmla="*/ 1413863 h 4143155"/>
              <a:gd name="connsiteX13" fmla="*/ 6044400 w 6050425"/>
              <a:gd name="connsiteY13" fmla="*/ 1415630 h 4143155"/>
              <a:gd name="connsiteX14" fmla="*/ 6044400 w 6050425"/>
              <a:gd name="connsiteY14" fmla="*/ 4143153 h 4143155"/>
              <a:gd name="connsiteX15" fmla="*/ 5557568 w 6050425"/>
              <a:gd name="connsiteY15" fmla="*/ 4124099 h 4143155"/>
              <a:gd name="connsiteX16" fmla="*/ 0 w 6050425"/>
              <a:gd name="connsiteY16" fmla="*/ 4143153 h 4143155"/>
              <a:gd name="connsiteX17" fmla="*/ 0 w 6050425"/>
              <a:gd name="connsiteY17" fmla="*/ 3959500 h 4143155"/>
              <a:gd name="connsiteX18" fmla="*/ 0 w 6050425"/>
              <a:gd name="connsiteY18" fmla="*/ 1494981 h 4143155"/>
              <a:gd name="connsiteX19" fmla="*/ 0 w 6050425"/>
              <a:gd name="connsiteY19" fmla="*/ 1492359 h 4143155"/>
              <a:gd name="connsiteX20" fmla="*/ 0 w 6050425"/>
              <a:gd name="connsiteY20" fmla="*/ 1486131 h 4143155"/>
              <a:gd name="connsiteX21" fmla="*/ 1684243 w 6050425"/>
              <a:gd name="connsiteY21" fmla="*/ 2271145 h 4143155"/>
              <a:gd name="connsiteX22" fmla="*/ 1917876 w 6050425"/>
              <a:gd name="connsiteY22" fmla="*/ 2053203 h 4143155"/>
              <a:gd name="connsiteX23" fmla="*/ 2134576 w 6050425"/>
              <a:gd name="connsiteY23" fmla="*/ 1868604 h 4143155"/>
              <a:gd name="connsiteX24" fmla="*/ 2251663 w 6050425"/>
              <a:gd name="connsiteY24" fmla="*/ 1780374 h 4143155"/>
              <a:gd name="connsiteX25" fmla="*/ 2368749 w 6050425"/>
              <a:gd name="connsiteY25" fmla="*/ 1692940 h 4143155"/>
              <a:gd name="connsiteX26" fmla="*/ 2582334 w 6050425"/>
              <a:gd name="connsiteY26" fmla="*/ 1545972 h 4143155"/>
              <a:gd name="connsiteX27" fmla="*/ 2772833 w 6050425"/>
              <a:gd name="connsiteY27" fmla="*/ 1421795 h 4143155"/>
              <a:gd name="connsiteX28" fmla="*/ 2853266 w 6050425"/>
              <a:gd name="connsiteY28" fmla="*/ 1364034 h 4143155"/>
              <a:gd name="connsiteX29" fmla="*/ 2963334 w 6050425"/>
              <a:gd name="connsiteY29" fmla="*/ 1298127 h 4143155"/>
              <a:gd name="connsiteX30" fmla="*/ 0 w 6050425"/>
              <a:gd name="connsiteY30" fmla="*/ 1085073 h 4143155"/>
              <a:gd name="connsiteX31" fmla="*/ 0 w 6050425"/>
              <a:gd name="connsiteY31" fmla="*/ 1058721 h 4143155"/>
              <a:gd name="connsiteX32" fmla="*/ 0 w 6050425"/>
              <a:gd name="connsiteY32" fmla="*/ 952655 h 4143155"/>
              <a:gd name="connsiteX33" fmla="*/ 0 w 6050425"/>
              <a:gd name="connsiteY33" fmla="*/ 951862 h 4143155"/>
              <a:gd name="connsiteX34" fmla="*/ 0 w 6050425"/>
              <a:gd name="connsiteY34" fmla="*/ 833468 h 4143155"/>
              <a:gd name="connsiteX35" fmla="*/ 0 w 6050425"/>
              <a:gd name="connsiteY35" fmla="*/ 828840 h 4143155"/>
              <a:gd name="connsiteX36" fmla="*/ 0 w 6050425"/>
              <a:gd name="connsiteY36" fmla="*/ 726814 h 4143155"/>
              <a:gd name="connsiteX37" fmla="*/ 0 w 6050425"/>
              <a:gd name="connsiteY37" fmla="*/ 688517 h 4143155"/>
              <a:gd name="connsiteX38" fmla="*/ 0 w 6050425"/>
              <a:gd name="connsiteY38" fmla="*/ 631998 h 4143155"/>
              <a:gd name="connsiteX39" fmla="*/ 0 w 6050425"/>
              <a:gd name="connsiteY39" fmla="*/ 529754 h 4143155"/>
              <a:gd name="connsiteX40" fmla="*/ 0 w 6050425"/>
              <a:gd name="connsiteY40" fmla="*/ 475093 h 4143155"/>
              <a:gd name="connsiteX41" fmla="*/ 0 w 6050425"/>
              <a:gd name="connsiteY41" fmla="*/ 351413 h 4143155"/>
              <a:gd name="connsiteX42" fmla="*/ 0 w 6050425"/>
              <a:gd name="connsiteY42" fmla="*/ 311109 h 4143155"/>
              <a:gd name="connsiteX43" fmla="*/ 0 w 6050425"/>
              <a:gd name="connsiteY43" fmla="*/ 156641 h 4143155"/>
              <a:gd name="connsiteX44" fmla="*/ 832114 w 6050425"/>
              <a:gd name="connsiteY44" fmla="*/ 61160 h 4143155"/>
              <a:gd name="connsiteX45" fmla="*/ 1108528 w 6050425"/>
              <a:gd name="connsiteY45" fmla="*/ 38207 h 4143155"/>
              <a:gd name="connsiteX46" fmla="*/ 1165665 w 6050425"/>
              <a:gd name="connsiteY46" fmla="*/ 33908 h 4143155"/>
              <a:gd name="connsiteX47" fmla="*/ 2227385 w 6050425"/>
              <a:gd name="connsiteY47"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2442246 w 6050425"/>
              <a:gd name="connsiteY1" fmla="*/ 2597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063613 w 6050425"/>
              <a:gd name="connsiteY1" fmla="*/ 526436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063613 w 6050425"/>
              <a:gd name="connsiteY1" fmla="*/ 526436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063613 w 6050425"/>
              <a:gd name="connsiteY1" fmla="*/ 526436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639346 w 6050425"/>
              <a:gd name="connsiteY1" fmla="*/ 586114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639346 w 6050425"/>
              <a:gd name="connsiteY1" fmla="*/ 586114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639346 w 6050425"/>
              <a:gd name="connsiteY1" fmla="*/ 586114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4475285 w 6050425"/>
              <a:gd name="connsiteY0" fmla="*/ 586078 h 4109247"/>
              <a:gd name="connsiteX1" fmla="*/ 4639346 w 6050425"/>
              <a:gd name="connsiteY1" fmla="*/ 552206 h 4109247"/>
              <a:gd name="connsiteX2" fmla="*/ 4846367 w 6050425"/>
              <a:gd name="connsiteY2" fmla="*/ 506205 h 4109247"/>
              <a:gd name="connsiteX3" fmla="*/ 5121534 w 6050425"/>
              <a:gd name="connsiteY3" fmla="*/ 449842 h 4109247"/>
              <a:gd name="connsiteX4" fmla="*/ 5429000 w 6050425"/>
              <a:gd name="connsiteY4" fmla="*/ 409733 h 4109247"/>
              <a:gd name="connsiteX5" fmla="*/ 6048699 w 6050425"/>
              <a:gd name="connsiteY5" fmla="*/ 361154 h 4109247"/>
              <a:gd name="connsiteX6" fmla="*/ 6044400 w 6050425"/>
              <a:gd name="connsiteY6" fmla="*/ 1194595 h 4109247"/>
              <a:gd name="connsiteX7" fmla="*/ 6044400 w 6050425"/>
              <a:gd name="connsiteY7" fmla="*/ 1220721 h 4109247"/>
              <a:gd name="connsiteX8" fmla="*/ 6044400 w 6050425"/>
              <a:gd name="connsiteY8" fmla="*/ 1268646 h 4109247"/>
              <a:gd name="connsiteX9" fmla="*/ 6044400 w 6050425"/>
              <a:gd name="connsiteY9" fmla="*/ 1305970 h 4109247"/>
              <a:gd name="connsiteX10" fmla="*/ 6044400 w 6050425"/>
              <a:gd name="connsiteY10" fmla="*/ 1334018 h 4109247"/>
              <a:gd name="connsiteX11" fmla="*/ 6044400 w 6050425"/>
              <a:gd name="connsiteY11" fmla="*/ 1354115 h 4109247"/>
              <a:gd name="connsiteX12" fmla="*/ 6044400 w 6050425"/>
              <a:gd name="connsiteY12" fmla="*/ 1367587 h 4109247"/>
              <a:gd name="connsiteX13" fmla="*/ 6044400 w 6050425"/>
              <a:gd name="connsiteY13" fmla="*/ 1379955 h 4109247"/>
              <a:gd name="connsiteX14" fmla="*/ 6044400 w 6050425"/>
              <a:gd name="connsiteY14" fmla="*/ 1381722 h 4109247"/>
              <a:gd name="connsiteX15" fmla="*/ 6044400 w 6050425"/>
              <a:gd name="connsiteY15" fmla="*/ 4109245 h 4109247"/>
              <a:gd name="connsiteX16" fmla="*/ 5557568 w 6050425"/>
              <a:gd name="connsiteY16" fmla="*/ 4090191 h 4109247"/>
              <a:gd name="connsiteX17" fmla="*/ 0 w 6050425"/>
              <a:gd name="connsiteY17" fmla="*/ 4109245 h 4109247"/>
              <a:gd name="connsiteX18" fmla="*/ 0 w 6050425"/>
              <a:gd name="connsiteY18" fmla="*/ 3925592 h 4109247"/>
              <a:gd name="connsiteX19" fmla="*/ 0 w 6050425"/>
              <a:gd name="connsiteY19" fmla="*/ 1461073 h 4109247"/>
              <a:gd name="connsiteX20" fmla="*/ 0 w 6050425"/>
              <a:gd name="connsiteY20" fmla="*/ 1458451 h 4109247"/>
              <a:gd name="connsiteX21" fmla="*/ 0 w 6050425"/>
              <a:gd name="connsiteY21" fmla="*/ 1452223 h 4109247"/>
              <a:gd name="connsiteX22" fmla="*/ 1684243 w 6050425"/>
              <a:gd name="connsiteY22" fmla="*/ 2237237 h 4109247"/>
              <a:gd name="connsiteX23" fmla="*/ 1917876 w 6050425"/>
              <a:gd name="connsiteY23" fmla="*/ 2019295 h 4109247"/>
              <a:gd name="connsiteX24" fmla="*/ 2134576 w 6050425"/>
              <a:gd name="connsiteY24" fmla="*/ 1834696 h 4109247"/>
              <a:gd name="connsiteX25" fmla="*/ 2251663 w 6050425"/>
              <a:gd name="connsiteY25" fmla="*/ 1746466 h 4109247"/>
              <a:gd name="connsiteX26" fmla="*/ 2368749 w 6050425"/>
              <a:gd name="connsiteY26" fmla="*/ 1659032 h 4109247"/>
              <a:gd name="connsiteX27" fmla="*/ 2582334 w 6050425"/>
              <a:gd name="connsiteY27" fmla="*/ 1512064 h 4109247"/>
              <a:gd name="connsiteX28" fmla="*/ 2772833 w 6050425"/>
              <a:gd name="connsiteY28" fmla="*/ 1387887 h 4109247"/>
              <a:gd name="connsiteX29" fmla="*/ 2853266 w 6050425"/>
              <a:gd name="connsiteY29" fmla="*/ 1330126 h 4109247"/>
              <a:gd name="connsiteX30" fmla="*/ 2963334 w 6050425"/>
              <a:gd name="connsiteY30" fmla="*/ 1264219 h 4109247"/>
              <a:gd name="connsiteX31" fmla="*/ 0 w 6050425"/>
              <a:gd name="connsiteY31" fmla="*/ 1051165 h 4109247"/>
              <a:gd name="connsiteX32" fmla="*/ 0 w 6050425"/>
              <a:gd name="connsiteY32" fmla="*/ 1024813 h 4109247"/>
              <a:gd name="connsiteX33" fmla="*/ 0 w 6050425"/>
              <a:gd name="connsiteY33" fmla="*/ 918747 h 4109247"/>
              <a:gd name="connsiteX34" fmla="*/ 0 w 6050425"/>
              <a:gd name="connsiteY34" fmla="*/ 917954 h 4109247"/>
              <a:gd name="connsiteX35" fmla="*/ 0 w 6050425"/>
              <a:gd name="connsiteY35" fmla="*/ 799560 h 4109247"/>
              <a:gd name="connsiteX36" fmla="*/ 0 w 6050425"/>
              <a:gd name="connsiteY36" fmla="*/ 794932 h 4109247"/>
              <a:gd name="connsiteX37" fmla="*/ 0 w 6050425"/>
              <a:gd name="connsiteY37" fmla="*/ 692906 h 4109247"/>
              <a:gd name="connsiteX38" fmla="*/ 0 w 6050425"/>
              <a:gd name="connsiteY38" fmla="*/ 654609 h 4109247"/>
              <a:gd name="connsiteX39" fmla="*/ 0 w 6050425"/>
              <a:gd name="connsiteY39" fmla="*/ 598090 h 4109247"/>
              <a:gd name="connsiteX40" fmla="*/ 0 w 6050425"/>
              <a:gd name="connsiteY40" fmla="*/ 495846 h 4109247"/>
              <a:gd name="connsiteX41" fmla="*/ 0 w 6050425"/>
              <a:gd name="connsiteY41" fmla="*/ 441185 h 4109247"/>
              <a:gd name="connsiteX42" fmla="*/ 0 w 6050425"/>
              <a:gd name="connsiteY42" fmla="*/ 317505 h 4109247"/>
              <a:gd name="connsiteX43" fmla="*/ 0 w 6050425"/>
              <a:gd name="connsiteY43" fmla="*/ 277201 h 4109247"/>
              <a:gd name="connsiteX44" fmla="*/ 0 w 6050425"/>
              <a:gd name="connsiteY44" fmla="*/ 122733 h 4109247"/>
              <a:gd name="connsiteX45" fmla="*/ 832114 w 6050425"/>
              <a:gd name="connsiteY45" fmla="*/ 27252 h 4109247"/>
              <a:gd name="connsiteX46" fmla="*/ 1108528 w 6050425"/>
              <a:gd name="connsiteY46" fmla="*/ 4299 h 4109247"/>
              <a:gd name="connsiteX47" fmla="*/ 1165665 w 6050425"/>
              <a:gd name="connsiteY47" fmla="*/ 0 h 4109247"/>
              <a:gd name="connsiteX48" fmla="*/ 4475285 w 6050425"/>
              <a:gd name="connsiteY48" fmla="*/ 586078 h 4109247"/>
              <a:gd name="connsiteX0" fmla="*/ 4475285 w 6050425"/>
              <a:gd name="connsiteY0" fmla="*/ 581779 h 4104948"/>
              <a:gd name="connsiteX1" fmla="*/ 4639346 w 6050425"/>
              <a:gd name="connsiteY1" fmla="*/ 547907 h 4104948"/>
              <a:gd name="connsiteX2" fmla="*/ 4846367 w 6050425"/>
              <a:gd name="connsiteY2" fmla="*/ 501906 h 4104948"/>
              <a:gd name="connsiteX3" fmla="*/ 5121534 w 6050425"/>
              <a:gd name="connsiteY3" fmla="*/ 445543 h 4104948"/>
              <a:gd name="connsiteX4" fmla="*/ 5429000 w 6050425"/>
              <a:gd name="connsiteY4" fmla="*/ 405434 h 4104948"/>
              <a:gd name="connsiteX5" fmla="*/ 6048699 w 6050425"/>
              <a:gd name="connsiteY5" fmla="*/ 356855 h 4104948"/>
              <a:gd name="connsiteX6" fmla="*/ 6044400 w 6050425"/>
              <a:gd name="connsiteY6" fmla="*/ 1190296 h 4104948"/>
              <a:gd name="connsiteX7" fmla="*/ 6044400 w 6050425"/>
              <a:gd name="connsiteY7" fmla="*/ 1216422 h 4104948"/>
              <a:gd name="connsiteX8" fmla="*/ 6044400 w 6050425"/>
              <a:gd name="connsiteY8" fmla="*/ 1264347 h 4104948"/>
              <a:gd name="connsiteX9" fmla="*/ 6044400 w 6050425"/>
              <a:gd name="connsiteY9" fmla="*/ 1301671 h 4104948"/>
              <a:gd name="connsiteX10" fmla="*/ 6044400 w 6050425"/>
              <a:gd name="connsiteY10" fmla="*/ 1329719 h 4104948"/>
              <a:gd name="connsiteX11" fmla="*/ 6044400 w 6050425"/>
              <a:gd name="connsiteY11" fmla="*/ 1349816 h 4104948"/>
              <a:gd name="connsiteX12" fmla="*/ 6044400 w 6050425"/>
              <a:gd name="connsiteY12" fmla="*/ 1363288 h 4104948"/>
              <a:gd name="connsiteX13" fmla="*/ 6044400 w 6050425"/>
              <a:gd name="connsiteY13" fmla="*/ 1375656 h 4104948"/>
              <a:gd name="connsiteX14" fmla="*/ 6044400 w 6050425"/>
              <a:gd name="connsiteY14" fmla="*/ 1377423 h 4104948"/>
              <a:gd name="connsiteX15" fmla="*/ 6044400 w 6050425"/>
              <a:gd name="connsiteY15" fmla="*/ 4104946 h 4104948"/>
              <a:gd name="connsiteX16" fmla="*/ 5557568 w 6050425"/>
              <a:gd name="connsiteY16" fmla="*/ 4085892 h 4104948"/>
              <a:gd name="connsiteX17" fmla="*/ 0 w 6050425"/>
              <a:gd name="connsiteY17" fmla="*/ 4104946 h 4104948"/>
              <a:gd name="connsiteX18" fmla="*/ 0 w 6050425"/>
              <a:gd name="connsiteY18" fmla="*/ 3921293 h 4104948"/>
              <a:gd name="connsiteX19" fmla="*/ 0 w 6050425"/>
              <a:gd name="connsiteY19" fmla="*/ 1456774 h 4104948"/>
              <a:gd name="connsiteX20" fmla="*/ 0 w 6050425"/>
              <a:gd name="connsiteY20" fmla="*/ 1454152 h 4104948"/>
              <a:gd name="connsiteX21" fmla="*/ 0 w 6050425"/>
              <a:gd name="connsiteY21" fmla="*/ 1447924 h 4104948"/>
              <a:gd name="connsiteX22" fmla="*/ 1684243 w 6050425"/>
              <a:gd name="connsiteY22" fmla="*/ 2232938 h 4104948"/>
              <a:gd name="connsiteX23" fmla="*/ 1917876 w 6050425"/>
              <a:gd name="connsiteY23" fmla="*/ 2014996 h 4104948"/>
              <a:gd name="connsiteX24" fmla="*/ 2134576 w 6050425"/>
              <a:gd name="connsiteY24" fmla="*/ 1830397 h 4104948"/>
              <a:gd name="connsiteX25" fmla="*/ 2251663 w 6050425"/>
              <a:gd name="connsiteY25" fmla="*/ 1742167 h 4104948"/>
              <a:gd name="connsiteX26" fmla="*/ 2368749 w 6050425"/>
              <a:gd name="connsiteY26" fmla="*/ 1654733 h 4104948"/>
              <a:gd name="connsiteX27" fmla="*/ 2582334 w 6050425"/>
              <a:gd name="connsiteY27" fmla="*/ 1507765 h 4104948"/>
              <a:gd name="connsiteX28" fmla="*/ 2772833 w 6050425"/>
              <a:gd name="connsiteY28" fmla="*/ 1383588 h 4104948"/>
              <a:gd name="connsiteX29" fmla="*/ 2853266 w 6050425"/>
              <a:gd name="connsiteY29" fmla="*/ 1325827 h 4104948"/>
              <a:gd name="connsiteX30" fmla="*/ 2963334 w 6050425"/>
              <a:gd name="connsiteY30" fmla="*/ 1259920 h 4104948"/>
              <a:gd name="connsiteX31" fmla="*/ 0 w 6050425"/>
              <a:gd name="connsiteY31" fmla="*/ 1046866 h 4104948"/>
              <a:gd name="connsiteX32" fmla="*/ 0 w 6050425"/>
              <a:gd name="connsiteY32" fmla="*/ 1020514 h 4104948"/>
              <a:gd name="connsiteX33" fmla="*/ 0 w 6050425"/>
              <a:gd name="connsiteY33" fmla="*/ 914448 h 4104948"/>
              <a:gd name="connsiteX34" fmla="*/ 0 w 6050425"/>
              <a:gd name="connsiteY34" fmla="*/ 913655 h 4104948"/>
              <a:gd name="connsiteX35" fmla="*/ 0 w 6050425"/>
              <a:gd name="connsiteY35" fmla="*/ 795261 h 4104948"/>
              <a:gd name="connsiteX36" fmla="*/ 0 w 6050425"/>
              <a:gd name="connsiteY36" fmla="*/ 790633 h 4104948"/>
              <a:gd name="connsiteX37" fmla="*/ 0 w 6050425"/>
              <a:gd name="connsiteY37" fmla="*/ 688607 h 4104948"/>
              <a:gd name="connsiteX38" fmla="*/ 0 w 6050425"/>
              <a:gd name="connsiteY38" fmla="*/ 650310 h 4104948"/>
              <a:gd name="connsiteX39" fmla="*/ 0 w 6050425"/>
              <a:gd name="connsiteY39" fmla="*/ 593791 h 4104948"/>
              <a:gd name="connsiteX40" fmla="*/ 0 w 6050425"/>
              <a:gd name="connsiteY40" fmla="*/ 491547 h 4104948"/>
              <a:gd name="connsiteX41" fmla="*/ 0 w 6050425"/>
              <a:gd name="connsiteY41" fmla="*/ 436886 h 4104948"/>
              <a:gd name="connsiteX42" fmla="*/ 0 w 6050425"/>
              <a:gd name="connsiteY42" fmla="*/ 313206 h 4104948"/>
              <a:gd name="connsiteX43" fmla="*/ 0 w 6050425"/>
              <a:gd name="connsiteY43" fmla="*/ 272902 h 4104948"/>
              <a:gd name="connsiteX44" fmla="*/ 0 w 6050425"/>
              <a:gd name="connsiteY44" fmla="*/ 118434 h 4104948"/>
              <a:gd name="connsiteX45" fmla="*/ 832114 w 6050425"/>
              <a:gd name="connsiteY45" fmla="*/ 22953 h 4104948"/>
              <a:gd name="connsiteX46" fmla="*/ 1108528 w 6050425"/>
              <a:gd name="connsiteY46" fmla="*/ 0 h 4104948"/>
              <a:gd name="connsiteX47" fmla="*/ 4230599 w 6050425"/>
              <a:gd name="connsiteY47" fmla="*/ 652157 h 4104948"/>
              <a:gd name="connsiteX48" fmla="*/ 4475285 w 6050425"/>
              <a:gd name="connsiteY48" fmla="*/ 581779 h 4104948"/>
              <a:gd name="connsiteX0" fmla="*/ 4475285 w 6050425"/>
              <a:gd name="connsiteY0" fmla="*/ 558826 h 4081995"/>
              <a:gd name="connsiteX1" fmla="*/ 4639346 w 6050425"/>
              <a:gd name="connsiteY1" fmla="*/ 524954 h 4081995"/>
              <a:gd name="connsiteX2" fmla="*/ 4846367 w 6050425"/>
              <a:gd name="connsiteY2" fmla="*/ 478953 h 4081995"/>
              <a:gd name="connsiteX3" fmla="*/ 5121534 w 6050425"/>
              <a:gd name="connsiteY3" fmla="*/ 422590 h 4081995"/>
              <a:gd name="connsiteX4" fmla="*/ 5429000 w 6050425"/>
              <a:gd name="connsiteY4" fmla="*/ 382481 h 4081995"/>
              <a:gd name="connsiteX5" fmla="*/ 6048699 w 6050425"/>
              <a:gd name="connsiteY5" fmla="*/ 333902 h 4081995"/>
              <a:gd name="connsiteX6" fmla="*/ 6044400 w 6050425"/>
              <a:gd name="connsiteY6" fmla="*/ 1167343 h 4081995"/>
              <a:gd name="connsiteX7" fmla="*/ 6044400 w 6050425"/>
              <a:gd name="connsiteY7" fmla="*/ 1193469 h 4081995"/>
              <a:gd name="connsiteX8" fmla="*/ 6044400 w 6050425"/>
              <a:gd name="connsiteY8" fmla="*/ 1241394 h 4081995"/>
              <a:gd name="connsiteX9" fmla="*/ 6044400 w 6050425"/>
              <a:gd name="connsiteY9" fmla="*/ 1278718 h 4081995"/>
              <a:gd name="connsiteX10" fmla="*/ 6044400 w 6050425"/>
              <a:gd name="connsiteY10" fmla="*/ 1306766 h 4081995"/>
              <a:gd name="connsiteX11" fmla="*/ 6044400 w 6050425"/>
              <a:gd name="connsiteY11" fmla="*/ 1326863 h 4081995"/>
              <a:gd name="connsiteX12" fmla="*/ 6044400 w 6050425"/>
              <a:gd name="connsiteY12" fmla="*/ 1340335 h 4081995"/>
              <a:gd name="connsiteX13" fmla="*/ 6044400 w 6050425"/>
              <a:gd name="connsiteY13" fmla="*/ 1352703 h 4081995"/>
              <a:gd name="connsiteX14" fmla="*/ 6044400 w 6050425"/>
              <a:gd name="connsiteY14" fmla="*/ 1354470 h 4081995"/>
              <a:gd name="connsiteX15" fmla="*/ 6044400 w 6050425"/>
              <a:gd name="connsiteY15" fmla="*/ 4081993 h 4081995"/>
              <a:gd name="connsiteX16" fmla="*/ 5557568 w 6050425"/>
              <a:gd name="connsiteY16" fmla="*/ 4062939 h 4081995"/>
              <a:gd name="connsiteX17" fmla="*/ 0 w 6050425"/>
              <a:gd name="connsiteY17" fmla="*/ 4081993 h 4081995"/>
              <a:gd name="connsiteX18" fmla="*/ 0 w 6050425"/>
              <a:gd name="connsiteY18" fmla="*/ 3898340 h 4081995"/>
              <a:gd name="connsiteX19" fmla="*/ 0 w 6050425"/>
              <a:gd name="connsiteY19" fmla="*/ 1433821 h 4081995"/>
              <a:gd name="connsiteX20" fmla="*/ 0 w 6050425"/>
              <a:gd name="connsiteY20" fmla="*/ 1431199 h 4081995"/>
              <a:gd name="connsiteX21" fmla="*/ 0 w 6050425"/>
              <a:gd name="connsiteY21" fmla="*/ 1424971 h 4081995"/>
              <a:gd name="connsiteX22" fmla="*/ 1684243 w 6050425"/>
              <a:gd name="connsiteY22" fmla="*/ 2209985 h 4081995"/>
              <a:gd name="connsiteX23" fmla="*/ 1917876 w 6050425"/>
              <a:gd name="connsiteY23" fmla="*/ 1992043 h 4081995"/>
              <a:gd name="connsiteX24" fmla="*/ 2134576 w 6050425"/>
              <a:gd name="connsiteY24" fmla="*/ 1807444 h 4081995"/>
              <a:gd name="connsiteX25" fmla="*/ 2251663 w 6050425"/>
              <a:gd name="connsiteY25" fmla="*/ 1719214 h 4081995"/>
              <a:gd name="connsiteX26" fmla="*/ 2368749 w 6050425"/>
              <a:gd name="connsiteY26" fmla="*/ 1631780 h 4081995"/>
              <a:gd name="connsiteX27" fmla="*/ 2582334 w 6050425"/>
              <a:gd name="connsiteY27" fmla="*/ 1484812 h 4081995"/>
              <a:gd name="connsiteX28" fmla="*/ 2772833 w 6050425"/>
              <a:gd name="connsiteY28" fmla="*/ 1360635 h 4081995"/>
              <a:gd name="connsiteX29" fmla="*/ 2853266 w 6050425"/>
              <a:gd name="connsiteY29" fmla="*/ 1302874 h 4081995"/>
              <a:gd name="connsiteX30" fmla="*/ 2963334 w 6050425"/>
              <a:gd name="connsiteY30" fmla="*/ 1236967 h 4081995"/>
              <a:gd name="connsiteX31" fmla="*/ 0 w 6050425"/>
              <a:gd name="connsiteY31" fmla="*/ 1023913 h 4081995"/>
              <a:gd name="connsiteX32" fmla="*/ 0 w 6050425"/>
              <a:gd name="connsiteY32" fmla="*/ 997561 h 4081995"/>
              <a:gd name="connsiteX33" fmla="*/ 0 w 6050425"/>
              <a:gd name="connsiteY33" fmla="*/ 891495 h 4081995"/>
              <a:gd name="connsiteX34" fmla="*/ 0 w 6050425"/>
              <a:gd name="connsiteY34" fmla="*/ 890702 h 4081995"/>
              <a:gd name="connsiteX35" fmla="*/ 0 w 6050425"/>
              <a:gd name="connsiteY35" fmla="*/ 772308 h 4081995"/>
              <a:gd name="connsiteX36" fmla="*/ 0 w 6050425"/>
              <a:gd name="connsiteY36" fmla="*/ 767680 h 4081995"/>
              <a:gd name="connsiteX37" fmla="*/ 0 w 6050425"/>
              <a:gd name="connsiteY37" fmla="*/ 665654 h 4081995"/>
              <a:gd name="connsiteX38" fmla="*/ 0 w 6050425"/>
              <a:gd name="connsiteY38" fmla="*/ 627357 h 4081995"/>
              <a:gd name="connsiteX39" fmla="*/ 0 w 6050425"/>
              <a:gd name="connsiteY39" fmla="*/ 570838 h 4081995"/>
              <a:gd name="connsiteX40" fmla="*/ 0 w 6050425"/>
              <a:gd name="connsiteY40" fmla="*/ 468594 h 4081995"/>
              <a:gd name="connsiteX41" fmla="*/ 0 w 6050425"/>
              <a:gd name="connsiteY41" fmla="*/ 413933 h 4081995"/>
              <a:gd name="connsiteX42" fmla="*/ 0 w 6050425"/>
              <a:gd name="connsiteY42" fmla="*/ 290253 h 4081995"/>
              <a:gd name="connsiteX43" fmla="*/ 0 w 6050425"/>
              <a:gd name="connsiteY43" fmla="*/ 249949 h 4081995"/>
              <a:gd name="connsiteX44" fmla="*/ 0 w 6050425"/>
              <a:gd name="connsiteY44" fmla="*/ 95481 h 4081995"/>
              <a:gd name="connsiteX45" fmla="*/ 832114 w 6050425"/>
              <a:gd name="connsiteY45" fmla="*/ 0 h 4081995"/>
              <a:gd name="connsiteX46" fmla="*/ 4063395 w 6050425"/>
              <a:gd name="connsiteY46" fmla="*/ 683235 h 4081995"/>
              <a:gd name="connsiteX47" fmla="*/ 4230599 w 6050425"/>
              <a:gd name="connsiteY47" fmla="*/ 629204 h 4081995"/>
              <a:gd name="connsiteX48" fmla="*/ 4475285 w 6050425"/>
              <a:gd name="connsiteY48" fmla="*/ 558826 h 4081995"/>
              <a:gd name="connsiteX0" fmla="*/ 4763014 w 6338154"/>
              <a:gd name="connsiteY0" fmla="*/ 485258 h 4008427"/>
              <a:gd name="connsiteX1" fmla="*/ 4927075 w 6338154"/>
              <a:gd name="connsiteY1" fmla="*/ 451386 h 4008427"/>
              <a:gd name="connsiteX2" fmla="*/ 5134096 w 6338154"/>
              <a:gd name="connsiteY2" fmla="*/ 405385 h 4008427"/>
              <a:gd name="connsiteX3" fmla="*/ 5409263 w 6338154"/>
              <a:gd name="connsiteY3" fmla="*/ 349022 h 4008427"/>
              <a:gd name="connsiteX4" fmla="*/ 5716729 w 6338154"/>
              <a:gd name="connsiteY4" fmla="*/ 308913 h 4008427"/>
              <a:gd name="connsiteX5" fmla="*/ 6336428 w 6338154"/>
              <a:gd name="connsiteY5" fmla="*/ 260334 h 4008427"/>
              <a:gd name="connsiteX6" fmla="*/ 6332129 w 6338154"/>
              <a:gd name="connsiteY6" fmla="*/ 1093775 h 4008427"/>
              <a:gd name="connsiteX7" fmla="*/ 6332129 w 6338154"/>
              <a:gd name="connsiteY7" fmla="*/ 1119901 h 4008427"/>
              <a:gd name="connsiteX8" fmla="*/ 6332129 w 6338154"/>
              <a:gd name="connsiteY8" fmla="*/ 1167826 h 4008427"/>
              <a:gd name="connsiteX9" fmla="*/ 6332129 w 6338154"/>
              <a:gd name="connsiteY9" fmla="*/ 1205150 h 4008427"/>
              <a:gd name="connsiteX10" fmla="*/ 6332129 w 6338154"/>
              <a:gd name="connsiteY10" fmla="*/ 1233198 h 4008427"/>
              <a:gd name="connsiteX11" fmla="*/ 6332129 w 6338154"/>
              <a:gd name="connsiteY11" fmla="*/ 1253295 h 4008427"/>
              <a:gd name="connsiteX12" fmla="*/ 6332129 w 6338154"/>
              <a:gd name="connsiteY12" fmla="*/ 1266767 h 4008427"/>
              <a:gd name="connsiteX13" fmla="*/ 6332129 w 6338154"/>
              <a:gd name="connsiteY13" fmla="*/ 1279135 h 4008427"/>
              <a:gd name="connsiteX14" fmla="*/ 6332129 w 6338154"/>
              <a:gd name="connsiteY14" fmla="*/ 1280902 h 4008427"/>
              <a:gd name="connsiteX15" fmla="*/ 6332129 w 6338154"/>
              <a:gd name="connsiteY15" fmla="*/ 4008425 h 4008427"/>
              <a:gd name="connsiteX16" fmla="*/ 5845297 w 6338154"/>
              <a:gd name="connsiteY16" fmla="*/ 3989371 h 4008427"/>
              <a:gd name="connsiteX17" fmla="*/ 287729 w 6338154"/>
              <a:gd name="connsiteY17" fmla="*/ 4008425 h 4008427"/>
              <a:gd name="connsiteX18" fmla="*/ 287729 w 6338154"/>
              <a:gd name="connsiteY18" fmla="*/ 3824772 h 4008427"/>
              <a:gd name="connsiteX19" fmla="*/ 287729 w 6338154"/>
              <a:gd name="connsiteY19" fmla="*/ 1360253 h 4008427"/>
              <a:gd name="connsiteX20" fmla="*/ 287729 w 6338154"/>
              <a:gd name="connsiteY20" fmla="*/ 1357631 h 4008427"/>
              <a:gd name="connsiteX21" fmla="*/ 287729 w 6338154"/>
              <a:gd name="connsiteY21" fmla="*/ 1351403 h 4008427"/>
              <a:gd name="connsiteX22" fmla="*/ 1971972 w 6338154"/>
              <a:gd name="connsiteY22" fmla="*/ 2136417 h 4008427"/>
              <a:gd name="connsiteX23" fmla="*/ 2205605 w 6338154"/>
              <a:gd name="connsiteY23" fmla="*/ 1918475 h 4008427"/>
              <a:gd name="connsiteX24" fmla="*/ 2422305 w 6338154"/>
              <a:gd name="connsiteY24" fmla="*/ 1733876 h 4008427"/>
              <a:gd name="connsiteX25" fmla="*/ 2539392 w 6338154"/>
              <a:gd name="connsiteY25" fmla="*/ 1645646 h 4008427"/>
              <a:gd name="connsiteX26" fmla="*/ 2656478 w 6338154"/>
              <a:gd name="connsiteY26" fmla="*/ 1558212 h 4008427"/>
              <a:gd name="connsiteX27" fmla="*/ 2870063 w 6338154"/>
              <a:gd name="connsiteY27" fmla="*/ 1411244 h 4008427"/>
              <a:gd name="connsiteX28" fmla="*/ 3060562 w 6338154"/>
              <a:gd name="connsiteY28" fmla="*/ 1287067 h 4008427"/>
              <a:gd name="connsiteX29" fmla="*/ 3140995 w 6338154"/>
              <a:gd name="connsiteY29" fmla="*/ 1229306 h 4008427"/>
              <a:gd name="connsiteX30" fmla="*/ 3251063 w 6338154"/>
              <a:gd name="connsiteY30" fmla="*/ 1163399 h 4008427"/>
              <a:gd name="connsiteX31" fmla="*/ 287729 w 6338154"/>
              <a:gd name="connsiteY31" fmla="*/ 950345 h 4008427"/>
              <a:gd name="connsiteX32" fmla="*/ 287729 w 6338154"/>
              <a:gd name="connsiteY32" fmla="*/ 923993 h 4008427"/>
              <a:gd name="connsiteX33" fmla="*/ 287729 w 6338154"/>
              <a:gd name="connsiteY33" fmla="*/ 817927 h 4008427"/>
              <a:gd name="connsiteX34" fmla="*/ 287729 w 6338154"/>
              <a:gd name="connsiteY34" fmla="*/ 817134 h 4008427"/>
              <a:gd name="connsiteX35" fmla="*/ 287729 w 6338154"/>
              <a:gd name="connsiteY35" fmla="*/ 698740 h 4008427"/>
              <a:gd name="connsiteX36" fmla="*/ 287729 w 6338154"/>
              <a:gd name="connsiteY36" fmla="*/ 694112 h 4008427"/>
              <a:gd name="connsiteX37" fmla="*/ 287729 w 6338154"/>
              <a:gd name="connsiteY37" fmla="*/ 592086 h 4008427"/>
              <a:gd name="connsiteX38" fmla="*/ 287729 w 6338154"/>
              <a:gd name="connsiteY38" fmla="*/ 553789 h 4008427"/>
              <a:gd name="connsiteX39" fmla="*/ 287729 w 6338154"/>
              <a:gd name="connsiteY39" fmla="*/ 497270 h 4008427"/>
              <a:gd name="connsiteX40" fmla="*/ 287729 w 6338154"/>
              <a:gd name="connsiteY40" fmla="*/ 395026 h 4008427"/>
              <a:gd name="connsiteX41" fmla="*/ 287729 w 6338154"/>
              <a:gd name="connsiteY41" fmla="*/ 340365 h 4008427"/>
              <a:gd name="connsiteX42" fmla="*/ 287729 w 6338154"/>
              <a:gd name="connsiteY42" fmla="*/ 216685 h 4008427"/>
              <a:gd name="connsiteX43" fmla="*/ 287729 w 6338154"/>
              <a:gd name="connsiteY43" fmla="*/ 176381 h 4008427"/>
              <a:gd name="connsiteX44" fmla="*/ 287729 w 6338154"/>
              <a:gd name="connsiteY44" fmla="*/ 21913 h 4008427"/>
              <a:gd name="connsiteX45" fmla="*/ 4172076 w 6338154"/>
              <a:gd name="connsiteY45" fmla="*/ 688983 h 4008427"/>
              <a:gd name="connsiteX46" fmla="*/ 4351124 w 6338154"/>
              <a:gd name="connsiteY46" fmla="*/ 609667 h 4008427"/>
              <a:gd name="connsiteX47" fmla="*/ 4518328 w 6338154"/>
              <a:gd name="connsiteY47" fmla="*/ 555636 h 4008427"/>
              <a:gd name="connsiteX48" fmla="*/ 4763014 w 6338154"/>
              <a:gd name="connsiteY48" fmla="*/ 485258 h 4008427"/>
              <a:gd name="connsiteX0" fmla="*/ 4763014 w 6338154"/>
              <a:gd name="connsiteY0" fmla="*/ 485258 h 4008427"/>
              <a:gd name="connsiteX1" fmla="*/ 4927075 w 6338154"/>
              <a:gd name="connsiteY1" fmla="*/ 451386 h 4008427"/>
              <a:gd name="connsiteX2" fmla="*/ 5134096 w 6338154"/>
              <a:gd name="connsiteY2" fmla="*/ 405385 h 4008427"/>
              <a:gd name="connsiteX3" fmla="*/ 5409263 w 6338154"/>
              <a:gd name="connsiteY3" fmla="*/ 349022 h 4008427"/>
              <a:gd name="connsiteX4" fmla="*/ 5716729 w 6338154"/>
              <a:gd name="connsiteY4" fmla="*/ 308913 h 4008427"/>
              <a:gd name="connsiteX5" fmla="*/ 6336428 w 6338154"/>
              <a:gd name="connsiteY5" fmla="*/ 260334 h 4008427"/>
              <a:gd name="connsiteX6" fmla="*/ 6332129 w 6338154"/>
              <a:gd name="connsiteY6" fmla="*/ 1093775 h 4008427"/>
              <a:gd name="connsiteX7" fmla="*/ 6332129 w 6338154"/>
              <a:gd name="connsiteY7" fmla="*/ 1119901 h 4008427"/>
              <a:gd name="connsiteX8" fmla="*/ 6332129 w 6338154"/>
              <a:gd name="connsiteY8" fmla="*/ 1167826 h 4008427"/>
              <a:gd name="connsiteX9" fmla="*/ 6332129 w 6338154"/>
              <a:gd name="connsiteY9" fmla="*/ 1205150 h 4008427"/>
              <a:gd name="connsiteX10" fmla="*/ 6332129 w 6338154"/>
              <a:gd name="connsiteY10" fmla="*/ 1233198 h 4008427"/>
              <a:gd name="connsiteX11" fmla="*/ 6332129 w 6338154"/>
              <a:gd name="connsiteY11" fmla="*/ 1253295 h 4008427"/>
              <a:gd name="connsiteX12" fmla="*/ 6332129 w 6338154"/>
              <a:gd name="connsiteY12" fmla="*/ 1266767 h 4008427"/>
              <a:gd name="connsiteX13" fmla="*/ 6332129 w 6338154"/>
              <a:gd name="connsiteY13" fmla="*/ 1279135 h 4008427"/>
              <a:gd name="connsiteX14" fmla="*/ 6332129 w 6338154"/>
              <a:gd name="connsiteY14" fmla="*/ 1280902 h 4008427"/>
              <a:gd name="connsiteX15" fmla="*/ 6332129 w 6338154"/>
              <a:gd name="connsiteY15" fmla="*/ 4008425 h 4008427"/>
              <a:gd name="connsiteX16" fmla="*/ 5845297 w 6338154"/>
              <a:gd name="connsiteY16" fmla="*/ 3989371 h 4008427"/>
              <a:gd name="connsiteX17" fmla="*/ 287729 w 6338154"/>
              <a:gd name="connsiteY17" fmla="*/ 4008425 h 4008427"/>
              <a:gd name="connsiteX18" fmla="*/ 287729 w 6338154"/>
              <a:gd name="connsiteY18" fmla="*/ 3824772 h 4008427"/>
              <a:gd name="connsiteX19" fmla="*/ 287729 w 6338154"/>
              <a:gd name="connsiteY19" fmla="*/ 1360253 h 4008427"/>
              <a:gd name="connsiteX20" fmla="*/ 287729 w 6338154"/>
              <a:gd name="connsiteY20" fmla="*/ 1357631 h 4008427"/>
              <a:gd name="connsiteX21" fmla="*/ 287729 w 6338154"/>
              <a:gd name="connsiteY21" fmla="*/ 1351403 h 4008427"/>
              <a:gd name="connsiteX22" fmla="*/ 1971972 w 6338154"/>
              <a:gd name="connsiteY22" fmla="*/ 2136417 h 4008427"/>
              <a:gd name="connsiteX23" fmla="*/ 2205605 w 6338154"/>
              <a:gd name="connsiteY23" fmla="*/ 1918475 h 4008427"/>
              <a:gd name="connsiteX24" fmla="*/ 2422305 w 6338154"/>
              <a:gd name="connsiteY24" fmla="*/ 1733876 h 4008427"/>
              <a:gd name="connsiteX25" fmla="*/ 2539392 w 6338154"/>
              <a:gd name="connsiteY25" fmla="*/ 1645646 h 4008427"/>
              <a:gd name="connsiteX26" fmla="*/ 2656478 w 6338154"/>
              <a:gd name="connsiteY26" fmla="*/ 1558212 h 4008427"/>
              <a:gd name="connsiteX27" fmla="*/ 2870063 w 6338154"/>
              <a:gd name="connsiteY27" fmla="*/ 1411244 h 4008427"/>
              <a:gd name="connsiteX28" fmla="*/ 3060562 w 6338154"/>
              <a:gd name="connsiteY28" fmla="*/ 1287067 h 4008427"/>
              <a:gd name="connsiteX29" fmla="*/ 3140995 w 6338154"/>
              <a:gd name="connsiteY29" fmla="*/ 1229306 h 4008427"/>
              <a:gd name="connsiteX30" fmla="*/ 3251063 w 6338154"/>
              <a:gd name="connsiteY30" fmla="*/ 1163399 h 4008427"/>
              <a:gd name="connsiteX31" fmla="*/ 287729 w 6338154"/>
              <a:gd name="connsiteY31" fmla="*/ 950345 h 4008427"/>
              <a:gd name="connsiteX32" fmla="*/ 287729 w 6338154"/>
              <a:gd name="connsiteY32" fmla="*/ 923993 h 4008427"/>
              <a:gd name="connsiteX33" fmla="*/ 287729 w 6338154"/>
              <a:gd name="connsiteY33" fmla="*/ 817927 h 4008427"/>
              <a:gd name="connsiteX34" fmla="*/ 287729 w 6338154"/>
              <a:gd name="connsiteY34" fmla="*/ 817134 h 4008427"/>
              <a:gd name="connsiteX35" fmla="*/ 287729 w 6338154"/>
              <a:gd name="connsiteY35" fmla="*/ 698740 h 4008427"/>
              <a:gd name="connsiteX36" fmla="*/ 287729 w 6338154"/>
              <a:gd name="connsiteY36" fmla="*/ 694112 h 4008427"/>
              <a:gd name="connsiteX37" fmla="*/ 287729 w 6338154"/>
              <a:gd name="connsiteY37" fmla="*/ 592086 h 4008427"/>
              <a:gd name="connsiteX38" fmla="*/ 287729 w 6338154"/>
              <a:gd name="connsiteY38" fmla="*/ 553789 h 4008427"/>
              <a:gd name="connsiteX39" fmla="*/ 287729 w 6338154"/>
              <a:gd name="connsiteY39" fmla="*/ 497270 h 4008427"/>
              <a:gd name="connsiteX40" fmla="*/ 287729 w 6338154"/>
              <a:gd name="connsiteY40" fmla="*/ 395026 h 4008427"/>
              <a:gd name="connsiteX41" fmla="*/ 287729 w 6338154"/>
              <a:gd name="connsiteY41" fmla="*/ 340365 h 4008427"/>
              <a:gd name="connsiteX42" fmla="*/ 287729 w 6338154"/>
              <a:gd name="connsiteY42" fmla="*/ 216685 h 4008427"/>
              <a:gd name="connsiteX43" fmla="*/ 287729 w 6338154"/>
              <a:gd name="connsiteY43" fmla="*/ 176381 h 4008427"/>
              <a:gd name="connsiteX44" fmla="*/ 287729 w 6338154"/>
              <a:gd name="connsiteY44" fmla="*/ 21913 h 4008427"/>
              <a:gd name="connsiteX45" fmla="*/ 4172076 w 6338154"/>
              <a:gd name="connsiteY45" fmla="*/ 688983 h 4008427"/>
              <a:gd name="connsiteX46" fmla="*/ 4351124 w 6338154"/>
              <a:gd name="connsiteY46" fmla="*/ 609667 h 4008427"/>
              <a:gd name="connsiteX47" fmla="*/ 4518328 w 6338154"/>
              <a:gd name="connsiteY47" fmla="*/ 555636 h 4008427"/>
              <a:gd name="connsiteX48" fmla="*/ 4763014 w 6338154"/>
              <a:gd name="connsiteY48" fmla="*/ 485258 h 4008427"/>
              <a:gd name="connsiteX0" fmla="*/ 4475285 w 6050425"/>
              <a:gd name="connsiteY0" fmla="*/ 463345 h 3986514"/>
              <a:gd name="connsiteX1" fmla="*/ 4639346 w 6050425"/>
              <a:gd name="connsiteY1" fmla="*/ 429473 h 3986514"/>
              <a:gd name="connsiteX2" fmla="*/ 4846367 w 6050425"/>
              <a:gd name="connsiteY2" fmla="*/ 383472 h 3986514"/>
              <a:gd name="connsiteX3" fmla="*/ 5121534 w 6050425"/>
              <a:gd name="connsiteY3" fmla="*/ 327109 h 3986514"/>
              <a:gd name="connsiteX4" fmla="*/ 5429000 w 6050425"/>
              <a:gd name="connsiteY4" fmla="*/ 287000 h 3986514"/>
              <a:gd name="connsiteX5" fmla="*/ 6048699 w 6050425"/>
              <a:gd name="connsiteY5" fmla="*/ 238421 h 3986514"/>
              <a:gd name="connsiteX6" fmla="*/ 6044400 w 6050425"/>
              <a:gd name="connsiteY6" fmla="*/ 1071862 h 3986514"/>
              <a:gd name="connsiteX7" fmla="*/ 6044400 w 6050425"/>
              <a:gd name="connsiteY7" fmla="*/ 1097988 h 3986514"/>
              <a:gd name="connsiteX8" fmla="*/ 6044400 w 6050425"/>
              <a:gd name="connsiteY8" fmla="*/ 1145913 h 3986514"/>
              <a:gd name="connsiteX9" fmla="*/ 6044400 w 6050425"/>
              <a:gd name="connsiteY9" fmla="*/ 1183237 h 3986514"/>
              <a:gd name="connsiteX10" fmla="*/ 6044400 w 6050425"/>
              <a:gd name="connsiteY10" fmla="*/ 1211285 h 3986514"/>
              <a:gd name="connsiteX11" fmla="*/ 6044400 w 6050425"/>
              <a:gd name="connsiteY11" fmla="*/ 1231382 h 3986514"/>
              <a:gd name="connsiteX12" fmla="*/ 6044400 w 6050425"/>
              <a:gd name="connsiteY12" fmla="*/ 1244854 h 3986514"/>
              <a:gd name="connsiteX13" fmla="*/ 6044400 w 6050425"/>
              <a:gd name="connsiteY13" fmla="*/ 1257222 h 3986514"/>
              <a:gd name="connsiteX14" fmla="*/ 6044400 w 6050425"/>
              <a:gd name="connsiteY14" fmla="*/ 1258989 h 3986514"/>
              <a:gd name="connsiteX15" fmla="*/ 6044400 w 6050425"/>
              <a:gd name="connsiteY15" fmla="*/ 3986512 h 3986514"/>
              <a:gd name="connsiteX16" fmla="*/ 5557568 w 6050425"/>
              <a:gd name="connsiteY16" fmla="*/ 3967458 h 3986514"/>
              <a:gd name="connsiteX17" fmla="*/ 0 w 6050425"/>
              <a:gd name="connsiteY17" fmla="*/ 3986512 h 3986514"/>
              <a:gd name="connsiteX18" fmla="*/ 0 w 6050425"/>
              <a:gd name="connsiteY18" fmla="*/ 3802859 h 3986514"/>
              <a:gd name="connsiteX19" fmla="*/ 0 w 6050425"/>
              <a:gd name="connsiteY19" fmla="*/ 1338340 h 3986514"/>
              <a:gd name="connsiteX20" fmla="*/ 0 w 6050425"/>
              <a:gd name="connsiteY20" fmla="*/ 1335718 h 3986514"/>
              <a:gd name="connsiteX21" fmla="*/ 0 w 6050425"/>
              <a:gd name="connsiteY21" fmla="*/ 1329490 h 3986514"/>
              <a:gd name="connsiteX22" fmla="*/ 1684243 w 6050425"/>
              <a:gd name="connsiteY22" fmla="*/ 2114504 h 3986514"/>
              <a:gd name="connsiteX23" fmla="*/ 1917876 w 6050425"/>
              <a:gd name="connsiteY23" fmla="*/ 1896562 h 3986514"/>
              <a:gd name="connsiteX24" fmla="*/ 2134576 w 6050425"/>
              <a:gd name="connsiteY24" fmla="*/ 1711963 h 3986514"/>
              <a:gd name="connsiteX25" fmla="*/ 2251663 w 6050425"/>
              <a:gd name="connsiteY25" fmla="*/ 1623733 h 3986514"/>
              <a:gd name="connsiteX26" fmla="*/ 2368749 w 6050425"/>
              <a:gd name="connsiteY26" fmla="*/ 1536299 h 3986514"/>
              <a:gd name="connsiteX27" fmla="*/ 2582334 w 6050425"/>
              <a:gd name="connsiteY27" fmla="*/ 1389331 h 3986514"/>
              <a:gd name="connsiteX28" fmla="*/ 2772833 w 6050425"/>
              <a:gd name="connsiteY28" fmla="*/ 1265154 h 3986514"/>
              <a:gd name="connsiteX29" fmla="*/ 2853266 w 6050425"/>
              <a:gd name="connsiteY29" fmla="*/ 1207393 h 3986514"/>
              <a:gd name="connsiteX30" fmla="*/ 2963334 w 6050425"/>
              <a:gd name="connsiteY30" fmla="*/ 1141486 h 3986514"/>
              <a:gd name="connsiteX31" fmla="*/ 0 w 6050425"/>
              <a:gd name="connsiteY31" fmla="*/ 928432 h 3986514"/>
              <a:gd name="connsiteX32" fmla="*/ 0 w 6050425"/>
              <a:gd name="connsiteY32" fmla="*/ 902080 h 3986514"/>
              <a:gd name="connsiteX33" fmla="*/ 0 w 6050425"/>
              <a:gd name="connsiteY33" fmla="*/ 796014 h 3986514"/>
              <a:gd name="connsiteX34" fmla="*/ 0 w 6050425"/>
              <a:gd name="connsiteY34" fmla="*/ 795221 h 3986514"/>
              <a:gd name="connsiteX35" fmla="*/ 0 w 6050425"/>
              <a:gd name="connsiteY35" fmla="*/ 676827 h 3986514"/>
              <a:gd name="connsiteX36" fmla="*/ 0 w 6050425"/>
              <a:gd name="connsiteY36" fmla="*/ 672199 h 3986514"/>
              <a:gd name="connsiteX37" fmla="*/ 0 w 6050425"/>
              <a:gd name="connsiteY37" fmla="*/ 570173 h 3986514"/>
              <a:gd name="connsiteX38" fmla="*/ 0 w 6050425"/>
              <a:gd name="connsiteY38" fmla="*/ 531876 h 3986514"/>
              <a:gd name="connsiteX39" fmla="*/ 0 w 6050425"/>
              <a:gd name="connsiteY39" fmla="*/ 475357 h 3986514"/>
              <a:gd name="connsiteX40" fmla="*/ 0 w 6050425"/>
              <a:gd name="connsiteY40" fmla="*/ 373113 h 3986514"/>
              <a:gd name="connsiteX41" fmla="*/ 0 w 6050425"/>
              <a:gd name="connsiteY41" fmla="*/ 318452 h 3986514"/>
              <a:gd name="connsiteX42" fmla="*/ 0 w 6050425"/>
              <a:gd name="connsiteY42" fmla="*/ 194772 h 3986514"/>
              <a:gd name="connsiteX43" fmla="*/ 0 w 6050425"/>
              <a:gd name="connsiteY43" fmla="*/ 154468 h 3986514"/>
              <a:gd name="connsiteX44" fmla="*/ 0 w 6050425"/>
              <a:gd name="connsiteY44" fmla="*/ 0 h 3986514"/>
              <a:gd name="connsiteX45" fmla="*/ 3884347 w 6050425"/>
              <a:gd name="connsiteY45" fmla="*/ 667070 h 3986514"/>
              <a:gd name="connsiteX46" fmla="*/ 4063395 w 6050425"/>
              <a:gd name="connsiteY46" fmla="*/ 587754 h 3986514"/>
              <a:gd name="connsiteX47" fmla="*/ 4230599 w 6050425"/>
              <a:gd name="connsiteY47" fmla="*/ 533723 h 3986514"/>
              <a:gd name="connsiteX48" fmla="*/ 4475285 w 6050425"/>
              <a:gd name="connsiteY48" fmla="*/ 463345 h 3986514"/>
              <a:gd name="connsiteX0" fmla="*/ 4475285 w 6050425"/>
              <a:gd name="connsiteY0" fmla="*/ 308877 h 3832046"/>
              <a:gd name="connsiteX1" fmla="*/ 4639346 w 6050425"/>
              <a:gd name="connsiteY1" fmla="*/ 275005 h 3832046"/>
              <a:gd name="connsiteX2" fmla="*/ 4846367 w 6050425"/>
              <a:gd name="connsiteY2" fmla="*/ 229004 h 3832046"/>
              <a:gd name="connsiteX3" fmla="*/ 5121534 w 6050425"/>
              <a:gd name="connsiteY3" fmla="*/ 172641 h 3832046"/>
              <a:gd name="connsiteX4" fmla="*/ 5429000 w 6050425"/>
              <a:gd name="connsiteY4" fmla="*/ 132532 h 3832046"/>
              <a:gd name="connsiteX5" fmla="*/ 6048699 w 6050425"/>
              <a:gd name="connsiteY5" fmla="*/ 83953 h 3832046"/>
              <a:gd name="connsiteX6" fmla="*/ 6044400 w 6050425"/>
              <a:gd name="connsiteY6" fmla="*/ 917394 h 3832046"/>
              <a:gd name="connsiteX7" fmla="*/ 6044400 w 6050425"/>
              <a:gd name="connsiteY7" fmla="*/ 943520 h 3832046"/>
              <a:gd name="connsiteX8" fmla="*/ 6044400 w 6050425"/>
              <a:gd name="connsiteY8" fmla="*/ 991445 h 3832046"/>
              <a:gd name="connsiteX9" fmla="*/ 6044400 w 6050425"/>
              <a:gd name="connsiteY9" fmla="*/ 1028769 h 3832046"/>
              <a:gd name="connsiteX10" fmla="*/ 6044400 w 6050425"/>
              <a:gd name="connsiteY10" fmla="*/ 1056817 h 3832046"/>
              <a:gd name="connsiteX11" fmla="*/ 6044400 w 6050425"/>
              <a:gd name="connsiteY11" fmla="*/ 1076914 h 3832046"/>
              <a:gd name="connsiteX12" fmla="*/ 6044400 w 6050425"/>
              <a:gd name="connsiteY12" fmla="*/ 1090386 h 3832046"/>
              <a:gd name="connsiteX13" fmla="*/ 6044400 w 6050425"/>
              <a:gd name="connsiteY13" fmla="*/ 1102754 h 3832046"/>
              <a:gd name="connsiteX14" fmla="*/ 6044400 w 6050425"/>
              <a:gd name="connsiteY14" fmla="*/ 1104521 h 3832046"/>
              <a:gd name="connsiteX15" fmla="*/ 6044400 w 6050425"/>
              <a:gd name="connsiteY15" fmla="*/ 3832044 h 3832046"/>
              <a:gd name="connsiteX16" fmla="*/ 5557568 w 6050425"/>
              <a:gd name="connsiteY16" fmla="*/ 3812990 h 3832046"/>
              <a:gd name="connsiteX17" fmla="*/ 0 w 6050425"/>
              <a:gd name="connsiteY17" fmla="*/ 3832044 h 3832046"/>
              <a:gd name="connsiteX18" fmla="*/ 0 w 6050425"/>
              <a:gd name="connsiteY18" fmla="*/ 3648391 h 3832046"/>
              <a:gd name="connsiteX19" fmla="*/ 0 w 6050425"/>
              <a:gd name="connsiteY19" fmla="*/ 1183872 h 3832046"/>
              <a:gd name="connsiteX20" fmla="*/ 0 w 6050425"/>
              <a:gd name="connsiteY20" fmla="*/ 1181250 h 3832046"/>
              <a:gd name="connsiteX21" fmla="*/ 0 w 6050425"/>
              <a:gd name="connsiteY21" fmla="*/ 1175022 h 3832046"/>
              <a:gd name="connsiteX22" fmla="*/ 1684243 w 6050425"/>
              <a:gd name="connsiteY22" fmla="*/ 1960036 h 3832046"/>
              <a:gd name="connsiteX23" fmla="*/ 1917876 w 6050425"/>
              <a:gd name="connsiteY23" fmla="*/ 1742094 h 3832046"/>
              <a:gd name="connsiteX24" fmla="*/ 2134576 w 6050425"/>
              <a:gd name="connsiteY24" fmla="*/ 1557495 h 3832046"/>
              <a:gd name="connsiteX25" fmla="*/ 2251663 w 6050425"/>
              <a:gd name="connsiteY25" fmla="*/ 1469265 h 3832046"/>
              <a:gd name="connsiteX26" fmla="*/ 2368749 w 6050425"/>
              <a:gd name="connsiteY26" fmla="*/ 1381831 h 3832046"/>
              <a:gd name="connsiteX27" fmla="*/ 2582334 w 6050425"/>
              <a:gd name="connsiteY27" fmla="*/ 1234863 h 3832046"/>
              <a:gd name="connsiteX28" fmla="*/ 2772833 w 6050425"/>
              <a:gd name="connsiteY28" fmla="*/ 1110686 h 3832046"/>
              <a:gd name="connsiteX29" fmla="*/ 2853266 w 6050425"/>
              <a:gd name="connsiteY29" fmla="*/ 1052925 h 3832046"/>
              <a:gd name="connsiteX30" fmla="*/ 2963334 w 6050425"/>
              <a:gd name="connsiteY30" fmla="*/ 987018 h 3832046"/>
              <a:gd name="connsiteX31" fmla="*/ 0 w 6050425"/>
              <a:gd name="connsiteY31" fmla="*/ 773964 h 3832046"/>
              <a:gd name="connsiteX32" fmla="*/ 0 w 6050425"/>
              <a:gd name="connsiteY32" fmla="*/ 747612 h 3832046"/>
              <a:gd name="connsiteX33" fmla="*/ 0 w 6050425"/>
              <a:gd name="connsiteY33" fmla="*/ 641546 h 3832046"/>
              <a:gd name="connsiteX34" fmla="*/ 0 w 6050425"/>
              <a:gd name="connsiteY34" fmla="*/ 640753 h 3832046"/>
              <a:gd name="connsiteX35" fmla="*/ 0 w 6050425"/>
              <a:gd name="connsiteY35" fmla="*/ 522359 h 3832046"/>
              <a:gd name="connsiteX36" fmla="*/ 0 w 6050425"/>
              <a:gd name="connsiteY36" fmla="*/ 517731 h 3832046"/>
              <a:gd name="connsiteX37" fmla="*/ 0 w 6050425"/>
              <a:gd name="connsiteY37" fmla="*/ 415705 h 3832046"/>
              <a:gd name="connsiteX38" fmla="*/ 0 w 6050425"/>
              <a:gd name="connsiteY38" fmla="*/ 377408 h 3832046"/>
              <a:gd name="connsiteX39" fmla="*/ 0 w 6050425"/>
              <a:gd name="connsiteY39" fmla="*/ 320889 h 3832046"/>
              <a:gd name="connsiteX40" fmla="*/ 0 w 6050425"/>
              <a:gd name="connsiteY40" fmla="*/ 218645 h 3832046"/>
              <a:gd name="connsiteX41" fmla="*/ 0 w 6050425"/>
              <a:gd name="connsiteY41" fmla="*/ 163984 h 3832046"/>
              <a:gd name="connsiteX42" fmla="*/ 0 w 6050425"/>
              <a:gd name="connsiteY42" fmla="*/ 40304 h 3832046"/>
              <a:gd name="connsiteX43" fmla="*/ 0 w 6050425"/>
              <a:gd name="connsiteY43" fmla="*/ 0 h 3832046"/>
              <a:gd name="connsiteX44" fmla="*/ 3712633 w 6050425"/>
              <a:gd name="connsiteY44" fmla="*/ 584875 h 3832046"/>
              <a:gd name="connsiteX45" fmla="*/ 3884347 w 6050425"/>
              <a:gd name="connsiteY45" fmla="*/ 512602 h 3832046"/>
              <a:gd name="connsiteX46" fmla="*/ 4063395 w 6050425"/>
              <a:gd name="connsiteY46" fmla="*/ 433286 h 3832046"/>
              <a:gd name="connsiteX47" fmla="*/ 4230599 w 6050425"/>
              <a:gd name="connsiteY47" fmla="*/ 379255 h 3832046"/>
              <a:gd name="connsiteX48" fmla="*/ 4475285 w 6050425"/>
              <a:gd name="connsiteY48" fmla="*/ 308877 h 3832046"/>
              <a:gd name="connsiteX0" fmla="*/ 4475285 w 6050425"/>
              <a:gd name="connsiteY0" fmla="*/ 268573 h 3791742"/>
              <a:gd name="connsiteX1" fmla="*/ 4639346 w 6050425"/>
              <a:gd name="connsiteY1" fmla="*/ 234701 h 3791742"/>
              <a:gd name="connsiteX2" fmla="*/ 4846367 w 6050425"/>
              <a:gd name="connsiteY2" fmla="*/ 188700 h 3791742"/>
              <a:gd name="connsiteX3" fmla="*/ 5121534 w 6050425"/>
              <a:gd name="connsiteY3" fmla="*/ 132337 h 3791742"/>
              <a:gd name="connsiteX4" fmla="*/ 5429000 w 6050425"/>
              <a:gd name="connsiteY4" fmla="*/ 92228 h 3791742"/>
              <a:gd name="connsiteX5" fmla="*/ 6048699 w 6050425"/>
              <a:gd name="connsiteY5" fmla="*/ 43649 h 3791742"/>
              <a:gd name="connsiteX6" fmla="*/ 6044400 w 6050425"/>
              <a:gd name="connsiteY6" fmla="*/ 877090 h 3791742"/>
              <a:gd name="connsiteX7" fmla="*/ 6044400 w 6050425"/>
              <a:gd name="connsiteY7" fmla="*/ 903216 h 3791742"/>
              <a:gd name="connsiteX8" fmla="*/ 6044400 w 6050425"/>
              <a:gd name="connsiteY8" fmla="*/ 951141 h 3791742"/>
              <a:gd name="connsiteX9" fmla="*/ 6044400 w 6050425"/>
              <a:gd name="connsiteY9" fmla="*/ 988465 h 3791742"/>
              <a:gd name="connsiteX10" fmla="*/ 6044400 w 6050425"/>
              <a:gd name="connsiteY10" fmla="*/ 1016513 h 3791742"/>
              <a:gd name="connsiteX11" fmla="*/ 6044400 w 6050425"/>
              <a:gd name="connsiteY11" fmla="*/ 1036610 h 3791742"/>
              <a:gd name="connsiteX12" fmla="*/ 6044400 w 6050425"/>
              <a:gd name="connsiteY12" fmla="*/ 1050082 h 3791742"/>
              <a:gd name="connsiteX13" fmla="*/ 6044400 w 6050425"/>
              <a:gd name="connsiteY13" fmla="*/ 1062450 h 3791742"/>
              <a:gd name="connsiteX14" fmla="*/ 6044400 w 6050425"/>
              <a:gd name="connsiteY14" fmla="*/ 1064217 h 3791742"/>
              <a:gd name="connsiteX15" fmla="*/ 6044400 w 6050425"/>
              <a:gd name="connsiteY15" fmla="*/ 3791740 h 3791742"/>
              <a:gd name="connsiteX16" fmla="*/ 5557568 w 6050425"/>
              <a:gd name="connsiteY16" fmla="*/ 3772686 h 3791742"/>
              <a:gd name="connsiteX17" fmla="*/ 0 w 6050425"/>
              <a:gd name="connsiteY17" fmla="*/ 3791740 h 3791742"/>
              <a:gd name="connsiteX18" fmla="*/ 0 w 6050425"/>
              <a:gd name="connsiteY18" fmla="*/ 3608087 h 3791742"/>
              <a:gd name="connsiteX19" fmla="*/ 0 w 6050425"/>
              <a:gd name="connsiteY19" fmla="*/ 1143568 h 3791742"/>
              <a:gd name="connsiteX20" fmla="*/ 0 w 6050425"/>
              <a:gd name="connsiteY20" fmla="*/ 1140946 h 3791742"/>
              <a:gd name="connsiteX21" fmla="*/ 0 w 6050425"/>
              <a:gd name="connsiteY21" fmla="*/ 1134718 h 3791742"/>
              <a:gd name="connsiteX22" fmla="*/ 1684243 w 6050425"/>
              <a:gd name="connsiteY22" fmla="*/ 1919732 h 3791742"/>
              <a:gd name="connsiteX23" fmla="*/ 1917876 w 6050425"/>
              <a:gd name="connsiteY23" fmla="*/ 1701790 h 3791742"/>
              <a:gd name="connsiteX24" fmla="*/ 2134576 w 6050425"/>
              <a:gd name="connsiteY24" fmla="*/ 1517191 h 3791742"/>
              <a:gd name="connsiteX25" fmla="*/ 2251663 w 6050425"/>
              <a:gd name="connsiteY25" fmla="*/ 1428961 h 3791742"/>
              <a:gd name="connsiteX26" fmla="*/ 2368749 w 6050425"/>
              <a:gd name="connsiteY26" fmla="*/ 1341527 h 3791742"/>
              <a:gd name="connsiteX27" fmla="*/ 2582334 w 6050425"/>
              <a:gd name="connsiteY27" fmla="*/ 1194559 h 3791742"/>
              <a:gd name="connsiteX28" fmla="*/ 2772833 w 6050425"/>
              <a:gd name="connsiteY28" fmla="*/ 1070382 h 3791742"/>
              <a:gd name="connsiteX29" fmla="*/ 2853266 w 6050425"/>
              <a:gd name="connsiteY29" fmla="*/ 1012621 h 3791742"/>
              <a:gd name="connsiteX30" fmla="*/ 2963334 w 6050425"/>
              <a:gd name="connsiteY30" fmla="*/ 946714 h 3791742"/>
              <a:gd name="connsiteX31" fmla="*/ 0 w 6050425"/>
              <a:gd name="connsiteY31" fmla="*/ 733660 h 3791742"/>
              <a:gd name="connsiteX32" fmla="*/ 0 w 6050425"/>
              <a:gd name="connsiteY32" fmla="*/ 707308 h 3791742"/>
              <a:gd name="connsiteX33" fmla="*/ 0 w 6050425"/>
              <a:gd name="connsiteY33" fmla="*/ 601242 h 3791742"/>
              <a:gd name="connsiteX34" fmla="*/ 0 w 6050425"/>
              <a:gd name="connsiteY34" fmla="*/ 600449 h 3791742"/>
              <a:gd name="connsiteX35" fmla="*/ 0 w 6050425"/>
              <a:gd name="connsiteY35" fmla="*/ 482055 h 3791742"/>
              <a:gd name="connsiteX36" fmla="*/ 0 w 6050425"/>
              <a:gd name="connsiteY36" fmla="*/ 477427 h 3791742"/>
              <a:gd name="connsiteX37" fmla="*/ 0 w 6050425"/>
              <a:gd name="connsiteY37" fmla="*/ 375401 h 3791742"/>
              <a:gd name="connsiteX38" fmla="*/ 0 w 6050425"/>
              <a:gd name="connsiteY38" fmla="*/ 337104 h 3791742"/>
              <a:gd name="connsiteX39" fmla="*/ 0 w 6050425"/>
              <a:gd name="connsiteY39" fmla="*/ 280585 h 3791742"/>
              <a:gd name="connsiteX40" fmla="*/ 0 w 6050425"/>
              <a:gd name="connsiteY40" fmla="*/ 178341 h 3791742"/>
              <a:gd name="connsiteX41" fmla="*/ 0 w 6050425"/>
              <a:gd name="connsiteY41" fmla="*/ 123680 h 3791742"/>
              <a:gd name="connsiteX42" fmla="*/ 0 w 6050425"/>
              <a:gd name="connsiteY42" fmla="*/ 0 h 3791742"/>
              <a:gd name="connsiteX43" fmla="*/ 3517900 w 6050425"/>
              <a:gd name="connsiteY43" fmla="*/ 639360 h 3791742"/>
              <a:gd name="connsiteX44" fmla="*/ 3712633 w 6050425"/>
              <a:gd name="connsiteY44" fmla="*/ 544571 h 3791742"/>
              <a:gd name="connsiteX45" fmla="*/ 3884347 w 6050425"/>
              <a:gd name="connsiteY45" fmla="*/ 472298 h 3791742"/>
              <a:gd name="connsiteX46" fmla="*/ 4063395 w 6050425"/>
              <a:gd name="connsiteY46" fmla="*/ 392982 h 3791742"/>
              <a:gd name="connsiteX47" fmla="*/ 4230599 w 6050425"/>
              <a:gd name="connsiteY47" fmla="*/ 338951 h 3791742"/>
              <a:gd name="connsiteX48" fmla="*/ 4475285 w 6050425"/>
              <a:gd name="connsiteY48" fmla="*/ 268573 h 3791742"/>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0 w 6050425"/>
              <a:gd name="connsiteY39" fmla="*/ 236983 h 3748140"/>
              <a:gd name="connsiteX40" fmla="*/ 0 w 6050425"/>
              <a:gd name="connsiteY40" fmla="*/ 134739 h 3748140"/>
              <a:gd name="connsiteX41" fmla="*/ 0 w 6050425"/>
              <a:gd name="connsiteY41" fmla="*/ 80078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0 w 6050425"/>
              <a:gd name="connsiteY39" fmla="*/ 236983 h 3748140"/>
              <a:gd name="connsiteX40" fmla="*/ 0 w 6050425"/>
              <a:gd name="connsiteY40" fmla="*/ 134739 h 3748140"/>
              <a:gd name="connsiteX41" fmla="*/ 3276600 w 6050425"/>
              <a:gd name="connsiteY41" fmla="*/ 729903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0 w 6050425"/>
              <a:gd name="connsiteY39" fmla="*/ 236983 h 3748140"/>
              <a:gd name="connsiteX40" fmla="*/ 3170767 w 6050425"/>
              <a:gd name="connsiteY40" fmla="*/ 787879 h 3748140"/>
              <a:gd name="connsiteX41" fmla="*/ 3276600 w 6050425"/>
              <a:gd name="connsiteY41" fmla="*/ 729903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3086100 w 6050425"/>
              <a:gd name="connsiteY39" fmla="*/ 837077 h 3748140"/>
              <a:gd name="connsiteX40" fmla="*/ 3170767 w 6050425"/>
              <a:gd name="connsiteY40" fmla="*/ 787879 h 3748140"/>
              <a:gd name="connsiteX41" fmla="*/ 3276600 w 6050425"/>
              <a:gd name="connsiteY41" fmla="*/ 729903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293502 h 3748140"/>
              <a:gd name="connsiteX38" fmla="*/ 3086100 w 6050425"/>
              <a:gd name="connsiteY38" fmla="*/ 837077 h 3748140"/>
              <a:gd name="connsiteX39" fmla="*/ 3170767 w 6050425"/>
              <a:gd name="connsiteY39" fmla="*/ 787879 h 3748140"/>
              <a:gd name="connsiteX40" fmla="*/ 3276600 w 6050425"/>
              <a:gd name="connsiteY40" fmla="*/ 729903 h 3748140"/>
              <a:gd name="connsiteX41" fmla="*/ 3386667 w 6050425"/>
              <a:gd name="connsiteY41" fmla="*/ 665901 h 3748140"/>
              <a:gd name="connsiteX42" fmla="*/ 3517900 w 6050425"/>
              <a:gd name="connsiteY42" fmla="*/ 595758 h 3748140"/>
              <a:gd name="connsiteX43" fmla="*/ 3712633 w 6050425"/>
              <a:gd name="connsiteY43" fmla="*/ 500969 h 3748140"/>
              <a:gd name="connsiteX44" fmla="*/ 3884347 w 6050425"/>
              <a:gd name="connsiteY44" fmla="*/ 428696 h 3748140"/>
              <a:gd name="connsiteX45" fmla="*/ 4063395 w 6050425"/>
              <a:gd name="connsiteY45" fmla="*/ 349380 h 3748140"/>
              <a:gd name="connsiteX46" fmla="*/ 4230599 w 6050425"/>
              <a:gd name="connsiteY46" fmla="*/ 295349 h 3748140"/>
              <a:gd name="connsiteX47" fmla="*/ 4475285 w 6050425"/>
              <a:gd name="connsiteY47"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293502 h 3748140"/>
              <a:gd name="connsiteX37" fmla="*/ 3086100 w 6050425"/>
              <a:gd name="connsiteY37" fmla="*/ 837077 h 3748140"/>
              <a:gd name="connsiteX38" fmla="*/ 3170767 w 6050425"/>
              <a:gd name="connsiteY38" fmla="*/ 787879 h 3748140"/>
              <a:gd name="connsiteX39" fmla="*/ 3276600 w 6050425"/>
              <a:gd name="connsiteY39" fmla="*/ 729903 h 3748140"/>
              <a:gd name="connsiteX40" fmla="*/ 3386667 w 6050425"/>
              <a:gd name="connsiteY40" fmla="*/ 665901 h 3748140"/>
              <a:gd name="connsiteX41" fmla="*/ 3517900 w 6050425"/>
              <a:gd name="connsiteY41" fmla="*/ 595758 h 3748140"/>
              <a:gd name="connsiteX42" fmla="*/ 3712633 w 6050425"/>
              <a:gd name="connsiteY42" fmla="*/ 500969 h 3748140"/>
              <a:gd name="connsiteX43" fmla="*/ 3884347 w 6050425"/>
              <a:gd name="connsiteY43" fmla="*/ 428696 h 3748140"/>
              <a:gd name="connsiteX44" fmla="*/ 4063395 w 6050425"/>
              <a:gd name="connsiteY44" fmla="*/ 349380 h 3748140"/>
              <a:gd name="connsiteX45" fmla="*/ 4230599 w 6050425"/>
              <a:gd name="connsiteY45" fmla="*/ 295349 h 3748140"/>
              <a:gd name="connsiteX46" fmla="*/ 4475285 w 6050425"/>
              <a:gd name="connsiteY46"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438453 h 3748140"/>
              <a:gd name="connsiteX35" fmla="*/ 0 w 6050425"/>
              <a:gd name="connsiteY35" fmla="*/ 293502 h 3748140"/>
              <a:gd name="connsiteX36" fmla="*/ 3086100 w 6050425"/>
              <a:gd name="connsiteY36" fmla="*/ 837077 h 3748140"/>
              <a:gd name="connsiteX37" fmla="*/ 3170767 w 6050425"/>
              <a:gd name="connsiteY37" fmla="*/ 787879 h 3748140"/>
              <a:gd name="connsiteX38" fmla="*/ 3276600 w 6050425"/>
              <a:gd name="connsiteY38" fmla="*/ 729903 h 3748140"/>
              <a:gd name="connsiteX39" fmla="*/ 3386667 w 6050425"/>
              <a:gd name="connsiteY39" fmla="*/ 665901 h 3748140"/>
              <a:gd name="connsiteX40" fmla="*/ 3517900 w 6050425"/>
              <a:gd name="connsiteY40" fmla="*/ 595758 h 3748140"/>
              <a:gd name="connsiteX41" fmla="*/ 3712633 w 6050425"/>
              <a:gd name="connsiteY41" fmla="*/ 500969 h 3748140"/>
              <a:gd name="connsiteX42" fmla="*/ 3884347 w 6050425"/>
              <a:gd name="connsiteY42" fmla="*/ 428696 h 3748140"/>
              <a:gd name="connsiteX43" fmla="*/ 4063395 w 6050425"/>
              <a:gd name="connsiteY43" fmla="*/ 349380 h 3748140"/>
              <a:gd name="connsiteX44" fmla="*/ 4230599 w 6050425"/>
              <a:gd name="connsiteY44" fmla="*/ 295349 h 3748140"/>
              <a:gd name="connsiteX45" fmla="*/ 4475285 w 6050425"/>
              <a:gd name="connsiteY45"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438453 h 3748140"/>
              <a:gd name="connsiteX35" fmla="*/ 2954867 w 6050425"/>
              <a:gd name="connsiteY35" fmla="*/ 903542 h 3748140"/>
              <a:gd name="connsiteX36" fmla="*/ 3086100 w 6050425"/>
              <a:gd name="connsiteY36" fmla="*/ 837077 h 3748140"/>
              <a:gd name="connsiteX37" fmla="*/ 3170767 w 6050425"/>
              <a:gd name="connsiteY37" fmla="*/ 787879 h 3748140"/>
              <a:gd name="connsiteX38" fmla="*/ 3276600 w 6050425"/>
              <a:gd name="connsiteY38" fmla="*/ 729903 h 3748140"/>
              <a:gd name="connsiteX39" fmla="*/ 3386667 w 6050425"/>
              <a:gd name="connsiteY39" fmla="*/ 665901 h 3748140"/>
              <a:gd name="connsiteX40" fmla="*/ 3517900 w 6050425"/>
              <a:gd name="connsiteY40" fmla="*/ 595758 h 3748140"/>
              <a:gd name="connsiteX41" fmla="*/ 3712633 w 6050425"/>
              <a:gd name="connsiteY41" fmla="*/ 500969 h 3748140"/>
              <a:gd name="connsiteX42" fmla="*/ 3884347 w 6050425"/>
              <a:gd name="connsiteY42" fmla="*/ 428696 h 3748140"/>
              <a:gd name="connsiteX43" fmla="*/ 4063395 w 6050425"/>
              <a:gd name="connsiteY43" fmla="*/ 349380 h 3748140"/>
              <a:gd name="connsiteX44" fmla="*/ 4230599 w 6050425"/>
              <a:gd name="connsiteY44" fmla="*/ 295349 h 3748140"/>
              <a:gd name="connsiteX45" fmla="*/ 4475285 w 6050425"/>
              <a:gd name="connsiteY45"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2954867 w 6050425"/>
              <a:gd name="connsiteY34" fmla="*/ 903542 h 3748140"/>
              <a:gd name="connsiteX35" fmla="*/ 3086100 w 6050425"/>
              <a:gd name="connsiteY35" fmla="*/ 837077 h 3748140"/>
              <a:gd name="connsiteX36" fmla="*/ 3170767 w 6050425"/>
              <a:gd name="connsiteY36" fmla="*/ 787879 h 3748140"/>
              <a:gd name="connsiteX37" fmla="*/ 3276600 w 6050425"/>
              <a:gd name="connsiteY37" fmla="*/ 729903 h 3748140"/>
              <a:gd name="connsiteX38" fmla="*/ 3386667 w 6050425"/>
              <a:gd name="connsiteY38" fmla="*/ 665901 h 3748140"/>
              <a:gd name="connsiteX39" fmla="*/ 3517900 w 6050425"/>
              <a:gd name="connsiteY39" fmla="*/ 595758 h 3748140"/>
              <a:gd name="connsiteX40" fmla="*/ 3712633 w 6050425"/>
              <a:gd name="connsiteY40" fmla="*/ 500969 h 3748140"/>
              <a:gd name="connsiteX41" fmla="*/ 3884347 w 6050425"/>
              <a:gd name="connsiteY41" fmla="*/ 428696 h 3748140"/>
              <a:gd name="connsiteX42" fmla="*/ 4063395 w 6050425"/>
              <a:gd name="connsiteY42" fmla="*/ 349380 h 3748140"/>
              <a:gd name="connsiteX43" fmla="*/ 4230599 w 6050425"/>
              <a:gd name="connsiteY43" fmla="*/ 295349 h 3748140"/>
              <a:gd name="connsiteX44" fmla="*/ 4475285 w 6050425"/>
              <a:gd name="connsiteY44"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2954867 w 6050425"/>
              <a:gd name="connsiteY33" fmla="*/ 903542 h 3748140"/>
              <a:gd name="connsiteX34" fmla="*/ 3086100 w 6050425"/>
              <a:gd name="connsiteY34" fmla="*/ 837077 h 3748140"/>
              <a:gd name="connsiteX35" fmla="*/ 3170767 w 6050425"/>
              <a:gd name="connsiteY35" fmla="*/ 787879 h 3748140"/>
              <a:gd name="connsiteX36" fmla="*/ 3276600 w 6050425"/>
              <a:gd name="connsiteY36" fmla="*/ 729903 h 3748140"/>
              <a:gd name="connsiteX37" fmla="*/ 3386667 w 6050425"/>
              <a:gd name="connsiteY37" fmla="*/ 665901 h 3748140"/>
              <a:gd name="connsiteX38" fmla="*/ 3517900 w 6050425"/>
              <a:gd name="connsiteY38" fmla="*/ 595758 h 3748140"/>
              <a:gd name="connsiteX39" fmla="*/ 3712633 w 6050425"/>
              <a:gd name="connsiteY39" fmla="*/ 500969 h 3748140"/>
              <a:gd name="connsiteX40" fmla="*/ 3884347 w 6050425"/>
              <a:gd name="connsiteY40" fmla="*/ 428696 h 3748140"/>
              <a:gd name="connsiteX41" fmla="*/ 4063395 w 6050425"/>
              <a:gd name="connsiteY41" fmla="*/ 349380 h 3748140"/>
              <a:gd name="connsiteX42" fmla="*/ 4230599 w 6050425"/>
              <a:gd name="connsiteY42" fmla="*/ 295349 h 3748140"/>
              <a:gd name="connsiteX43" fmla="*/ 4475285 w 6050425"/>
              <a:gd name="connsiteY43"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2954867 w 6050425"/>
              <a:gd name="connsiteY32" fmla="*/ 903542 h 3748140"/>
              <a:gd name="connsiteX33" fmla="*/ 3086100 w 6050425"/>
              <a:gd name="connsiteY33" fmla="*/ 837077 h 3748140"/>
              <a:gd name="connsiteX34" fmla="*/ 3170767 w 6050425"/>
              <a:gd name="connsiteY34" fmla="*/ 787879 h 3748140"/>
              <a:gd name="connsiteX35" fmla="*/ 3276600 w 6050425"/>
              <a:gd name="connsiteY35" fmla="*/ 729903 h 3748140"/>
              <a:gd name="connsiteX36" fmla="*/ 3386667 w 6050425"/>
              <a:gd name="connsiteY36" fmla="*/ 665901 h 3748140"/>
              <a:gd name="connsiteX37" fmla="*/ 3517900 w 6050425"/>
              <a:gd name="connsiteY37" fmla="*/ 595758 h 3748140"/>
              <a:gd name="connsiteX38" fmla="*/ 3712633 w 6050425"/>
              <a:gd name="connsiteY38" fmla="*/ 500969 h 3748140"/>
              <a:gd name="connsiteX39" fmla="*/ 3884347 w 6050425"/>
              <a:gd name="connsiteY39" fmla="*/ 428696 h 3748140"/>
              <a:gd name="connsiteX40" fmla="*/ 4063395 w 6050425"/>
              <a:gd name="connsiteY40" fmla="*/ 349380 h 3748140"/>
              <a:gd name="connsiteX41" fmla="*/ 4230599 w 6050425"/>
              <a:gd name="connsiteY41" fmla="*/ 295349 h 3748140"/>
              <a:gd name="connsiteX42" fmla="*/ 4475285 w 6050425"/>
              <a:gd name="connsiteY42"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2019300 w 6050425"/>
              <a:gd name="connsiteY20" fmla="*/ 2151653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2159000 w 6050425"/>
              <a:gd name="connsiteY19" fmla="*/ 2273630 h 3748140"/>
              <a:gd name="connsiteX20" fmla="*/ 2019300 w 6050425"/>
              <a:gd name="connsiteY20" fmla="*/ 2151653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2353733 w 6050425"/>
              <a:gd name="connsiteY18" fmla="*/ 2420660 h 3748140"/>
              <a:gd name="connsiteX19" fmla="*/ 2159000 w 6050425"/>
              <a:gd name="connsiteY19" fmla="*/ 2273630 h 3748140"/>
              <a:gd name="connsiteX20" fmla="*/ 2019300 w 6050425"/>
              <a:gd name="connsiteY20" fmla="*/ 2151653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804957 w 4366182"/>
              <a:gd name="connsiteY17" fmla="*/ 2524743 h 3748140"/>
              <a:gd name="connsiteX18" fmla="*/ 669490 w 4366182"/>
              <a:gd name="connsiteY18" fmla="*/ 2420660 h 3748140"/>
              <a:gd name="connsiteX19" fmla="*/ 474757 w 4366182"/>
              <a:gd name="connsiteY19" fmla="*/ 2273630 h 3748140"/>
              <a:gd name="connsiteX20" fmla="*/ 335057 w 4366182"/>
              <a:gd name="connsiteY20" fmla="*/ 2151653 h 3748140"/>
              <a:gd name="connsiteX21" fmla="*/ 148790 w 4366182"/>
              <a:gd name="connsiteY21" fmla="*/ 1999545 h 3748140"/>
              <a:gd name="connsiteX22" fmla="*/ 0 w 4366182"/>
              <a:gd name="connsiteY22" fmla="*/ 1876130 h 3748140"/>
              <a:gd name="connsiteX23" fmla="*/ 233633 w 4366182"/>
              <a:gd name="connsiteY23" fmla="*/ 1658188 h 3748140"/>
              <a:gd name="connsiteX24" fmla="*/ 450333 w 4366182"/>
              <a:gd name="connsiteY24" fmla="*/ 1473589 h 3748140"/>
              <a:gd name="connsiteX25" fmla="*/ 567420 w 4366182"/>
              <a:gd name="connsiteY25" fmla="*/ 1385359 h 3748140"/>
              <a:gd name="connsiteX26" fmla="*/ 684506 w 4366182"/>
              <a:gd name="connsiteY26" fmla="*/ 1297925 h 3748140"/>
              <a:gd name="connsiteX27" fmla="*/ 898091 w 4366182"/>
              <a:gd name="connsiteY27" fmla="*/ 1150957 h 3748140"/>
              <a:gd name="connsiteX28" fmla="*/ 1088590 w 4366182"/>
              <a:gd name="connsiteY28" fmla="*/ 1026780 h 3748140"/>
              <a:gd name="connsiteX29" fmla="*/ 1169023 w 4366182"/>
              <a:gd name="connsiteY29" fmla="*/ 969019 h 3748140"/>
              <a:gd name="connsiteX30" fmla="*/ 1279091 w 4366182"/>
              <a:gd name="connsiteY30" fmla="*/ 903112 h 3748140"/>
              <a:gd name="connsiteX31" fmla="*/ 1270624 w 4366182"/>
              <a:gd name="connsiteY31" fmla="*/ 903542 h 3748140"/>
              <a:gd name="connsiteX32" fmla="*/ 1401857 w 4366182"/>
              <a:gd name="connsiteY32" fmla="*/ 837077 h 3748140"/>
              <a:gd name="connsiteX33" fmla="*/ 1486524 w 4366182"/>
              <a:gd name="connsiteY33" fmla="*/ 787879 h 3748140"/>
              <a:gd name="connsiteX34" fmla="*/ 1592357 w 4366182"/>
              <a:gd name="connsiteY34" fmla="*/ 729903 h 3748140"/>
              <a:gd name="connsiteX35" fmla="*/ 1702424 w 4366182"/>
              <a:gd name="connsiteY35" fmla="*/ 665901 h 3748140"/>
              <a:gd name="connsiteX36" fmla="*/ 1833657 w 4366182"/>
              <a:gd name="connsiteY36" fmla="*/ 595758 h 3748140"/>
              <a:gd name="connsiteX37" fmla="*/ 2028390 w 4366182"/>
              <a:gd name="connsiteY37" fmla="*/ 500969 h 3748140"/>
              <a:gd name="connsiteX38" fmla="*/ 2200104 w 4366182"/>
              <a:gd name="connsiteY38" fmla="*/ 428696 h 3748140"/>
              <a:gd name="connsiteX39" fmla="*/ 2379152 w 4366182"/>
              <a:gd name="connsiteY39" fmla="*/ 349380 h 3748140"/>
              <a:gd name="connsiteX40" fmla="*/ 2546356 w 4366182"/>
              <a:gd name="connsiteY40" fmla="*/ 295349 h 3748140"/>
              <a:gd name="connsiteX41" fmla="*/ 2791042 w 4366182"/>
              <a:gd name="connsiteY41"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969257 w 4366182"/>
              <a:gd name="connsiteY17" fmla="*/ 2634988 h 3748140"/>
              <a:gd name="connsiteX18" fmla="*/ 804957 w 4366182"/>
              <a:gd name="connsiteY18" fmla="*/ 2524743 h 3748140"/>
              <a:gd name="connsiteX19" fmla="*/ 669490 w 4366182"/>
              <a:gd name="connsiteY19" fmla="*/ 2420660 h 3748140"/>
              <a:gd name="connsiteX20" fmla="*/ 474757 w 4366182"/>
              <a:gd name="connsiteY20" fmla="*/ 2273630 h 3748140"/>
              <a:gd name="connsiteX21" fmla="*/ 335057 w 4366182"/>
              <a:gd name="connsiteY21" fmla="*/ 2151653 h 3748140"/>
              <a:gd name="connsiteX22" fmla="*/ 148790 w 4366182"/>
              <a:gd name="connsiteY22" fmla="*/ 1999545 h 3748140"/>
              <a:gd name="connsiteX23" fmla="*/ 0 w 4366182"/>
              <a:gd name="connsiteY23" fmla="*/ 1876130 h 3748140"/>
              <a:gd name="connsiteX24" fmla="*/ 233633 w 4366182"/>
              <a:gd name="connsiteY24" fmla="*/ 1658188 h 3748140"/>
              <a:gd name="connsiteX25" fmla="*/ 450333 w 4366182"/>
              <a:gd name="connsiteY25" fmla="*/ 1473589 h 3748140"/>
              <a:gd name="connsiteX26" fmla="*/ 567420 w 4366182"/>
              <a:gd name="connsiteY26" fmla="*/ 1385359 h 3748140"/>
              <a:gd name="connsiteX27" fmla="*/ 684506 w 4366182"/>
              <a:gd name="connsiteY27" fmla="*/ 1297925 h 3748140"/>
              <a:gd name="connsiteX28" fmla="*/ 898091 w 4366182"/>
              <a:gd name="connsiteY28" fmla="*/ 1150957 h 3748140"/>
              <a:gd name="connsiteX29" fmla="*/ 1088590 w 4366182"/>
              <a:gd name="connsiteY29" fmla="*/ 1026780 h 3748140"/>
              <a:gd name="connsiteX30" fmla="*/ 1169023 w 4366182"/>
              <a:gd name="connsiteY30" fmla="*/ 969019 h 3748140"/>
              <a:gd name="connsiteX31" fmla="*/ 1279091 w 4366182"/>
              <a:gd name="connsiteY31" fmla="*/ 903112 h 3748140"/>
              <a:gd name="connsiteX32" fmla="*/ 1270624 w 4366182"/>
              <a:gd name="connsiteY32" fmla="*/ 903542 h 3748140"/>
              <a:gd name="connsiteX33" fmla="*/ 1401857 w 4366182"/>
              <a:gd name="connsiteY33" fmla="*/ 837077 h 3748140"/>
              <a:gd name="connsiteX34" fmla="*/ 1486524 w 4366182"/>
              <a:gd name="connsiteY34" fmla="*/ 787879 h 3748140"/>
              <a:gd name="connsiteX35" fmla="*/ 1592357 w 4366182"/>
              <a:gd name="connsiteY35" fmla="*/ 729903 h 3748140"/>
              <a:gd name="connsiteX36" fmla="*/ 1702424 w 4366182"/>
              <a:gd name="connsiteY36" fmla="*/ 665901 h 3748140"/>
              <a:gd name="connsiteX37" fmla="*/ 1833657 w 4366182"/>
              <a:gd name="connsiteY37" fmla="*/ 595758 h 3748140"/>
              <a:gd name="connsiteX38" fmla="*/ 2028390 w 4366182"/>
              <a:gd name="connsiteY38" fmla="*/ 500969 h 3748140"/>
              <a:gd name="connsiteX39" fmla="*/ 2200104 w 4366182"/>
              <a:gd name="connsiteY39" fmla="*/ 428696 h 3748140"/>
              <a:gd name="connsiteX40" fmla="*/ 2379152 w 4366182"/>
              <a:gd name="connsiteY40" fmla="*/ 349380 h 3748140"/>
              <a:gd name="connsiteX41" fmla="*/ 2546356 w 4366182"/>
              <a:gd name="connsiteY41" fmla="*/ 295349 h 3748140"/>
              <a:gd name="connsiteX42" fmla="*/ 2791042 w 4366182"/>
              <a:gd name="connsiteY42"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282524 w 4366182"/>
              <a:gd name="connsiteY17" fmla="*/ 3049418 h 3748140"/>
              <a:gd name="connsiteX18" fmla="*/ 969257 w 4366182"/>
              <a:gd name="connsiteY18" fmla="*/ 2634988 h 3748140"/>
              <a:gd name="connsiteX19" fmla="*/ 804957 w 4366182"/>
              <a:gd name="connsiteY19" fmla="*/ 2524743 h 3748140"/>
              <a:gd name="connsiteX20" fmla="*/ 669490 w 4366182"/>
              <a:gd name="connsiteY20" fmla="*/ 2420660 h 3748140"/>
              <a:gd name="connsiteX21" fmla="*/ 474757 w 4366182"/>
              <a:gd name="connsiteY21" fmla="*/ 2273630 h 3748140"/>
              <a:gd name="connsiteX22" fmla="*/ 335057 w 4366182"/>
              <a:gd name="connsiteY22" fmla="*/ 2151653 h 3748140"/>
              <a:gd name="connsiteX23" fmla="*/ 148790 w 4366182"/>
              <a:gd name="connsiteY23" fmla="*/ 1999545 h 3748140"/>
              <a:gd name="connsiteX24" fmla="*/ 0 w 4366182"/>
              <a:gd name="connsiteY24" fmla="*/ 1876130 h 3748140"/>
              <a:gd name="connsiteX25" fmla="*/ 233633 w 4366182"/>
              <a:gd name="connsiteY25" fmla="*/ 1658188 h 3748140"/>
              <a:gd name="connsiteX26" fmla="*/ 450333 w 4366182"/>
              <a:gd name="connsiteY26" fmla="*/ 1473589 h 3748140"/>
              <a:gd name="connsiteX27" fmla="*/ 567420 w 4366182"/>
              <a:gd name="connsiteY27" fmla="*/ 1385359 h 3748140"/>
              <a:gd name="connsiteX28" fmla="*/ 684506 w 4366182"/>
              <a:gd name="connsiteY28" fmla="*/ 1297925 h 3748140"/>
              <a:gd name="connsiteX29" fmla="*/ 898091 w 4366182"/>
              <a:gd name="connsiteY29" fmla="*/ 1150957 h 3748140"/>
              <a:gd name="connsiteX30" fmla="*/ 1088590 w 4366182"/>
              <a:gd name="connsiteY30" fmla="*/ 1026780 h 3748140"/>
              <a:gd name="connsiteX31" fmla="*/ 1169023 w 4366182"/>
              <a:gd name="connsiteY31" fmla="*/ 969019 h 3748140"/>
              <a:gd name="connsiteX32" fmla="*/ 1279091 w 4366182"/>
              <a:gd name="connsiteY32" fmla="*/ 903112 h 3748140"/>
              <a:gd name="connsiteX33" fmla="*/ 1270624 w 4366182"/>
              <a:gd name="connsiteY33" fmla="*/ 903542 h 3748140"/>
              <a:gd name="connsiteX34" fmla="*/ 1401857 w 4366182"/>
              <a:gd name="connsiteY34" fmla="*/ 837077 h 3748140"/>
              <a:gd name="connsiteX35" fmla="*/ 1486524 w 4366182"/>
              <a:gd name="connsiteY35" fmla="*/ 787879 h 3748140"/>
              <a:gd name="connsiteX36" fmla="*/ 1592357 w 4366182"/>
              <a:gd name="connsiteY36" fmla="*/ 729903 h 3748140"/>
              <a:gd name="connsiteX37" fmla="*/ 1702424 w 4366182"/>
              <a:gd name="connsiteY37" fmla="*/ 665901 h 3748140"/>
              <a:gd name="connsiteX38" fmla="*/ 1833657 w 4366182"/>
              <a:gd name="connsiteY38" fmla="*/ 595758 h 3748140"/>
              <a:gd name="connsiteX39" fmla="*/ 2028390 w 4366182"/>
              <a:gd name="connsiteY39" fmla="*/ 500969 h 3748140"/>
              <a:gd name="connsiteX40" fmla="*/ 2200104 w 4366182"/>
              <a:gd name="connsiteY40" fmla="*/ 428696 h 3748140"/>
              <a:gd name="connsiteX41" fmla="*/ 2379152 w 4366182"/>
              <a:gd name="connsiteY41" fmla="*/ 349380 h 3748140"/>
              <a:gd name="connsiteX42" fmla="*/ 2546356 w 4366182"/>
              <a:gd name="connsiteY42" fmla="*/ 295349 h 3748140"/>
              <a:gd name="connsiteX43" fmla="*/ 2791042 w 4366182"/>
              <a:gd name="connsiteY43"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282524 w 4366182"/>
              <a:gd name="connsiteY17" fmla="*/ 3049418 h 3748140"/>
              <a:gd name="connsiteX18" fmla="*/ 969257 w 4366182"/>
              <a:gd name="connsiteY18" fmla="*/ 2634988 h 3748140"/>
              <a:gd name="connsiteX19" fmla="*/ 804957 w 4366182"/>
              <a:gd name="connsiteY19" fmla="*/ 2524743 h 3748140"/>
              <a:gd name="connsiteX20" fmla="*/ 669490 w 4366182"/>
              <a:gd name="connsiteY20" fmla="*/ 2420660 h 3748140"/>
              <a:gd name="connsiteX21" fmla="*/ 474757 w 4366182"/>
              <a:gd name="connsiteY21" fmla="*/ 2273630 h 3748140"/>
              <a:gd name="connsiteX22" fmla="*/ 335057 w 4366182"/>
              <a:gd name="connsiteY22" fmla="*/ 2151653 h 3748140"/>
              <a:gd name="connsiteX23" fmla="*/ 148790 w 4366182"/>
              <a:gd name="connsiteY23" fmla="*/ 1999545 h 3748140"/>
              <a:gd name="connsiteX24" fmla="*/ 0 w 4366182"/>
              <a:gd name="connsiteY24" fmla="*/ 1876130 h 3748140"/>
              <a:gd name="connsiteX25" fmla="*/ 233633 w 4366182"/>
              <a:gd name="connsiteY25" fmla="*/ 1658188 h 3748140"/>
              <a:gd name="connsiteX26" fmla="*/ 450333 w 4366182"/>
              <a:gd name="connsiteY26" fmla="*/ 1473589 h 3748140"/>
              <a:gd name="connsiteX27" fmla="*/ 567420 w 4366182"/>
              <a:gd name="connsiteY27" fmla="*/ 1385359 h 3748140"/>
              <a:gd name="connsiteX28" fmla="*/ 684506 w 4366182"/>
              <a:gd name="connsiteY28" fmla="*/ 1297925 h 3748140"/>
              <a:gd name="connsiteX29" fmla="*/ 898091 w 4366182"/>
              <a:gd name="connsiteY29" fmla="*/ 1150957 h 3748140"/>
              <a:gd name="connsiteX30" fmla="*/ 1088590 w 4366182"/>
              <a:gd name="connsiteY30" fmla="*/ 1026780 h 3748140"/>
              <a:gd name="connsiteX31" fmla="*/ 1169023 w 4366182"/>
              <a:gd name="connsiteY31" fmla="*/ 969019 h 3748140"/>
              <a:gd name="connsiteX32" fmla="*/ 1279091 w 4366182"/>
              <a:gd name="connsiteY32" fmla="*/ 903112 h 3748140"/>
              <a:gd name="connsiteX33" fmla="*/ 1270624 w 4366182"/>
              <a:gd name="connsiteY33" fmla="*/ 903542 h 3748140"/>
              <a:gd name="connsiteX34" fmla="*/ 1401857 w 4366182"/>
              <a:gd name="connsiteY34" fmla="*/ 837077 h 3748140"/>
              <a:gd name="connsiteX35" fmla="*/ 1486524 w 4366182"/>
              <a:gd name="connsiteY35" fmla="*/ 787879 h 3748140"/>
              <a:gd name="connsiteX36" fmla="*/ 1592357 w 4366182"/>
              <a:gd name="connsiteY36" fmla="*/ 729903 h 3748140"/>
              <a:gd name="connsiteX37" fmla="*/ 1702424 w 4366182"/>
              <a:gd name="connsiteY37" fmla="*/ 665901 h 3748140"/>
              <a:gd name="connsiteX38" fmla="*/ 1833657 w 4366182"/>
              <a:gd name="connsiteY38" fmla="*/ 595758 h 3748140"/>
              <a:gd name="connsiteX39" fmla="*/ 2028390 w 4366182"/>
              <a:gd name="connsiteY39" fmla="*/ 500969 h 3748140"/>
              <a:gd name="connsiteX40" fmla="*/ 2200104 w 4366182"/>
              <a:gd name="connsiteY40" fmla="*/ 428696 h 3748140"/>
              <a:gd name="connsiteX41" fmla="*/ 2379152 w 4366182"/>
              <a:gd name="connsiteY41" fmla="*/ 349380 h 3748140"/>
              <a:gd name="connsiteX42" fmla="*/ 2546356 w 4366182"/>
              <a:gd name="connsiteY42" fmla="*/ 295349 h 3748140"/>
              <a:gd name="connsiteX43" fmla="*/ 2791042 w 4366182"/>
              <a:gd name="connsiteY43"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235958 w 4366182"/>
              <a:gd name="connsiteY17" fmla="*/ 2807391 h 3748140"/>
              <a:gd name="connsiteX18" fmla="*/ 969257 w 4366182"/>
              <a:gd name="connsiteY18" fmla="*/ 2634988 h 3748140"/>
              <a:gd name="connsiteX19" fmla="*/ 804957 w 4366182"/>
              <a:gd name="connsiteY19" fmla="*/ 2524743 h 3748140"/>
              <a:gd name="connsiteX20" fmla="*/ 669490 w 4366182"/>
              <a:gd name="connsiteY20" fmla="*/ 2420660 h 3748140"/>
              <a:gd name="connsiteX21" fmla="*/ 474757 w 4366182"/>
              <a:gd name="connsiteY21" fmla="*/ 2273630 h 3748140"/>
              <a:gd name="connsiteX22" fmla="*/ 335057 w 4366182"/>
              <a:gd name="connsiteY22" fmla="*/ 2151653 h 3748140"/>
              <a:gd name="connsiteX23" fmla="*/ 148790 w 4366182"/>
              <a:gd name="connsiteY23" fmla="*/ 1999545 h 3748140"/>
              <a:gd name="connsiteX24" fmla="*/ 0 w 4366182"/>
              <a:gd name="connsiteY24" fmla="*/ 1876130 h 3748140"/>
              <a:gd name="connsiteX25" fmla="*/ 233633 w 4366182"/>
              <a:gd name="connsiteY25" fmla="*/ 1658188 h 3748140"/>
              <a:gd name="connsiteX26" fmla="*/ 450333 w 4366182"/>
              <a:gd name="connsiteY26" fmla="*/ 1473589 h 3748140"/>
              <a:gd name="connsiteX27" fmla="*/ 567420 w 4366182"/>
              <a:gd name="connsiteY27" fmla="*/ 1385359 h 3748140"/>
              <a:gd name="connsiteX28" fmla="*/ 684506 w 4366182"/>
              <a:gd name="connsiteY28" fmla="*/ 1297925 h 3748140"/>
              <a:gd name="connsiteX29" fmla="*/ 898091 w 4366182"/>
              <a:gd name="connsiteY29" fmla="*/ 1150957 h 3748140"/>
              <a:gd name="connsiteX30" fmla="*/ 1088590 w 4366182"/>
              <a:gd name="connsiteY30" fmla="*/ 1026780 h 3748140"/>
              <a:gd name="connsiteX31" fmla="*/ 1169023 w 4366182"/>
              <a:gd name="connsiteY31" fmla="*/ 969019 h 3748140"/>
              <a:gd name="connsiteX32" fmla="*/ 1279091 w 4366182"/>
              <a:gd name="connsiteY32" fmla="*/ 903112 h 3748140"/>
              <a:gd name="connsiteX33" fmla="*/ 1270624 w 4366182"/>
              <a:gd name="connsiteY33" fmla="*/ 903542 h 3748140"/>
              <a:gd name="connsiteX34" fmla="*/ 1401857 w 4366182"/>
              <a:gd name="connsiteY34" fmla="*/ 837077 h 3748140"/>
              <a:gd name="connsiteX35" fmla="*/ 1486524 w 4366182"/>
              <a:gd name="connsiteY35" fmla="*/ 787879 h 3748140"/>
              <a:gd name="connsiteX36" fmla="*/ 1592357 w 4366182"/>
              <a:gd name="connsiteY36" fmla="*/ 729903 h 3748140"/>
              <a:gd name="connsiteX37" fmla="*/ 1702424 w 4366182"/>
              <a:gd name="connsiteY37" fmla="*/ 665901 h 3748140"/>
              <a:gd name="connsiteX38" fmla="*/ 1833657 w 4366182"/>
              <a:gd name="connsiteY38" fmla="*/ 595758 h 3748140"/>
              <a:gd name="connsiteX39" fmla="*/ 2028390 w 4366182"/>
              <a:gd name="connsiteY39" fmla="*/ 500969 h 3748140"/>
              <a:gd name="connsiteX40" fmla="*/ 2200104 w 4366182"/>
              <a:gd name="connsiteY40" fmla="*/ 428696 h 3748140"/>
              <a:gd name="connsiteX41" fmla="*/ 2379152 w 4366182"/>
              <a:gd name="connsiteY41" fmla="*/ 349380 h 3748140"/>
              <a:gd name="connsiteX42" fmla="*/ 2546356 w 4366182"/>
              <a:gd name="connsiteY42" fmla="*/ 295349 h 3748140"/>
              <a:gd name="connsiteX43" fmla="*/ 2791042 w 4366182"/>
              <a:gd name="connsiteY43"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600024 w 4366182"/>
              <a:gd name="connsiteY17" fmla="*/ 318535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600024 w 4366182"/>
              <a:gd name="connsiteY17" fmla="*/ 318535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481491 w 4366182"/>
              <a:gd name="connsiteY17" fmla="*/ 295990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481491 w 4366182"/>
              <a:gd name="connsiteY17" fmla="*/ 295990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718557 w 4366182"/>
              <a:gd name="connsiteY17" fmla="*/ 3089203 h 3748140"/>
              <a:gd name="connsiteX18" fmla="*/ 1481491 w 4366182"/>
              <a:gd name="connsiteY18" fmla="*/ 2959900 h 3748140"/>
              <a:gd name="connsiteX19" fmla="*/ 1235958 w 4366182"/>
              <a:gd name="connsiteY19" fmla="*/ 2807391 h 3748140"/>
              <a:gd name="connsiteX20" fmla="*/ 969257 w 4366182"/>
              <a:gd name="connsiteY20" fmla="*/ 2634988 h 3748140"/>
              <a:gd name="connsiteX21" fmla="*/ 804957 w 4366182"/>
              <a:gd name="connsiteY21" fmla="*/ 2524743 h 3748140"/>
              <a:gd name="connsiteX22" fmla="*/ 669490 w 4366182"/>
              <a:gd name="connsiteY22" fmla="*/ 2420660 h 3748140"/>
              <a:gd name="connsiteX23" fmla="*/ 474757 w 4366182"/>
              <a:gd name="connsiteY23" fmla="*/ 2273630 h 3748140"/>
              <a:gd name="connsiteX24" fmla="*/ 335057 w 4366182"/>
              <a:gd name="connsiteY24" fmla="*/ 2151653 h 3748140"/>
              <a:gd name="connsiteX25" fmla="*/ 148790 w 4366182"/>
              <a:gd name="connsiteY25" fmla="*/ 1999545 h 3748140"/>
              <a:gd name="connsiteX26" fmla="*/ 0 w 4366182"/>
              <a:gd name="connsiteY26" fmla="*/ 1876130 h 3748140"/>
              <a:gd name="connsiteX27" fmla="*/ 233633 w 4366182"/>
              <a:gd name="connsiteY27" fmla="*/ 1658188 h 3748140"/>
              <a:gd name="connsiteX28" fmla="*/ 450333 w 4366182"/>
              <a:gd name="connsiteY28" fmla="*/ 1473589 h 3748140"/>
              <a:gd name="connsiteX29" fmla="*/ 567420 w 4366182"/>
              <a:gd name="connsiteY29" fmla="*/ 1385359 h 3748140"/>
              <a:gd name="connsiteX30" fmla="*/ 684506 w 4366182"/>
              <a:gd name="connsiteY30" fmla="*/ 1297925 h 3748140"/>
              <a:gd name="connsiteX31" fmla="*/ 898091 w 4366182"/>
              <a:gd name="connsiteY31" fmla="*/ 1150957 h 3748140"/>
              <a:gd name="connsiteX32" fmla="*/ 1088590 w 4366182"/>
              <a:gd name="connsiteY32" fmla="*/ 1026780 h 3748140"/>
              <a:gd name="connsiteX33" fmla="*/ 1169023 w 4366182"/>
              <a:gd name="connsiteY33" fmla="*/ 969019 h 3748140"/>
              <a:gd name="connsiteX34" fmla="*/ 1279091 w 4366182"/>
              <a:gd name="connsiteY34" fmla="*/ 903112 h 3748140"/>
              <a:gd name="connsiteX35" fmla="*/ 1270624 w 4366182"/>
              <a:gd name="connsiteY35" fmla="*/ 903542 h 3748140"/>
              <a:gd name="connsiteX36" fmla="*/ 1401857 w 4366182"/>
              <a:gd name="connsiteY36" fmla="*/ 837077 h 3748140"/>
              <a:gd name="connsiteX37" fmla="*/ 1486524 w 4366182"/>
              <a:gd name="connsiteY37" fmla="*/ 787879 h 3748140"/>
              <a:gd name="connsiteX38" fmla="*/ 1592357 w 4366182"/>
              <a:gd name="connsiteY38" fmla="*/ 729903 h 3748140"/>
              <a:gd name="connsiteX39" fmla="*/ 1702424 w 4366182"/>
              <a:gd name="connsiteY39" fmla="*/ 665901 h 3748140"/>
              <a:gd name="connsiteX40" fmla="*/ 1833657 w 4366182"/>
              <a:gd name="connsiteY40" fmla="*/ 595758 h 3748140"/>
              <a:gd name="connsiteX41" fmla="*/ 2028390 w 4366182"/>
              <a:gd name="connsiteY41" fmla="*/ 500969 h 3748140"/>
              <a:gd name="connsiteX42" fmla="*/ 2200104 w 4366182"/>
              <a:gd name="connsiteY42" fmla="*/ 428696 h 3748140"/>
              <a:gd name="connsiteX43" fmla="*/ 2379152 w 4366182"/>
              <a:gd name="connsiteY43" fmla="*/ 349380 h 3748140"/>
              <a:gd name="connsiteX44" fmla="*/ 2546356 w 4366182"/>
              <a:gd name="connsiteY44" fmla="*/ 295349 h 3748140"/>
              <a:gd name="connsiteX45" fmla="*/ 2791042 w 4366182"/>
              <a:gd name="connsiteY45"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137657 w 4366182"/>
              <a:gd name="connsiteY17" fmla="*/ 3424062 h 3748140"/>
              <a:gd name="connsiteX18" fmla="*/ 1718557 w 4366182"/>
              <a:gd name="connsiteY18" fmla="*/ 3089203 h 3748140"/>
              <a:gd name="connsiteX19" fmla="*/ 1481491 w 4366182"/>
              <a:gd name="connsiteY19" fmla="*/ 2959900 h 3748140"/>
              <a:gd name="connsiteX20" fmla="*/ 1235958 w 4366182"/>
              <a:gd name="connsiteY20" fmla="*/ 2807391 h 3748140"/>
              <a:gd name="connsiteX21" fmla="*/ 969257 w 4366182"/>
              <a:gd name="connsiteY21" fmla="*/ 2634988 h 3748140"/>
              <a:gd name="connsiteX22" fmla="*/ 804957 w 4366182"/>
              <a:gd name="connsiteY22" fmla="*/ 2524743 h 3748140"/>
              <a:gd name="connsiteX23" fmla="*/ 669490 w 4366182"/>
              <a:gd name="connsiteY23" fmla="*/ 2420660 h 3748140"/>
              <a:gd name="connsiteX24" fmla="*/ 474757 w 4366182"/>
              <a:gd name="connsiteY24" fmla="*/ 2273630 h 3748140"/>
              <a:gd name="connsiteX25" fmla="*/ 335057 w 4366182"/>
              <a:gd name="connsiteY25" fmla="*/ 2151653 h 3748140"/>
              <a:gd name="connsiteX26" fmla="*/ 148790 w 4366182"/>
              <a:gd name="connsiteY26" fmla="*/ 1999545 h 3748140"/>
              <a:gd name="connsiteX27" fmla="*/ 0 w 4366182"/>
              <a:gd name="connsiteY27" fmla="*/ 1876130 h 3748140"/>
              <a:gd name="connsiteX28" fmla="*/ 233633 w 4366182"/>
              <a:gd name="connsiteY28" fmla="*/ 1658188 h 3748140"/>
              <a:gd name="connsiteX29" fmla="*/ 450333 w 4366182"/>
              <a:gd name="connsiteY29" fmla="*/ 1473589 h 3748140"/>
              <a:gd name="connsiteX30" fmla="*/ 567420 w 4366182"/>
              <a:gd name="connsiteY30" fmla="*/ 1385359 h 3748140"/>
              <a:gd name="connsiteX31" fmla="*/ 684506 w 4366182"/>
              <a:gd name="connsiteY31" fmla="*/ 1297925 h 3748140"/>
              <a:gd name="connsiteX32" fmla="*/ 898091 w 4366182"/>
              <a:gd name="connsiteY32" fmla="*/ 1150957 h 3748140"/>
              <a:gd name="connsiteX33" fmla="*/ 1088590 w 4366182"/>
              <a:gd name="connsiteY33" fmla="*/ 1026780 h 3748140"/>
              <a:gd name="connsiteX34" fmla="*/ 1169023 w 4366182"/>
              <a:gd name="connsiteY34" fmla="*/ 969019 h 3748140"/>
              <a:gd name="connsiteX35" fmla="*/ 1279091 w 4366182"/>
              <a:gd name="connsiteY35" fmla="*/ 903112 h 3748140"/>
              <a:gd name="connsiteX36" fmla="*/ 1270624 w 4366182"/>
              <a:gd name="connsiteY36" fmla="*/ 903542 h 3748140"/>
              <a:gd name="connsiteX37" fmla="*/ 1401857 w 4366182"/>
              <a:gd name="connsiteY37" fmla="*/ 837077 h 3748140"/>
              <a:gd name="connsiteX38" fmla="*/ 1486524 w 4366182"/>
              <a:gd name="connsiteY38" fmla="*/ 787879 h 3748140"/>
              <a:gd name="connsiteX39" fmla="*/ 1592357 w 4366182"/>
              <a:gd name="connsiteY39" fmla="*/ 729903 h 3748140"/>
              <a:gd name="connsiteX40" fmla="*/ 1702424 w 4366182"/>
              <a:gd name="connsiteY40" fmla="*/ 665901 h 3748140"/>
              <a:gd name="connsiteX41" fmla="*/ 1833657 w 4366182"/>
              <a:gd name="connsiteY41" fmla="*/ 595758 h 3748140"/>
              <a:gd name="connsiteX42" fmla="*/ 2028390 w 4366182"/>
              <a:gd name="connsiteY42" fmla="*/ 500969 h 3748140"/>
              <a:gd name="connsiteX43" fmla="*/ 2200104 w 4366182"/>
              <a:gd name="connsiteY43" fmla="*/ 428696 h 3748140"/>
              <a:gd name="connsiteX44" fmla="*/ 2379152 w 4366182"/>
              <a:gd name="connsiteY44" fmla="*/ 349380 h 3748140"/>
              <a:gd name="connsiteX45" fmla="*/ 2546356 w 4366182"/>
              <a:gd name="connsiteY45" fmla="*/ 295349 h 3748140"/>
              <a:gd name="connsiteX46" fmla="*/ 2791042 w 4366182"/>
              <a:gd name="connsiteY46"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137657 w 4366182"/>
              <a:gd name="connsiteY17" fmla="*/ 3424062 h 3748140"/>
              <a:gd name="connsiteX18" fmla="*/ 1718557 w 4366182"/>
              <a:gd name="connsiteY18" fmla="*/ 3089203 h 3748140"/>
              <a:gd name="connsiteX19" fmla="*/ 1481491 w 4366182"/>
              <a:gd name="connsiteY19" fmla="*/ 2959900 h 3748140"/>
              <a:gd name="connsiteX20" fmla="*/ 1235958 w 4366182"/>
              <a:gd name="connsiteY20" fmla="*/ 2807391 h 3748140"/>
              <a:gd name="connsiteX21" fmla="*/ 969257 w 4366182"/>
              <a:gd name="connsiteY21" fmla="*/ 2634988 h 3748140"/>
              <a:gd name="connsiteX22" fmla="*/ 804957 w 4366182"/>
              <a:gd name="connsiteY22" fmla="*/ 2524743 h 3748140"/>
              <a:gd name="connsiteX23" fmla="*/ 669490 w 4366182"/>
              <a:gd name="connsiteY23" fmla="*/ 2420660 h 3748140"/>
              <a:gd name="connsiteX24" fmla="*/ 474757 w 4366182"/>
              <a:gd name="connsiteY24" fmla="*/ 2273630 h 3748140"/>
              <a:gd name="connsiteX25" fmla="*/ 335057 w 4366182"/>
              <a:gd name="connsiteY25" fmla="*/ 2151653 h 3748140"/>
              <a:gd name="connsiteX26" fmla="*/ 148790 w 4366182"/>
              <a:gd name="connsiteY26" fmla="*/ 1999545 h 3748140"/>
              <a:gd name="connsiteX27" fmla="*/ 0 w 4366182"/>
              <a:gd name="connsiteY27" fmla="*/ 1876130 h 3748140"/>
              <a:gd name="connsiteX28" fmla="*/ 233633 w 4366182"/>
              <a:gd name="connsiteY28" fmla="*/ 1658188 h 3748140"/>
              <a:gd name="connsiteX29" fmla="*/ 450333 w 4366182"/>
              <a:gd name="connsiteY29" fmla="*/ 1473589 h 3748140"/>
              <a:gd name="connsiteX30" fmla="*/ 567420 w 4366182"/>
              <a:gd name="connsiteY30" fmla="*/ 1385359 h 3748140"/>
              <a:gd name="connsiteX31" fmla="*/ 684506 w 4366182"/>
              <a:gd name="connsiteY31" fmla="*/ 1297925 h 3748140"/>
              <a:gd name="connsiteX32" fmla="*/ 898091 w 4366182"/>
              <a:gd name="connsiteY32" fmla="*/ 1150957 h 3748140"/>
              <a:gd name="connsiteX33" fmla="*/ 1088590 w 4366182"/>
              <a:gd name="connsiteY33" fmla="*/ 1026780 h 3748140"/>
              <a:gd name="connsiteX34" fmla="*/ 1169023 w 4366182"/>
              <a:gd name="connsiteY34" fmla="*/ 969019 h 3748140"/>
              <a:gd name="connsiteX35" fmla="*/ 1279091 w 4366182"/>
              <a:gd name="connsiteY35" fmla="*/ 903112 h 3748140"/>
              <a:gd name="connsiteX36" fmla="*/ 1270624 w 4366182"/>
              <a:gd name="connsiteY36" fmla="*/ 903542 h 3748140"/>
              <a:gd name="connsiteX37" fmla="*/ 1401857 w 4366182"/>
              <a:gd name="connsiteY37" fmla="*/ 837077 h 3748140"/>
              <a:gd name="connsiteX38" fmla="*/ 1486524 w 4366182"/>
              <a:gd name="connsiteY38" fmla="*/ 787879 h 3748140"/>
              <a:gd name="connsiteX39" fmla="*/ 1592357 w 4366182"/>
              <a:gd name="connsiteY39" fmla="*/ 729903 h 3748140"/>
              <a:gd name="connsiteX40" fmla="*/ 1702424 w 4366182"/>
              <a:gd name="connsiteY40" fmla="*/ 665901 h 3748140"/>
              <a:gd name="connsiteX41" fmla="*/ 1833657 w 4366182"/>
              <a:gd name="connsiteY41" fmla="*/ 595758 h 3748140"/>
              <a:gd name="connsiteX42" fmla="*/ 2028390 w 4366182"/>
              <a:gd name="connsiteY42" fmla="*/ 500969 h 3748140"/>
              <a:gd name="connsiteX43" fmla="*/ 2200104 w 4366182"/>
              <a:gd name="connsiteY43" fmla="*/ 428696 h 3748140"/>
              <a:gd name="connsiteX44" fmla="*/ 2379152 w 4366182"/>
              <a:gd name="connsiteY44" fmla="*/ 349380 h 3748140"/>
              <a:gd name="connsiteX45" fmla="*/ 2546356 w 4366182"/>
              <a:gd name="connsiteY45" fmla="*/ 295349 h 3748140"/>
              <a:gd name="connsiteX46" fmla="*/ 2791042 w 4366182"/>
              <a:gd name="connsiteY46"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981023 w 4366182"/>
              <a:gd name="connsiteY17" fmla="*/ 3221820 h 3748140"/>
              <a:gd name="connsiteX18" fmla="*/ 1718557 w 4366182"/>
              <a:gd name="connsiteY18" fmla="*/ 3089203 h 3748140"/>
              <a:gd name="connsiteX19" fmla="*/ 1481491 w 4366182"/>
              <a:gd name="connsiteY19" fmla="*/ 2959900 h 3748140"/>
              <a:gd name="connsiteX20" fmla="*/ 1235958 w 4366182"/>
              <a:gd name="connsiteY20" fmla="*/ 2807391 h 3748140"/>
              <a:gd name="connsiteX21" fmla="*/ 969257 w 4366182"/>
              <a:gd name="connsiteY21" fmla="*/ 2634988 h 3748140"/>
              <a:gd name="connsiteX22" fmla="*/ 804957 w 4366182"/>
              <a:gd name="connsiteY22" fmla="*/ 2524743 h 3748140"/>
              <a:gd name="connsiteX23" fmla="*/ 669490 w 4366182"/>
              <a:gd name="connsiteY23" fmla="*/ 2420660 h 3748140"/>
              <a:gd name="connsiteX24" fmla="*/ 474757 w 4366182"/>
              <a:gd name="connsiteY24" fmla="*/ 2273630 h 3748140"/>
              <a:gd name="connsiteX25" fmla="*/ 335057 w 4366182"/>
              <a:gd name="connsiteY25" fmla="*/ 2151653 h 3748140"/>
              <a:gd name="connsiteX26" fmla="*/ 148790 w 4366182"/>
              <a:gd name="connsiteY26" fmla="*/ 1999545 h 3748140"/>
              <a:gd name="connsiteX27" fmla="*/ 0 w 4366182"/>
              <a:gd name="connsiteY27" fmla="*/ 1876130 h 3748140"/>
              <a:gd name="connsiteX28" fmla="*/ 233633 w 4366182"/>
              <a:gd name="connsiteY28" fmla="*/ 1658188 h 3748140"/>
              <a:gd name="connsiteX29" fmla="*/ 450333 w 4366182"/>
              <a:gd name="connsiteY29" fmla="*/ 1473589 h 3748140"/>
              <a:gd name="connsiteX30" fmla="*/ 567420 w 4366182"/>
              <a:gd name="connsiteY30" fmla="*/ 1385359 h 3748140"/>
              <a:gd name="connsiteX31" fmla="*/ 684506 w 4366182"/>
              <a:gd name="connsiteY31" fmla="*/ 1297925 h 3748140"/>
              <a:gd name="connsiteX32" fmla="*/ 898091 w 4366182"/>
              <a:gd name="connsiteY32" fmla="*/ 1150957 h 3748140"/>
              <a:gd name="connsiteX33" fmla="*/ 1088590 w 4366182"/>
              <a:gd name="connsiteY33" fmla="*/ 1026780 h 3748140"/>
              <a:gd name="connsiteX34" fmla="*/ 1169023 w 4366182"/>
              <a:gd name="connsiteY34" fmla="*/ 969019 h 3748140"/>
              <a:gd name="connsiteX35" fmla="*/ 1279091 w 4366182"/>
              <a:gd name="connsiteY35" fmla="*/ 903112 h 3748140"/>
              <a:gd name="connsiteX36" fmla="*/ 1270624 w 4366182"/>
              <a:gd name="connsiteY36" fmla="*/ 903542 h 3748140"/>
              <a:gd name="connsiteX37" fmla="*/ 1401857 w 4366182"/>
              <a:gd name="connsiteY37" fmla="*/ 837077 h 3748140"/>
              <a:gd name="connsiteX38" fmla="*/ 1486524 w 4366182"/>
              <a:gd name="connsiteY38" fmla="*/ 787879 h 3748140"/>
              <a:gd name="connsiteX39" fmla="*/ 1592357 w 4366182"/>
              <a:gd name="connsiteY39" fmla="*/ 729903 h 3748140"/>
              <a:gd name="connsiteX40" fmla="*/ 1702424 w 4366182"/>
              <a:gd name="connsiteY40" fmla="*/ 665901 h 3748140"/>
              <a:gd name="connsiteX41" fmla="*/ 1833657 w 4366182"/>
              <a:gd name="connsiteY41" fmla="*/ 595758 h 3748140"/>
              <a:gd name="connsiteX42" fmla="*/ 2028390 w 4366182"/>
              <a:gd name="connsiteY42" fmla="*/ 500969 h 3748140"/>
              <a:gd name="connsiteX43" fmla="*/ 2200104 w 4366182"/>
              <a:gd name="connsiteY43" fmla="*/ 428696 h 3748140"/>
              <a:gd name="connsiteX44" fmla="*/ 2379152 w 4366182"/>
              <a:gd name="connsiteY44" fmla="*/ 349380 h 3748140"/>
              <a:gd name="connsiteX45" fmla="*/ 2546356 w 4366182"/>
              <a:gd name="connsiteY45" fmla="*/ 295349 h 3748140"/>
              <a:gd name="connsiteX46" fmla="*/ 2791042 w 4366182"/>
              <a:gd name="connsiteY46"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90057 w 4366182"/>
              <a:gd name="connsiteY17" fmla="*/ 343732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90057 w 4366182"/>
              <a:gd name="connsiteY17" fmla="*/ 343732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05390 w 4366182"/>
              <a:gd name="connsiteY17" fmla="*/ 332128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05390 w 4366182"/>
              <a:gd name="connsiteY17" fmla="*/ 332128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09623 w 4366182"/>
              <a:gd name="connsiteY17" fmla="*/ 3311338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22323 w 4366182"/>
              <a:gd name="connsiteY17" fmla="*/ 3324600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442457 w 4366182"/>
              <a:gd name="connsiteY17" fmla="*/ 3626304 h 3748140"/>
              <a:gd name="connsiteX18" fmla="*/ 2222323 w 4366182"/>
              <a:gd name="connsiteY18" fmla="*/ 3324600 h 3748140"/>
              <a:gd name="connsiteX19" fmla="*/ 1981023 w 4366182"/>
              <a:gd name="connsiteY19" fmla="*/ 3221820 h 3748140"/>
              <a:gd name="connsiteX20" fmla="*/ 1718557 w 4366182"/>
              <a:gd name="connsiteY20" fmla="*/ 3089203 h 3748140"/>
              <a:gd name="connsiteX21" fmla="*/ 1481491 w 4366182"/>
              <a:gd name="connsiteY21" fmla="*/ 2959900 h 3748140"/>
              <a:gd name="connsiteX22" fmla="*/ 1235958 w 4366182"/>
              <a:gd name="connsiteY22" fmla="*/ 2807391 h 3748140"/>
              <a:gd name="connsiteX23" fmla="*/ 969257 w 4366182"/>
              <a:gd name="connsiteY23" fmla="*/ 2634988 h 3748140"/>
              <a:gd name="connsiteX24" fmla="*/ 804957 w 4366182"/>
              <a:gd name="connsiteY24" fmla="*/ 2524743 h 3748140"/>
              <a:gd name="connsiteX25" fmla="*/ 669490 w 4366182"/>
              <a:gd name="connsiteY25" fmla="*/ 2420660 h 3748140"/>
              <a:gd name="connsiteX26" fmla="*/ 474757 w 4366182"/>
              <a:gd name="connsiteY26" fmla="*/ 2273630 h 3748140"/>
              <a:gd name="connsiteX27" fmla="*/ 335057 w 4366182"/>
              <a:gd name="connsiteY27" fmla="*/ 2151653 h 3748140"/>
              <a:gd name="connsiteX28" fmla="*/ 148790 w 4366182"/>
              <a:gd name="connsiteY28" fmla="*/ 1999545 h 3748140"/>
              <a:gd name="connsiteX29" fmla="*/ 0 w 4366182"/>
              <a:gd name="connsiteY29" fmla="*/ 1876130 h 3748140"/>
              <a:gd name="connsiteX30" fmla="*/ 233633 w 4366182"/>
              <a:gd name="connsiteY30" fmla="*/ 1658188 h 3748140"/>
              <a:gd name="connsiteX31" fmla="*/ 450333 w 4366182"/>
              <a:gd name="connsiteY31" fmla="*/ 1473589 h 3748140"/>
              <a:gd name="connsiteX32" fmla="*/ 567420 w 4366182"/>
              <a:gd name="connsiteY32" fmla="*/ 1385359 h 3748140"/>
              <a:gd name="connsiteX33" fmla="*/ 684506 w 4366182"/>
              <a:gd name="connsiteY33" fmla="*/ 1297925 h 3748140"/>
              <a:gd name="connsiteX34" fmla="*/ 898091 w 4366182"/>
              <a:gd name="connsiteY34" fmla="*/ 1150957 h 3748140"/>
              <a:gd name="connsiteX35" fmla="*/ 1088590 w 4366182"/>
              <a:gd name="connsiteY35" fmla="*/ 1026780 h 3748140"/>
              <a:gd name="connsiteX36" fmla="*/ 1169023 w 4366182"/>
              <a:gd name="connsiteY36" fmla="*/ 969019 h 3748140"/>
              <a:gd name="connsiteX37" fmla="*/ 1279091 w 4366182"/>
              <a:gd name="connsiteY37" fmla="*/ 903112 h 3748140"/>
              <a:gd name="connsiteX38" fmla="*/ 1270624 w 4366182"/>
              <a:gd name="connsiteY38" fmla="*/ 903542 h 3748140"/>
              <a:gd name="connsiteX39" fmla="*/ 1401857 w 4366182"/>
              <a:gd name="connsiteY39" fmla="*/ 837077 h 3748140"/>
              <a:gd name="connsiteX40" fmla="*/ 1486524 w 4366182"/>
              <a:gd name="connsiteY40" fmla="*/ 787879 h 3748140"/>
              <a:gd name="connsiteX41" fmla="*/ 1592357 w 4366182"/>
              <a:gd name="connsiteY41" fmla="*/ 729903 h 3748140"/>
              <a:gd name="connsiteX42" fmla="*/ 1702424 w 4366182"/>
              <a:gd name="connsiteY42" fmla="*/ 665901 h 3748140"/>
              <a:gd name="connsiteX43" fmla="*/ 1833657 w 4366182"/>
              <a:gd name="connsiteY43" fmla="*/ 595758 h 3748140"/>
              <a:gd name="connsiteX44" fmla="*/ 2028390 w 4366182"/>
              <a:gd name="connsiteY44" fmla="*/ 500969 h 3748140"/>
              <a:gd name="connsiteX45" fmla="*/ 2200104 w 4366182"/>
              <a:gd name="connsiteY45" fmla="*/ 428696 h 3748140"/>
              <a:gd name="connsiteX46" fmla="*/ 2379152 w 4366182"/>
              <a:gd name="connsiteY46" fmla="*/ 349380 h 3748140"/>
              <a:gd name="connsiteX47" fmla="*/ 2546356 w 4366182"/>
              <a:gd name="connsiteY47" fmla="*/ 295349 h 3748140"/>
              <a:gd name="connsiteX48" fmla="*/ 2791042 w 4366182"/>
              <a:gd name="connsiteY48"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442457 w 4366182"/>
              <a:gd name="connsiteY17" fmla="*/ 3626304 h 3748140"/>
              <a:gd name="connsiteX18" fmla="*/ 2222323 w 4366182"/>
              <a:gd name="connsiteY18" fmla="*/ 3324600 h 3748140"/>
              <a:gd name="connsiteX19" fmla="*/ 1981023 w 4366182"/>
              <a:gd name="connsiteY19" fmla="*/ 3221820 h 3748140"/>
              <a:gd name="connsiteX20" fmla="*/ 1718557 w 4366182"/>
              <a:gd name="connsiteY20" fmla="*/ 3089203 h 3748140"/>
              <a:gd name="connsiteX21" fmla="*/ 1481491 w 4366182"/>
              <a:gd name="connsiteY21" fmla="*/ 2959900 h 3748140"/>
              <a:gd name="connsiteX22" fmla="*/ 1235958 w 4366182"/>
              <a:gd name="connsiteY22" fmla="*/ 2807391 h 3748140"/>
              <a:gd name="connsiteX23" fmla="*/ 969257 w 4366182"/>
              <a:gd name="connsiteY23" fmla="*/ 2634988 h 3748140"/>
              <a:gd name="connsiteX24" fmla="*/ 804957 w 4366182"/>
              <a:gd name="connsiteY24" fmla="*/ 2524743 h 3748140"/>
              <a:gd name="connsiteX25" fmla="*/ 669490 w 4366182"/>
              <a:gd name="connsiteY25" fmla="*/ 2420660 h 3748140"/>
              <a:gd name="connsiteX26" fmla="*/ 474757 w 4366182"/>
              <a:gd name="connsiteY26" fmla="*/ 2273630 h 3748140"/>
              <a:gd name="connsiteX27" fmla="*/ 335057 w 4366182"/>
              <a:gd name="connsiteY27" fmla="*/ 2151653 h 3748140"/>
              <a:gd name="connsiteX28" fmla="*/ 148790 w 4366182"/>
              <a:gd name="connsiteY28" fmla="*/ 1999545 h 3748140"/>
              <a:gd name="connsiteX29" fmla="*/ 0 w 4366182"/>
              <a:gd name="connsiteY29" fmla="*/ 1876130 h 3748140"/>
              <a:gd name="connsiteX30" fmla="*/ 233633 w 4366182"/>
              <a:gd name="connsiteY30" fmla="*/ 1658188 h 3748140"/>
              <a:gd name="connsiteX31" fmla="*/ 450333 w 4366182"/>
              <a:gd name="connsiteY31" fmla="*/ 1473589 h 3748140"/>
              <a:gd name="connsiteX32" fmla="*/ 567420 w 4366182"/>
              <a:gd name="connsiteY32" fmla="*/ 1385359 h 3748140"/>
              <a:gd name="connsiteX33" fmla="*/ 684506 w 4366182"/>
              <a:gd name="connsiteY33" fmla="*/ 1297925 h 3748140"/>
              <a:gd name="connsiteX34" fmla="*/ 898091 w 4366182"/>
              <a:gd name="connsiteY34" fmla="*/ 1150957 h 3748140"/>
              <a:gd name="connsiteX35" fmla="*/ 1088590 w 4366182"/>
              <a:gd name="connsiteY35" fmla="*/ 1026780 h 3748140"/>
              <a:gd name="connsiteX36" fmla="*/ 1169023 w 4366182"/>
              <a:gd name="connsiteY36" fmla="*/ 969019 h 3748140"/>
              <a:gd name="connsiteX37" fmla="*/ 1279091 w 4366182"/>
              <a:gd name="connsiteY37" fmla="*/ 903112 h 3748140"/>
              <a:gd name="connsiteX38" fmla="*/ 1270624 w 4366182"/>
              <a:gd name="connsiteY38" fmla="*/ 903542 h 3748140"/>
              <a:gd name="connsiteX39" fmla="*/ 1401857 w 4366182"/>
              <a:gd name="connsiteY39" fmla="*/ 837077 h 3748140"/>
              <a:gd name="connsiteX40" fmla="*/ 1486524 w 4366182"/>
              <a:gd name="connsiteY40" fmla="*/ 787879 h 3748140"/>
              <a:gd name="connsiteX41" fmla="*/ 1592357 w 4366182"/>
              <a:gd name="connsiteY41" fmla="*/ 729903 h 3748140"/>
              <a:gd name="connsiteX42" fmla="*/ 1702424 w 4366182"/>
              <a:gd name="connsiteY42" fmla="*/ 665901 h 3748140"/>
              <a:gd name="connsiteX43" fmla="*/ 1833657 w 4366182"/>
              <a:gd name="connsiteY43" fmla="*/ 595758 h 3748140"/>
              <a:gd name="connsiteX44" fmla="*/ 2028390 w 4366182"/>
              <a:gd name="connsiteY44" fmla="*/ 500969 h 3748140"/>
              <a:gd name="connsiteX45" fmla="*/ 2200104 w 4366182"/>
              <a:gd name="connsiteY45" fmla="*/ 428696 h 3748140"/>
              <a:gd name="connsiteX46" fmla="*/ 2379152 w 4366182"/>
              <a:gd name="connsiteY46" fmla="*/ 349380 h 3748140"/>
              <a:gd name="connsiteX47" fmla="*/ 2546356 w 4366182"/>
              <a:gd name="connsiteY47" fmla="*/ 295349 h 3748140"/>
              <a:gd name="connsiteX48" fmla="*/ 2791042 w 4366182"/>
              <a:gd name="connsiteY48"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463623 w 4366182"/>
              <a:gd name="connsiteY17" fmla="*/ 3410800 h 3748140"/>
              <a:gd name="connsiteX18" fmla="*/ 2222323 w 4366182"/>
              <a:gd name="connsiteY18" fmla="*/ 3324600 h 3748140"/>
              <a:gd name="connsiteX19" fmla="*/ 1981023 w 4366182"/>
              <a:gd name="connsiteY19" fmla="*/ 3221820 h 3748140"/>
              <a:gd name="connsiteX20" fmla="*/ 1718557 w 4366182"/>
              <a:gd name="connsiteY20" fmla="*/ 3089203 h 3748140"/>
              <a:gd name="connsiteX21" fmla="*/ 1481491 w 4366182"/>
              <a:gd name="connsiteY21" fmla="*/ 2959900 h 3748140"/>
              <a:gd name="connsiteX22" fmla="*/ 1235958 w 4366182"/>
              <a:gd name="connsiteY22" fmla="*/ 2807391 h 3748140"/>
              <a:gd name="connsiteX23" fmla="*/ 969257 w 4366182"/>
              <a:gd name="connsiteY23" fmla="*/ 2634988 h 3748140"/>
              <a:gd name="connsiteX24" fmla="*/ 804957 w 4366182"/>
              <a:gd name="connsiteY24" fmla="*/ 2524743 h 3748140"/>
              <a:gd name="connsiteX25" fmla="*/ 669490 w 4366182"/>
              <a:gd name="connsiteY25" fmla="*/ 2420660 h 3748140"/>
              <a:gd name="connsiteX26" fmla="*/ 474757 w 4366182"/>
              <a:gd name="connsiteY26" fmla="*/ 2273630 h 3748140"/>
              <a:gd name="connsiteX27" fmla="*/ 335057 w 4366182"/>
              <a:gd name="connsiteY27" fmla="*/ 2151653 h 3748140"/>
              <a:gd name="connsiteX28" fmla="*/ 148790 w 4366182"/>
              <a:gd name="connsiteY28" fmla="*/ 1999545 h 3748140"/>
              <a:gd name="connsiteX29" fmla="*/ 0 w 4366182"/>
              <a:gd name="connsiteY29" fmla="*/ 1876130 h 3748140"/>
              <a:gd name="connsiteX30" fmla="*/ 233633 w 4366182"/>
              <a:gd name="connsiteY30" fmla="*/ 1658188 h 3748140"/>
              <a:gd name="connsiteX31" fmla="*/ 450333 w 4366182"/>
              <a:gd name="connsiteY31" fmla="*/ 1473589 h 3748140"/>
              <a:gd name="connsiteX32" fmla="*/ 567420 w 4366182"/>
              <a:gd name="connsiteY32" fmla="*/ 1385359 h 3748140"/>
              <a:gd name="connsiteX33" fmla="*/ 684506 w 4366182"/>
              <a:gd name="connsiteY33" fmla="*/ 1297925 h 3748140"/>
              <a:gd name="connsiteX34" fmla="*/ 898091 w 4366182"/>
              <a:gd name="connsiteY34" fmla="*/ 1150957 h 3748140"/>
              <a:gd name="connsiteX35" fmla="*/ 1088590 w 4366182"/>
              <a:gd name="connsiteY35" fmla="*/ 1026780 h 3748140"/>
              <a:gd name="connsiteX36" fmla="*/ 1169023 w 4366182"/>
              <a:gd name="connsiteY36" fmla="*/ 969019 h 3748140"/>
              <a:gd name="connsiteX37" fmla="*/ 1279091 w 4366182"/>
              <a:gd name="connsiteY37" fmla="*/ 903112 h 3748140"/>
              <a:gd name="connsiteX38" fmla="*/ 1270624 w 4366182"/>
              <a:gd name="connsiteY38" fmla="*/ 903542 h 3748140"/>
              <a:gd name="connsiteX39" fmla="*/ 1401857 w 4366182"/>
              <a:gd name="connsiteY39" fmla="*/ 837077 h 3748140"/>
              <a:gd name="connsiteX40" fmla="*/ 1486524 w 4366182"/>
              <a:gd name="connsiteY40" fmla="*/ 787879 h 3748140"/>
              <a:gd name="connsiteX41" fmla="*/ 1592357 w 4366182"/>
              <a:gd name="connsiteY41" fmla="*/ 729903 h 3748140"/>
              <a:gd name="connsiteX42" fmla="*/ 1702424 w 4366182"/>
              <a:gd name="connsiteY42" fmla="*/ 665901 h 3748140"/>
              <a:gd name="connsiteX43" fmla="*/ 1833657 w 4366182"/>
              <a:gd name="connsiteY43" fmla="*/ 595758 h 3748140"/>
              <a:gd name="connsiteX44" fmla="*/ 2028390 w 4366182"/>
              <a:gd name="connsiteY44" fmla="*/ 500969 h 3748140"/>
              <a:gd name="connsiteX45" fmla="*/ 2200104 w 4366182"/>
              <a:gd name="connsiteY45" fmla="*/ 428696 h 3748140"/>
              <a:gd name="connsiteX46" fmla="*/ 2379152 w 4366182"/>
              <a:gd name="connsiteY46" fmla="*/ 349380 h 3748140"/>
              <a:gd name="connsiteX47" fmla="*/ 2546356 w 4366182"/>
              <a:gd name="connsiteY47" fmla="*/ 295349 h 3748140"/>
              <a:gd name="connsiteX48" fmla="*/ 2791042 w 4366182"/>
              <a:gd name="connsiteY48"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654124 w 4366182"/>
              <a:gd name="connsiteY17" fmla="*/ 3636250 h 3748140"/>
              <a:gd name="connsiteX18" fmla="*/ 2463623 w 4366182"/>
              <a:gd name="connsiteY18" fmla="*/ 3410800 h 3748140"/>
              <a:gd name="connsiteX19" fmla="*/ 2222323 w 4366182"/>
              <a:gd name="connsiteY19" fmla="*/ 3324600 h 3748140"/>
              <a:gd name="connsiteX20" fmla="*/ 1981023 w 4366182"/>
              <a:gd name="connsiteY20" fmla="*/ 3221820 h 3748140"/>
              <a:gd name="connsiteX21" fmla="*/ 1718557 w 4366182"/>
              <a:gd name="connsiteY21" fmla="*/ 3089203 h 3748140"/>
              <a:gd name="connsiteX22" fmla="*/ 1481491 w 4366182"/>
              <a:gd name="connsiteY22" fmla="*/ 2959900 h 3748140"/>
              <a:gd name="connsiteX23" fmla="*/ 1235958 w 4366182"/>
              <a:gd name="connsiteY23" fmla="*/ 2807391 h 3748140"/>
              <a:gd name="connsiteX24" fmla="*/ 969257 w 4366182"/>
              <a:gd name="connsiteY24" fmla="*/ 2634988 h 3748140"/>
              <a:gd name="connsiteX25" fmla="*/ 804957 w 4366182"/>
              <a:gd name="connsiteY25" fmla="*/ 2524743 h 3748140"/>
              <a:gd name="connsiteX26" fmla="*/ 669490 w 4366182"/>
              <a:gd name="connsiteY26" fmla="*/ 2420660 h 3748140"/>
              <a:gd name="connsiteX27" fmla="*/ 474757 w 4366182"/>
              <a:gd name="connsiteY27" fmla="*/ 2273630 h 3748140"/>
              <a:gd name="connsiteX28" fmla="*/ 335057 w 4366182"/>
              <a:gd name="connsiteY28" fmla="*/ 2151653 h 3748140"/>
              <a:gd name="connsiteX29" fmla="*/ 148790 w 4366182"/>
              <a:gd name="connsiteY29" fmla="*/ 1999545 h 3748140"/>
              <a:gd name="connsiteX30" fmla="*/ 0 w 4366182"/>
              <a:gd name="connsiteY30" fmla="*/ 1876130 h 3748140"/>
              <a:gd name="connsiteX31" fmla="*/ 233633 w 4366182"/>
              <a:gd name="connsiteY31" fmla="*/ 1658188 h 3748140"/>
              <a:gd name="connsiteX32" fmla="*/ 450333 w 4366182"/>
              <a:gd name="connsiteY32" fmla="*/ 1473589 h 3748140"/>
              <a:gd name="connsiteX33" fmla="*/ 567420 w 4366182"/>
              <a:gd name="connsiteY33" fmla="*/ 1385359 h 3748140"/>
              <a:gd name="connsiteX34" fmla="*/ 684506 w 4366182"/>
              <a:gd name="connsiteY34" fmla="*/ 1297925 h 3748140"/>
              <a:gd name="connsiteX35" fmla="*/ 898091 w 4366182"/>
              <a:gd name="connsiteY35" fmla="*/ 1150957 h 3748140"/>
              <a:gd name="connsiteX36" fmla="*/ 1088590 w 4366182"/>
              <a:gd name="connsiteY36" fmla="*/ 1026780 h 3748140"/>
              <a:gd name="connsiteX37" fmla="*/ 1169023 w 4366182"/>
              <a:gd name="connsiteY37" fmla="*/ 969019 h 3748140"/>
              <a:gd name="connsiteX38" fmla="*/ 1279091 w 4366182"/>
              <a:gd name="connsiteY38" fmla="*/ 903112 h 3748140"/>
              <a:gd name="connsiteX39" fmla="*/ 1270624 w 4366182"/>
              <a:gd name="connsiteY39" fmla="*/ 903542 h 3748140"/>
              <a:gd name="connsiteX40" fmla="*/ 1401857 w 4366182"/>
              <a:gd name="connsiteY40" fmla="*/ 837077 h 3748140"/>
              <a:gd name="connsiteX41" fmla="*/ 1486524 w 4366182"/>
              <a:gd name="connsiteY41" fmla="*/ 787879 h 3748140"/>
              <a:gd name="connsiteX42" fmla="*/ 1592357 w 4366182"/>
              <a:gd name="connsiteY42" fmla="*/ 729903 h 3748140"/>
              <a:gd name="connsiteX43" fmla="*/ 1702424 w 4366182"/>
              <a:gd name="connsiteY43" fmla="*/ 665901 h 3748140"/>
              <a:gd name="connsiteX44" fmla="*/ 1833657 w 4366182"/>
              <a:gd name="connsiteY44" fmla="*/ 595758 h 3748140"/>
              <a:gd name="connsiteX45" fmla="*/ 2028390 w 4366182"/>
              <a:gd name="connsiteY45" fmla="*/ 500969 h 3748140"/>
              <a:gd name="connsiteX46" fmla="*/ 2200104 w 4366182"/>
              <a:gd name="connsiteY46" fmla="*/ 428696 h 3748140"/>
              <a:gd name="connsiteX47" fmla="*/ 2379152 w 4366182"/>
              <a:gd name="connsiteY47" fmla="*/ 349380 h 3748140"/>
              <a:gd name="connsiteX48" fmla="*/ 2546356 w 4366182"/>
              <a:gd name="connsiteY48" fmla="*/ 295349 h 3748140"/>
              <a:gd name="connsiteX49" fmla="*/ 2791042 w 4366182"/>
              <a:gd name="connsiteY49"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654124 w 4366182"/>
              <a:gd name="connsiteY17" fmla="*/ 3636250 h 3748140"/>
              <a:gd name="connsiteX18" fmla="*/ 2463623 w 4366182"/>
              <a:gd name="connsiteY18" fmla="*/ 3410800 h 3748140"/>
              <a:gd name="connsiteX19" fmla="*/ 2222323 w 4366182"/>
              <a:gd name="connsiteY19" fmla="*/ 3324600 h 3748140"/>
              <a:gd name="connsiteX20" fmla="*/ 1981023 w 4366182"/>
              <a:gd name="connsiteY20" fmla="*/ 3221820 h 3748140"/>
              <a:gd name="connsiteX21" fmla="*/ 1718557 w 4366182"/>
              <a:gd name="connsiteY21" fmla="*/ 3089203 h 3748140"/>
              <a:gd name="connsiteX22" fmla="*/ 1481491 w 4366182"/>
              <a:gd name="connsiteY22" fmla="*/ 2959900 h 3748140"/>
              <a:gd name="connsiteX23" fmla="*/ 1235958 w 4366182"/>
              <a:gd name="connsiteY23" fmla="*/ 2807391 h 3748140"/>
              <a:gd name="connsiteX24" fmla="*/ 969257 w 4366182"/>
              <a:gd name="connsiteY24" fmla="*/ 2634988 h 3748140"/>
              <a:gd name="connsiteX25" fmla="*/ 804957 w 4366182"/>
              <a:gd name="connsiteY25" fmla="*/ 2524743 h 3748140"/>
              <a:gd name="connsiteX26" fmla="*/ 669490 w 4366182"/>
              <a:gd name="connsiteY26" fmla="*/ 2420660 h 3748140"/>
              <a:gd name="connsiteX27" fmla="*/ 474757 w 4366182"/>
              <a:gd name="connsiteY27" fmla="*/ 2273630 h 3748140"/>
              <a:gd name="connsiteX28" fmla="*/ 335057 w 4366182"/>
              <a:gd name="connsiteY28" fmla="*/ 2151653 h 3748140"/>
              <a:gd name="connsiteX29" fmla="*/ 148790 w 4366182"/>
              <a:gd name="connsiteY29" fmla="*/ 1999545 h 3748140"/>
              <a:gd name="connsiteX30" fmla="*/ 0 w 4366182"/>
              <a:gd name="connsiteY30" fmla="*/ 1876130 h 3748140"/>
              <a:gd name="connsiteX31" fmla="*/ 233633 w 4366182"/>
              <a:gd name="connsiteY31" fmla="*/ 1658188 h 3748140"/>
              <a:gd name="connsiteX32" fmla="*/ 450333 w 4366182"/>
              <a:gd name="connsiteY32" fmla="*/ 1473589 h 3748140"/>
              <a:gd name="connsiteX33" fmla="*/ 567420 w 4366182"/>
              <a:gd name="connsiteY33" fmla="*/ 1385359 h 3748140"/>
              <a:gd name="connsiteX34" fmla="*/ 684506 w 4366182"/>
              <a:gd name="connsiteY34" fmla="*/ 1297925 h 3748140"/>
              <a:gd name="connsiteX35" fmla="*/ 898091 w 4366182"/>
              <a:gd name="connsiteY35" fmla="*/ 1150957 h 3748140"/>
              <a:gd name="connsiteX36" fmla="*/ 1088590 w 4366182"/>
              <a:gd name="connsiteY36" fmla="*/ 1026780 h 3748140"/>
              <a:gd name="connsiteX37" fmla="*/ 1169023 w 4366182"/>
              <a:gd name="connsiteY37" fmla="*/ 969019 h 3748140"/>
              <a:gd name="connsiteX38" fmla="*/ 1279091 w 4366182"/>
              <a:gd name="connsiteY38" fmla="*/ 903112 h 3748140"/>
              <a:gd name="connsiteX39" fmla="*/ 1270624 w 4366182"/>
              <a:gd name="connsiteY39" fmla="*/ 903542 h 3748140"/>
              <a:gd name="connsiteX40" fmla="*/ 1401857 w 4366182"/>
              <a:gd name="connsiteY40" fmla="*/ 837077 h 3748140"/>
              <a:gd name="connsiteX41" fmla="*/ 1486524 w 4366182"/>
              <a:gd name="connsiteY41" fmla="*/ 787879 h 3748140"/>
              <a:gd name="connsiteX42" fmla="*/ 1592357 w 4366182"/>
              <a:gd name="connsiteY42" fmla="*/ 729903 h 3748140"/>
              <a:gd name="connsiteX43" fmla="*/ 1702424 w 4366182"/>
              <a:gd name="connsiteY43" fmla="*/ 665901 h 3748140"/>
              <a:gd name="connsiteX44" fmla="*/ 1833657 w 4366182"/>
              <a:gd name="connsiteY44" fmla="*/ 595758 h 3748140"/>
              <a:gd name="connsiteX45" fmla="*/ 2028390 w 4366182"/>
              <a:gd name="connsiteY45" fmla="*/ 500969 h 3748140"/>
              <a:gd name="connsiteX46" fmla="*/ 2200104 w 4366182"/>
              <a:gd name="connsiteY46" fmla="*/ 428696 h 3748140"/>
              <a:gd name="connsiteX47" fmla="*/ 2379152 w 4366182"/>
              <a:gd name="connsiteY47" fmla="*/ 349380 h 3748140"/>
              <a:gd name="connsiteX48" fmla="*/ 2546356 w 4366182"/>
              <a:gd name="connsiteY48" fmla="*/ 295349 h 3748140"/>
              <a:gd name="connsiteX49" fmla="*/ 2791042 w 4366182"/>
              <a:gd name="connsiteY49"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692224 w 4366182"/>
              <a:gd name="connsiteY17" fmla="*/ 3483741 h 3748140"/>
              <a:gd name="connsiteX18" fmla="*/ 2463623 w 4366182"/>
              <a:gd name="connsiteY18" fmla="*/ 3410800 h 3748140"/>
              <a:gd name="connsiteX19" fmla="*/ 2222323 w 4366182"/>
              <a:gd name="connsiteY19" fmla="*/ 3324600 h 3748140"/>
              <a:gd name="connsiteX20" fmla="*/ 1981023 w 4366182"/>
              <a:gd name="connsiteY20" fmla="*/ 3221820 h 3748140"/>
              <a:gd name="connsiteX21" fmla="*/ 1718557 w 4366182"/>
              <a:gd name="connsiteY21" fmla="*/ 3089203 h 3748140"/>
              <a:gd name="connsiteX22" fmla="*/ 1481491 w 4366182"/>
              <a:gd name="connsiteY22" fmla="*/ 2959900 h 3748140"/>
              <a:gd name="connsiteX23" fmla="*/ 1235958 w 4366182"/>
              <a:gd name="connsiteY23" fmla="*/ 2807391 h 3748140"/>
              <a:gd name="connsiteX24" fmla="*/ 969257 w 4366182"/>
              <a:gd name="connsiteY24" fmla="*/ 2634988 h 3748140"/>
              <a:gd name="connsiteX25" fmla="*/ 804957 w 4366182"/>
              <a:gd name="connsiteY25" fmla="*/ 2524743 h 3748140"/>
              <a:gd name="connsiteX26" fmla="*/ 669490 w 4366182"/>
              <a:gd name="connsiteY26" fmla="*/ 2420660 h 3748140"/>
              <a:gd name="connsiteX27" fmla="*/ 474757 w 4366182"/>
              <a:gd name="connsiteY27" fmla="*/ 2273630 h 3748140"/>
              <a:gd name="connsiteX28" fmla="*/ 335057 w 4366182"/>
              <a:gd name="connsiteY28" fmla="*/ 2151653 h 3748140"/>
              <a:gd name="connsiteX29" fmla="*/ 148790 w 4366182"/>
              <a:gd name="connsiteY29" fmla="*/ 1999545 h 3748140"/>
              <a:gd name="connsiteX30" fmla="*/ 0 w 4366182"/>
              <a:gd name="connsiteY30" fmla="*/ 1876130 h 3748140"/>
              <a:gd name="connsiteX31" fmla="*/ 233633 w 4366182"/>
              <a:gd name="connsiteY31" fmla="*/ 1658188 h 3748140"/>
              <a:gd name="connsiteX32" fmla="*/ 450333 w 4366182"/>
              <a:gd name="connsiteY32" fmla="*/ 1473589 h 3748140"/>
              <a:gd name="connsiteX33" fmla="*/ 567420 w 4366182"/>
              <a:gd name="connsiteY33" fmla="*/ 1385359 h 3748140"/>
              <a:gd name="connsiteX34" fmla="*/ 684506 w 4366182"/>
              <a:gd name="connsiteY34" fmla="*/ 1297925 h 3748140"/>
              <a:gd name="connsiteX35" fmla="*/ 898091 w 4366182"/>
              <a:gd name="connsiteY35" fmla="*/ 1150957 h 3748140"/>
              <a:gd name="connsiteX36" fmla="*/ 1088590 w 4366182"/>
              <a:gd name="connsiteY36" fmla="*/ 1026780 h 3748140"/>
              <a:gd name="connsiteX37" fmla="*/ 1169023 w 4366182"/>
              <a:gd name="connsiteY37" fmla="*/ 969019 h 3748140"/>
              <a:gd name="connsiteX38" fmla="*/ 1279091 w 4366182"/>
              <a:gd name="connsiteY38" fmla="*/ 903112 h 3748140"/>
              <a:gd name="connsiteX39" fmla="*/ 1270624 w 4366182"/>
              <a:gd name="connsiteY39" fmla="*/ 903542 h 3748140"/>
              <a:gd name="connsiteX40" fmla="*/ 1401857 w 4366182"/>
              <a:gd name="connsiteY40" fmla="*/ 837077 h 3748140"/>
              <a:gd name="connsiteX41" fmla="*/ 1486524 w 4366182"/>
              <a:gd name="connsiteY41" fmla="*/ 787879 h 3748140"/>
              <a:gd name="connsiteX42" fmla="*/ 1592357 w 4366182"/>
              <a:gd name="connsiteY42" fmla="*/ 729903 h 3748140"/>
              <a:gd name="connsiteX43" fmla="*/ 1702424 w 4366182"/>
              <a:gd name="connsiteY43" fmla="*/ 665901 h 3748140"/>
              <a:gd name="connsiteX44" fmla="*/ 1833657 w 4366182"/>
              <a:gd name="connsiteY44" fmla="*/ 595758 h 3748140"/>
              <a:gd name="connsiteX45" fmla="*/ 2028390 w 4366182"/>
              <a:gd name="connsiteY45" fmla="*/ 500969 h 3748140"/>
              <a:gd name="connsiteX46" fmla="*/ 2200104 w 4366182"/>
              <a:gd name="connsiteY46" fmla="*/ 428696 h 3748140"/>
              <a:gd name="connsiteX47" fmla="*/ 2379152 w 4366182"/>
              <a:gd name="connsiteY47" fmla="*/ 349380 h 3748140"/>
              <a:gd name="connsiteX48" fmla="*/ 2546356 w 4366182"/>
              <a:gd name="connsiteY48" fmla="*/ 295349 h 3748140"/>
              <a:gd name="connsiteX49" fmla="*/ 2791042 w 4366182"/>
              <a:gd name="connsiteY49"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022424 w 4366182"/>
              <a:gd name="connsiteY17" fmla="*/ 3676036 h 3748140"/>
              <a:gd name="connsiteX18" fmla="*/ 2692224 w 4366182"/>
              <a:gd name="connsiteY18" fmla="*/ 3483741 h 3748140"/>
              <a:gd name="connsiteX19" fmla="*/ 2463623 w 4366182"/>
              <a:gd name="connsiteY19" fmla="*/ 3410800 h 3748140"/>
              <a:gd name="connsiteX20" fmla="*/ 2222323 w 4366182"/>
              <a:gd name="connsiteY20" fmla="*/ 3324600 h 3748140"/>
              <a:gd name="connsiteX21" fmla="*/ 1981023 w 4366182"/>
              <a:gd name="connsiteY21" fmla="*/ 3221820 h 3748140"/>
              <a:gd name="connsiteX22" fmla="*/ 1718557 w 4366182"/>
              <a:gd name="connsiteY22" fmla="*/ 3089203 h 3748140"/>
              <a:gd name="connsiteX23" fmla="*/ 1481491 w 4366182"/>
              <a:gd name="connsiteY23" fmla="*/ 2959900 h 3748140"/>
              <a:gd name="connsiteX24" fmla="*/ 1235958 w 4366182"/>
              <a:gd name="connsiteY24" fmla="*/ 2807391 h 3748140"/>
              <a:gd name="connsiteX25" fmla="*/ 969257 w 4366182"/>
              <a:gd name="connsiteY25" fmla="*/ 2634988 h 3748140"/>
              <a:gd name="connsiteX26" fmla="*/ 804957 w 4366182"/>
              <a:gd name="connsiteY26" fmla="*/ 2524743 h 3748140"/>
              <a:gd name="connsiteX27" fmla="*/ 669490 w 4366182"/>
              <a:gd name="connsiteY27" fmla="*/ 2420660 h 3748140"/>
              <a:gd name="connsiteX28" fmla="*/ 474757 w 4366182"/>
              <a:gd name="connsiteY28" fmla="*/ 2273630 h 3748140"/>
              <a:gd name="connsiteX29" fmla="*/ 335057 w 4366182"/>
              <a:gd name="connsiteY29" fmla="*/ 2151653 h 3748140"/>
              <a:gd name="connsiteX30" fmla="*/ 148790 w 4366182"/>
              <a:gd name="connsiteY30" fmla="*/ 1999545 h 3748140"/>
              <a:gd name="connsiteX31" fmla="*/ 0 w 4366182"/>
              <a:gd name="connsiteY31" fmla="*/ 1876130 h 3748140"/>
              <a:gd name="connsiteX32" fmla="*/ 233633 w 4366182"/>
              <a:gd name="connsiteY32" fmla="*/ 1658188 h 3748140"/>
              <a:gd name="connsiteX33" fmla="*/ 450333 w 4366182"/>
              <a:gd name="connsiteY33" fmla="*/ 1473589 h 3748140"/>
              <a:gd name="connsiteX34" fmla="*/ 567420 w 4366182"/>
              <a:gd name="connsiteY34" fmla="*/ 1385359 h 3748140"/>
              <a:gd name="connsiteX35" fmla="*/ 684506 w 4366182"/>
              <a:gd name="connsiteY35" fmla="*/ 1297925 h 3748140"/>
              <a:gd name="connsiteX36" fmla="*/ 898091 w 4366182"/>
              <a:gd name="connsiteY36" fmla="*/ 1150957 h 3748140"/>
              <a:gd name="connsiteX37" fmla="*/ 1088590 w 4366182"/>
              <a:gd name="connsiteY37" fmla="*/ 1026780 h 3748140"/>
              <a:gd name="connsiteX38" fmla="*/ 1169023 w 4366182"/>
              <a:gd name="connsiteY38" fmla="*/ 969019 h 3748140"/>
              <a:gd name="connsiteX39" fmla="*/ 1279091 w 4366182"/>
              <a:gd name="connsiteY39" fmla="*/ 903112 h 3748140"/>
              <a:gd name="connsiteX40" fmla="*/ 1270624 w 4366182"/>
              <a:gd name="connsiteY40" fmla="*/ 903542 h 3748140"/>
              <a:gd name="connsiteX41" fmla="*/ 1401857 w 4366182"/>
              <a:gd name="connsiteY41" fmla="*/ 837077 h 3748140"/>
              <a:gd name="connsiteX42" fmla="*/ 1486524 w 4366182"/>
              <a:gd name="connsiteY42" fmla="*/ 787879 h 3748140"/>
              <a:gd name="connsiteX43" fmla="*/ 1592357 w 4366182"/>
              <a:gd name="connsiteY43" fmla="*/ 729903 h 3748140"/>
              <a:gd name="connsiteX44" fmla="*/ 1702424 w 4366182"/>
              <a:gd name="connsiteY44" fmla="*/ 665901 h 3748140"/>
              <a:gd name="connsiteX45" fmla="*/ 1833657 w 4366182"/>
              <a:gd name="connsiteY45" fmla="*/ 595758 h 3748140"/>
              <a:gd name="connsiteX46" fmla="*/ 2028390 w 4366182"/>
              <a:gd name="connsiteY46" fmla="*/ 500969 h 3748140"/>
              <a:gd name="connsiteX47" fmla="*/ 2200104 w 4366182"/>
              <a:gd name="connsiteY47" fmla="*/ 428696 h 3748140"/>
              <a:gd name="connsiteX48" fmla="*/ 2379152 w 4366182"/>
              <a:gd name="connsiteY48" fmla="*/ 349380 h 3748140"/>
              <a:gd name="connsiteX49" fmla="*/ 2546356 w 4366182"/>
              <a:gd name="connsiteY49" fmla="*/ 295349 h 3748140"/>
              <a:gd name="connsiteX50" fmla="*/ 2791042 w 4366182"/>
              <a:gd name="connsiteY50"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022424 w 4366182"/>
              <a:gd name="connsiteY17" fmla="*/ 3676036 h 3748140"/>
              <a:gd name="connsiteX18" fmla="*/ 2692224 w 4366182"/>
              <a:gd name="connsiteY18" fmla="*/ 3483741 h 3748140"/>
              <a:gd name="connsiteX19" fmla="*/ 2463623 w 4366182"/>
              <a:gd name="connsiteY19" fmla="*/ 3410800 h 3748140"/>
              <a:gd name="connsiteX20" fmla="*/ 2222323 w 4366182"/>
              <a:gd name="connsiteY20" fmla="*/ 3324600 h 3748140"/>
              <a:gd name="connsiteX21" fmla="*/ 1981023 w 4366182"/>
              <a:gd name="connsiteY21" fmla="*/ 3221820 h 3748140"/>
              <a:gd name="connsiteX22" fmla="*/ 1718557 w 4366182"/>
              <a:gd name="connsiteY22" fmla="*/ 3089203 h 3748140"/>
              <a:gd name="connsiteX23" fmla="*/ 1481491 w 4366182"/>
              <a:gd name="connsiteY23" fmla="*/ 2959900 h 3748140"/>
              <a:gd name="connsiteX24" fmla="*/ 1235958 w 4366182"/>
              <a:gd name="connsiteY24" fmla="*/ 2807391 h 3748140"/>
              <a:gd name="connsiteX25" fmla="*/ 969257 w 4366182"/>
              <a:gd name="connsiteY25" fmla="*/ 2634988 h 3748140"/>
              <a:gd name="connsiteX26" fmla="*/ 804957 w 4366182"/>
              <a:gd name="connsiteY26" fmla="*/ 2524743 h 3748140"/>
              <a:gd name="connsiteX27" fmla="*/ 669490 w 4366182"/>
              <a:gd name="connsiteY27" fmla="*/ 2420660 h 3748140"/>
              <a:gd name="connsiteX28" fmla="*/ 474757 w 4366182"/>
              <a:gd name="connsiteY28" fmla="*/ 2273630 h 3748140"/>
              <a:gd name="connsiteX29" fmla="*/ 335057 w 4366182"/>
              <a:gd name="connsiteY29" fmla="*/ 2151653 h 3748140"/>
              <a:gd name="connsiteX30" fmla="*/ 148790 w 4366182"/>
              <a:gd name="connsiteY30" fmla="*/ 1999545 h 3748140"/>
              <a:gd name="connsiteX31" fmla="*/ 0 w 4366182"/>
              <a:gd name="connsiteY31" fmla="*/ 1876130 h 3748140"/>
              <a:gd name="connsiteX32" fmla="*/ 233633 w 4366182"/>
              <a:gd name="connsiteY32" fmla="*/ 1658188 h 3748140"/>
              <a:gd name="connsiteX33" fmla="*/ 450333 w 4366182"/>
              <a:gd name="connsiteY33" fmla="*/ 1473589 h 3748140"/>
              <a:gd name="connsiteX34" fmla="*/ 567420 w 4366182"/>
              <a:gd name="connsiteY34" fmla="*/ 1385359 h 3748140"/>
              <a:gd name="connsiteX35" fmla="*/ 684506 w 4366182"/>
              <a:gd name="connsiteY35" fmla="*/ 1297925 h 3748140"/>
              <a:gd name="connsiteX36" fmla="*/ 898091 w 4366182"/>
              <a:gd name="connsiteY36" fmla="*/ 1150957 h 3748140"/>
              <a:gd name="connsiteX37" fmla="*/ 1088590 w 4366182"/>
              <a:gd name="connsiteY37" fmla="*/ 1026780 h 3748140"/>
              <a:gd name="connsiteX38" fmla="*/ 1169023 w 4366182"/>
              <a:gd name="connsiteY38" fmla="*/ 969019 h 3748140"/>
              <a:gd name="connsiteX39" fmla="*/ 1279091 w 4366182"/>
              <a:gd name="connsiteY39" fmla="*/ 903112 h 3748140"/>
              <a:gd name="connsiteX40" fmla="*/ 1270624 w 4366182"/>
              <a:gd name="connsiteY40" fmla="*/ 903542 h 3748140"/>
              <a:gd name="connsiteX41" fmla="*/ 1401857 w 4366182"/>
              <a:gd name="connsiteY41" fmla="*/ 837077 h 3748140"/>
              <a:gd name="connsiteX42" fmla="*/ 1486524 w 4366182"/>
              <a:gd name="connsiteY42" fmla="*/ 787879 h 3748140"/>
              <a:gd name="connsiteX43" fmla="*/ 1592357 w 4366182"/>
              <a:gd name="connsiteY43" fmla="*/ 729903 h 3748140"/>
              <a:gd name="connsiteX44" fmla="*/ 1702424 w 4366182"/>
              <a:gd name="connsiteY44" fmla="*/ 665901 h 3748140"/>
              <a:gd name="connsiteX45" fmla="*/ 1833657 w 4366182"/>
              <a:gd name="connsiteY45" fmla="*/ 595758 h 3748140"/>
              <a:gd name="connsiteX46" fmla="*/ 2028390 w 4366182"/>
              <a:gd name="connsiteY46" fmla="*/ 500969 h 3748140"/>
              <a:gd name="connsiteX47" fmla="*/ 2200104 w 4366182"/>
              <a:gd name="connsiteY47" fmla="*/ 428696 h 3748140"/>
              <a:gd name="connsiteX48" fmla="*/ 2379152 w 4366182"/>
              <a:gd name="connsiteY48" fmla="*/ 349380 h 3748140"/>
              <a:gd name="connsiteX49" fmla="*/ 2546356 w 4366182"/>
              <a:gd name="connsiteY49" fmla="*/ 295349 h 3748140"/>
              <a:gd name="connsiteX50" fmla="*/ 2791042 w 4366182"/>
              <a:gd name="connsiteY50"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967391 w 4366182"/>
              <a:gd name="connsiteY17" fmla="*/ 3559997 h 3748140"/>
              <a:gd name="connsiteX18" fmla="*/ 2692224 w 4366182"/>
              <a:gd name="connsiteY18" fmla="*/ 3483741 h 3748140"/>
              <a:gd name="connsiteX19" fmla="*/ 2463623 w 4366182"/>
              <a:gd name="connsiteY19" fmla="*/ 3410800 h 3748140"/>
              <a:gd name="connsiteX20" fmla="*/ 2222323 w 4366182"/>
              <a:gd name="connsiteY20" fmla="*/ 3324600 h 3748140"/>
              <a:gd name="connsiteX21" fmla="*/ 1981023 w 4366182"/>
              <a:gd name="connsiteY21" fmla="*/ 3221820 h 3748140"/>
              <a:gd name="connsiteX22" fmla="*/ 1718557 w 4366182"/>
              <a:gd name="connsiteY22" fmla="*/ 3089203 h 3748140"/>
              <a:gd name="connsiteX23" fmla="*/ 1481491 w 4366182"/>
              <a:gd name="connsiteY23" fmla="*/ 2959900 h 3748140"/>
              <a:gd name="connsiteX24" fmla="*/ 1235958 w 4366182"/>
              <a:gd name="connsiteY24" fmla="*/ 2807391 h 3748140"/>
              <a:gd name="connsiteX25" fmla="*/ 969257 w 4366182"/>
              <a:gd name="connsiteY25" fmla="*/ 2634988 h 3748140"/>
              <a:gd name="connsiteX26" fmla="*/ 804957 w 4366182"/>
              <a:gd name="connsiteY26" fmla="*/ 2524743 h 3748140"/>
              <a:gd name="connsiteX27" fmla="*/ 669490 w 4366182"/>
              <a:gd name="connsiteY27" fmla="*/ 2420660 h 3748140"/>
              <a:gd name="connsiteX28" fmla="*/ 474757 w 4366182"/>
              <a:gd name="connsiteY28" fmla="*/ 2273630 h 3748140"/>
              <a:gd name="connsiteX29" fmla="*/ 335057 w 4366182"/>
              <a:gd name="connsiteY29" fmla="*/ 2151653 h 3748140"/>
              <a:gd name="connsiteX30" fmla="*/ 148790 w 4366182"/>
              <a:gd name="connsiteY30" fmla="*/ 1999545 h 3748140"/>
              <a:gd name="connsiteX31" fmla="*/ 0 w 4366182"/>
              <a:gd name="connsiteY31" fmla="*/ 1876130 h 3748140"/>
              <a:gd name="connsiteX32" fmla="*/ 233633 w 4366182"/>
              <a:gd name="connsiteY32" fmla="*/ 1658188 h 3748140"/>
              <a:gd name="connsiteX33" fmla="*/ 450333 w 4366182"/>
              <a:gd name="connsiteY33" fmla="*/ 1473589 h 3748140"/>
              <a:gd name="connsiteX34" fmla="*/ 567420 w 4366182"/>
              <a:gd name="connsiteY34" fmla="*/ 1385359 h 3748140"/>
              <a:gd name="connsiteX35" fmla="*/ 684506 w 4366182"/>
              <a:gd name="connsiteY35" fmla="*/ 1297925 h 3748140"/>
              <a:gd name="connsiteX36" fmla="*/ 898091 w 4366182"/>
              <a:gd name="connsiteY36" fmla="*/ 1150957 h 3748140"/>
              <a:gd name="connsiteX37" fmla="*/ 1088590 w 4366182"/>
              <a:gd name="connsiteY37" fmla="*/ 1026780 h 3748140"/>
              <a:gd name="connsiteX38" fmla="*/ 1169023 w 4366182"/>
              <a:gd name="connsiteY38" fmla="*/ 969019 h 3748140"/>
              <a:gd name="connsiteX39" fmla="*/ 1279091 w 4366182"/>
              <a:gd name="connsiteY39" fmla="*/ 903112 h 3748140"/>
              <a:gd name="connsiteX40" fmla="*/ 1270624 w 4366182"/>
              <a:gd name="connsiteY40" fmla="*/ 903542 h 3748140"/>
              <a:gd name="connsiteX41" fmla="*/ 1401857 w 4366182"/>
              <a:gd name="connsiteY41" fmla="*/ 837077 h 3748140"/>
              <a:gd name="connsiteX42" fmla="*/ 1486524 w 4366182"/>
              <a:gd name="connsiteY42" fmla="*/ 787879 h 3748140"/>
              <a:gd name="connsiteX43" fmla="*/ 1592357 w 4366182"/>
              <a:gd name="connsiteY43" fmla="*/ 729903 h 3748140"/>
              <a:gd name="connsiteX44" fmla="*/ 1702424 w 4366182"/>
              <a:gd name="connsiteY44" fmla="*/ 665901 h 3748140"/>
              <a:gd name="connsiteX45" fmla="*/ 1833657 w 4366182"/>
              <a:gd name="connsiteY45" fmla="*/ 595758 h 3748140"/>
              <a:gd name="connsiteX46" fmla="*/ 2028390 w 4366182"/>
              <a:gd name="connsiteY46" fmla="*/ 500969 h 3748140"/>
              <a:gd name="connsiteX47" fmla="*/ 2200104 w 4366182"/>
              <a:gd name="connsiteY47" fmla="*/ 428696 h 3748140"/>
              <a:gd name="connsiteX48" fmla="*/ 2379152 w 4366182"/>
              <a:gd name="connsiteY48" fmla="*/ 349380 h 3748140"/>
              <a:gd name="connsiteX49" fmla="*/ 2546356 w 4366182"/>
              <a:gd name="connsiteY49" fmla="*/ 295349 h 3748140"/>
              <a:gd name="connsiteX50" fmla="*/ 2791042 w 4366182"/>
              <a:gd name="connsiteY50" fmla="*/ 224971 h 3748140"/>
              <a:gd name="connsiteX0" fmla="*/ 2791042 w 4366182"/>
              <a:gd name="connsiteY0" fmla="*/ 224971 h 3749655"/>
              <a:gd name="connsiteX1" fmla="*/ 2955103 w 4366182"/>
              <a:gd name="connsiteY1" fmla="*/ 191099 h 3749655"/>
              <a:gd name="connsiteX2" fmla="*/ 3162124 w 4366182"/>
              <a:gd name="connsiteY2" fmla="*/ 145098 h 3749655"/>
              <a:gd name="connsiteX3" fmla="*/ 3437291 w 4366182"/>
              <a:gd name="connsiteY3" fmla="*/ 88735 h 3749655"/>
              <a:gd name="connsiteX4" fmla="*/ 3744757 w 4366182"/>
              <a:gd name="connsiteY4" fmla="*/ 48626 h 3749655"/>
              <a:gd name="connsiteX5" fmla="*/ 4364456 w 4366182"/>
              <a:gd name="connsiteY5" fmla="*/ 47 h 3749655"/>
              <a:gd name="connsiteX6" fmla="*/ 4360157 w 4366182"/>
              <a:gd name="connsiteY6" fmla="*/ 833488 h 3749655"/>
              <a:gd name="connsiteX7" fmla="*/ 4360157 w 4366182"/>
              <a:gd name="connsiteY7" fmla="*/ 859614 h 3749655"/>
              <a:gd name="connsiteX8" fmla="*/ 4360157 w 4366182"/>
              <a:gd name="connsiteY8" fmla="*/ 907539 h 3749655"/>
              <a:gd name="connsiteX9" fmla="*/ 4360157 w 4366182"/>
              <a:gd name="connsiteY9" fmla="*/ 944863 h 3749655"/>
              <a:gd name="connsiteX10" fmla="*/ 4360157 w 4366182"/>
              <a:gd name="connsiteY10" fmla="*/ 972911 h 3749655"/>
              <a:gd name="connsiteX11" fmla="*/ 4360157 w 4366182"/>
              <a:gd name="connsiteY11" fmla="*/ 993008 h 3749655"/>
              <a:gd name="connsiteX12" fmla="*/ 4360157 w 4366182"/>
              <a:gd name="connsiteY12" fmla="*/ 1006480 h 3749655"/>
              <a:gd name="connsiteX13" fmla="*/ 4360157 w 4366182"/>
              <a:gd name="connsiteY13" fmla="*/ 1018848 h 3749655"/>
              <a:gd name="connsiteX14" fmla="*/ 4360157 w 4366182"/>
              <a:gd name="connsiteY14" fmla="*/ 1020615 h 3749655"/>
              <a:gd name="connsiteX15" fmla="*/ 4360157 w 4366182"/>
              <a:gd name="connsiteY15" fmla="*/ 3748138 h 3749655"/>
              <a:gd name="connsiteX16" fmla="*/ 3873325 w 4366182"/>
              <a:gd name="connsiteY16" fmla="*/ 3729084 h 3749655"/>
              <a:gd name="connsiteX17" fmla="*/ 3094390 w 4366182"/>
              <a:gd name="connsiteY17" fmla="*/ 3742344 h 3749655"/>
              <a:gd name="connsiteX18" fmla="*/ 2967391 w 4366182"/>
              <a:gd name="connsiteY18" fmla="*/ 3559997 h 3749655"/>
              <a:gd name="connsiteX19" fmla="*/ 2692224 w 4366182"/>
              <a:gd name="connsiteY19" fmla="*/ 3483741 h 3749655"/>
              <a:gd name="connsiteX20" fmla="*/ 2463623 w 4366182"/>
              <a:gd name="connsiteY20" fmla="*/ 3410800 h 3749655"/>
              <a:gd name="connsiteX21" fmla="*/ 2222323 w 4366182"/>
              <a:gd name="connsiteY21" fmla="*/ 3324600 h 3749655"/>
              <a:gd name="connsiteX22" fmla="*/ 1981023 w 4366182"/>
              <a:gd name="connsiteY22" fmla="*/ 3221820 h 3749655"/>
              <a:gd name="connsiteX23" fmla="*/ 1718557 w 4366182"/>
              <a:gd name="connsiteY23" fmla="*/ 3089203 h 3749655"/>
              <a:gd name="connsiteX24" fmla="*/ 1481491 w 4366182"/>
              <a:gd name="connsiteY24" fmla="*/ 2959900 h 3749655"/>
              <a:gd name="connsiteX25" fmla="*/ 1235958 w 4366182"/>
              <a:gd name="connsiteY25" fmla="*/ 2807391 h 3749655"/>
              <a:gd name="connsiteX26" fmla="*/ 969257 w 4366182"/>
              <a:gd name="connsiteY26" fmla="*/ 2634988 h 3749655"/>
              <a:gd name="connsiteX27" fmla="*/ 804957 w 4366182"/>
              <a:gd name="connsiteY27" fmla="*/ 2524743 h 3749655"/>
              <a:gd name="connsiteX28" fmla="*/ 669490 w 4366182"/>
              <a:gd name="connsiteY28" fmla="*/ 2420660 h 3749655"/>
              <a:gd name="connsiteX29" fmla="*/ 474757 w 4366182"/>
              <a:gd name="connsiteY29" fmla="*/ 2273630 h 3749655"/>
              <a:gd name="connsiteX30" fmla="*/ 335057 w 4366182"/>
              <a:gd name="connsiteY30" fmla="*/ 2151653 h 3749655"/>
              <a:gd name="connsiteX31" fmla="*/ 148790 w 4366182"/>
              <a:gd name="connsiteY31" fmla="*/ 1999545 h 3749655"/>
              <a:gd name="connsiteX32" fmla="*/ 0 w 4366182"/>
              <a:gd name="connsiteY32" fmla="*/ 1876130 h 3749655"/>
              <a:gd name="connsiteX33" fmla="*/ 233633 w 4366182"/>
              <a:gd name="connsiteY33" fmla="*/ 1658188 h 3749655"/>
              <a:gd name="connsiteX34" fmla="*/ 450333 w 4366182"/>
              <a:gd name="connsiteY34" fmla="*/ 1473589 h 3749655"/>
              <a:gd name="connsiteX35" fmla="*/ 567420 w 4366182"/>
              <a:gd name="connsiteY35" fmla="*/ 1385359 h 3749655"/>
              <a:gd name="connsiteX36" fmla="*/ 684506 w 4366182"/>
              <a:gd name="connsiteY36" fmla="*/ 1297925 h 3749655"/>
              <a:gd name="connsiteX37" fmla="*/ 898091 w 4366182"/>
              <a:gd name="connsiteY37" fmla="*/ 1150957 h 3749655"/>
              <a:gd name="connsiteX38" fmla="*/ 1088590 w 4366182"/>
              <a:gd name="connsiteY38" fmla="*/ 1026780 h 3749655"/>
              <a:gd name="connsiteX39" fmla="*/ 1169023 w 4366182"/>
              <a:gd name="connsiteY39" fmla="*/ 969019 h 3749655"/>
              <a:gd name="connsiteX40" fmla="*/ 1279091 w 4366182"/>
              <a:gd name="connsiteY40" fmla="*/ 903112 h 3749655"/>
              <a:gd name="connsiteX41" fmla="*/ 1270624 w 4366182"/>
              <a:gd name="connsiteY41" fmla="*/ 903542 h 3749655"/>
              <a:gd name="connsiteX42" fmla="*/ 1401857 w 4366182"/>
              <a:gd name="connsiteY42" fmla="*/ 837077 h 3749655"/>
              <a:gd name="connsiteX43" fmla="*/ 1486524 w 4366182"/>
              <a:gd name="connsiteY43" fmla="*/ 787879 h 3749655"/>
              <a:gd name="connsiteX44" fmla="*/ 1592357 w 4366182"/>
              <a:gd name="connsiteY44" fmla="*/ 729903 h 3749655"/>
              <a:gd name="connsiteX45" fmla="*/ 1702424 w 4366182"/>
              <a:gd name="connsiteY45" fmla="*/ 665901 h 3749655"/>
              <a:gd name="connsiteX46" fmla="*/ 1833657 w 4366182"/>
              <a:gd name="connsiteY46" fmla="*/ 595758 h 3749655"/>
              <a:gd name="connsiteX47" fmla="*/ 2028390 w 4366182"/>
              <a:gd name="connsiteY47" fmla="*/ 500969 h 3749655"/>
              <a:gd name="connsiteX48" fmla="*/ 2200104 w 4366182"/>
              <a:gd name="connsiteY48" fmla="*/ 428696 h 3749655"/>
              <a:gd name="connsiteX49" fmla="*/ 2379152 w 4366182"/>
              <a:gd name="connsiteY49" fmla="*/ 349380 h 3749655"/>
              <a:gd name="connsiteX50" fmla="*/ 2546356 w 4366182"/>
              <a:gd name="connsiteY50" fmla="*/ 295349 h 3749655"/>
              <a:gd name="connsiteX51" fmla="*/ 2791042 w 4366182"/>
              <a:gd name="connsiteY51" fmla="*/ 224971 h 3749655"/>
              <a:gd name="connsiteX0" fmla="*/ 2791042 w 4366182"/>
              <a:gd name="connsiteY0" fmla="*/ 224971 h 3749655"/>
              <a:gd name="connsiteX1" fmla="*/ 2955103 w 4366182"/>
              <a:gd name="connsiteY1" fmla="*/ 191099 h 3749655"/>
              <a:gd name="connsiteX2" fmla="*/ 3162124 w 4366182"/>
              <a:gd name="connsiteY2" fmla="*/ 145098 h 3749655"/>
              <a:gd name="connsiteX3" fmla="*/ 3437291 w 4366182"/>
              <a:gd name="connsiteY3" fmla="*/ 88735 h 3749655"/>
              <a:gd name="connsiteX4" fmla="*/ 3744757 w 4366182"/>
              <a:gd name="connsiteY4" fmla="*/ 48626 h 3749655"/>
              <a:gd name="connsiteX5" fmla="*/ 4364456 w 4366182"/>
              <a:gd name="connsiteY5" fmla="*/ 47 h 3749655"/>
              <a:gd name="connsiteX6" fmla="*/ 4360157 w 4366182"/>
              <a:gd name="connsiteY6" fmla="*/ 833488 h 3749655"/>
              <a:gd name="connsiteX7" fmla="*/ 4360157 w 4366182"/>
              <a:gd name="connsiteY7" fmla="*/ 859614 h 3749655"/>
              <a:gd name="connsiteX8" fmla="*/ 4360157 w 4366182"/>
              <a:gd name="connsiteY8" fmla="*/ 907539 h 3749655"/>
              <a:gd name="connsiteX9" fmla="*/ 4360157 w 4366182"/>
              <a:gd name="connsiteY9" fmla="*/ 944863 h 3749655"/>
              <a:gd name="connsiteX10" fmla="*/ 4360157 w 4366182"/>
              <a:gd name="connsiteY10" fmla="*/ 972911 h 3749655"/>
              <a:gd name="connsiteX11" fmla="*/ 4360157 w 4366182"/>
              <a:gd name="connsiteY11" fmla="*/ 993008 h 3749655"/>
              <a:gd name="connsiteX12" fmla="*/ 4360157 w 4366182"/>
              <a:gd name="connsiteY12" fmla="*/ 1006480 h 3749655"/>
              <a:gd name="connsiteX13" fmla="*/ 4360157 w 4366182"/>
              <a:gd name="connsiteY13" fmla="*/ 1018848 h 3749655"/>
              <a:gd name="connsiteX14" fmla="*/ 4360157 w 4366182"/>
              <a:gd name="connsiteY14" fmla="*/ 1020615 h 3749655"/>
              <a:gd name="connsiteX15" fmla="*/ 4360157 w 4366182"/>
              <a:gd name="connsiteY15" fmla="*/ 3748138 h 3749655"/>
              <a:gd name="connsiteX16" fmla="*/ 3873325 w 4366182"/>
              <a:gd name="connsiteY16" fmla="*/ 3729084 h 3749655"/>
              <a:gd name="connsiteX17" fmla="*/ 3094390 w 4366182"/>
              <a:gd name="connsiteY17" fmla="*/ 3742344 h 3749655"/>
              <a:gd name="connsiteX18" fmla="*/ 2967391 w 4366182"/>
              <a:gd name="connsiteY18" fmla="*/ 3559997 h 3749655"/>
              <a:gd name="connsiteX19" fmla="*/ 2692224 w 4366182"/>
              <a:gd name="connsiteY19" fmla="*/ 3483741 h 3749655"/>
              <a:gd name="connsiteX20" fmla="*/ 2463623 w 4366182"/>
              <a:gd name="connsiteY20" fmla="*/ 3410800 h 3749655"/>
              <a:gd name="connsiteX21" fmla="*/ 2222323 w 4366182"/>
              <a:gd name="connsiteY21" fmla="*/ 3324600 h 3749655"/>
              <a:gd name="connsiteX22" fmla="*/ 1981023 w 4366182"/>
              <a:gd name="connsiteY22" fmla="*/ 3221820 h 3749655"/>
              <a:gd name="connsiteX23" fmla="*/ 1718557 w 4366182"/>
              <a:gd name="connsiteY23" fmla="*/ 3089203 h 3749655"/>
              <a:gd name="connsiteX24" fmla="*/ 1481491 w 4366182"/>
              <a:gd name="connsiteY24" fmla="*/ 2959900 h 3749655"/>
              <a:gd name="connsiteX25" fmla="*/ 1235958 w 4366182"/>
              <a:gd name="connsiteY25" fmla="*/ 2807391 h 3749655"/>
              <a:gd name="connsiteX26" fmla="*/ 969257 w 4366182"/>
              <a:gd name="connsiteY26" fmla="*/ 2634988 h 3749655"/>
              <a:gd name="connsiteX27" fmla="*/ 804957 w 4366182"/>
              <a:gd name="connsiteY27" fmla="*/ 2524743 h 3749655"/>
              <a:gd name="connsiteX28" fmla="*/ 669490 w 4366182"/>
              <a:gd name="connsiteY28" fmla="*/ 2420660 h 3749655"/>
              <a:gd name="connsiteX29" fmla="*/ 474757 w 4366182"/>
              <a:gd name="connsiteY29" fmla="*/ 2273630 h 3749655"/>
              <a:gd name="connsiteX30" fmla="*/ 335057 w 4366182"/>
              <a:gd name="connsiteY30" fmla="*/ 2151653 h 3749655"/>
              <a:gd name="connsiteX31" fmla="*/ 148790 w 4366182"/>
              <a:gd name="connsiteY31" fmla="*/ 1999545 h 3749655"/>
              <a:gd name="connsiteX32" fmla="*/ 0 w 4366182"/>
              <a:gd name="connsiteY32" fmla="*/ 1876130 h 3749655"/>
              <a:gd name="connsiteX33" fmla="*/ 233633 w 4366182"/>
              <a:gd name="connsiteY33" fmla="*/ 1658188 h 3749655"/>
              <a:gd name="connsiteX34" fmla="*/ 450333 w 4366182"/>
              <a:gd name="connsiteY34" fmla="*/ 1473589 h 3749655"/>
              <a:gd name="connsiteX35" fmla="*/ 567420 w 4366182"/>
              <a:gd name="connsiteY35" fmla="*/ 1385359 h 3749655"/>
              <a:gd name="connsiteX36" fmla="*/ 684506 w 4366182"/>
              <a:gd name="connsiteY36" fmla="*/ 1297925 h 3749655"/>
              <a:gd name="connsiteX37" fmla="*/ 898091 w 4366182"/>
              <a:gd name="connsiteY37" fmla="*/ 1150957 h 3749655"/>
              <a:gd name="connsiteX38" fmla="*/ 1088590 w 4366182"/>
              <a:gd name="connsiteY38" fmla="*/ 1026780 h 3749655"/>
              <a:gd name="connsiteX39" fmla="*/ 1169023 w 4366182"/>
              <a:gd name="connsiteY39" fmla="*/ 969019 h 3749655"/>
              <a:gd name="connsiteX40" fmla="*/ 1279091 w 4366182"/>
              <a:gd name="connsiteY40" fmla="*/ 903112 h 3749655"/>
              <a:gd name="connsiteX41" fmla="*/ 1270624 w 4366182"/>
              <a:gd name="connsiteY41" fmla="*/ 903542 h 3749655"/>
              <a:gd name="connsiteX42" fmla="*/ 1401857 w 4366182"/>
              <a:gd name="connsiteY42" fmla="*/ 837077 h 3749655"/>
              <a:gd name="connsiteX43" fmla="*/ 1486524 w 4366182"/>
              <a:gd name="connsiteY43" fmla="*/ 787879 h 3749655"/>
              <a:gd name="connsiteX44" fmla="*/ 1592357 w 4366182"/>
              <a:gd name="connsiteY44" fmla="*/ 729903 h 3749655"/>
              <a:gd name="connsiteX45" fmla="*/ 1702424 w 4366182"/>
              <a:gd name="connsiteY45" fmla="*/ 665901 h 3749655"/>
              <a:gd name="connsiteX46" fmla="*/ 1833657 w 4366182"/>
              <a:gd name="connsiteY46" fmla="*/ 595758 h 3749655"/>
              <a:gd name="connsiteX47" fmla="*/ 2028390 w 4366182"/>
              <a:gd name="connsiteY47" fmla="*/ 500969 h 3749655"/>
              <a:gd name="connsiteX48" fmla="*/ 2200104 w 4366182"/>
              <a:gd name="connsiteY48" fmla="*/ 428696 h 3749655"/>
              <a:gd name="connsiteX49" fmla="*/ 2379152 w 4366182"/>
              <a:gd name="connsiteY49" fmla="*/ 349380 h 3749655"/>
              <a:gd name="connsiteX50" fmla="*/ 2546356 w 4366182"/>
              <a:gd name="connsiteY50" fmla="*/ 295349 h 3749655"/>
              <a:gd name="connsiteX51" fmla="*/ 2791042 w 4366182"/>
              <a:gd name="connsiteY51" fmla="*/ 224971 h 3749655"/>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179057 w 4366182"/>
              <a:gd name="connsiteY17" fmla="*/ 3609727 h 3748140"/>
              <a:gd name="connsiteX18" fmla="*/ 2967391 w 4366182"/>
              <a:gd name="connsiteY18" fmla="*/ 3559997 h 3748140"/>
              <a:gd name="connsiteX19" fmla="*/ 2692224 w 4366182"/>
              <a:gd name="connsiteY19" fmla="*/ 3483741 h 3748140"/>
              <a:gd name="connsiteX20" fmla="*/ 2463623 w 4366182"/>
              <a:gd name="connsiteY20" fmla="*/ 3410800 h 3748140"/>
              <a:gd name="connsiteX21" fmla="*/ 2222323 w 4366182"/>
              <a:gd name="connsiteY21" fmla="*/ 3324600 h 3748140"/>
              <a:gd name="connsiteX22" fmla="*/ 1981023 w 4366182"/>
              <a:gd name="connsiteY22" fmla="*/ 3221820 h 3748140"/>
              <a:gd name="connsiteX23" fmla="*/ 1718557 w 4366182"/>
              <a:gd name="connsiteY23" fmla="*/ 3089203 h 3748140"/>
              <a:gd name="connsiteX24" fmla="*/ 1481491 w 4366182"/>
              <a:gd name="connsiteY24" fmla="*/ 2959900 h 3748140"/>
              <a:gd name="connsiteX25" fmla="*/ 1235958 w 4366182"/>
              <a:gd name="connsiteY25" fmla="*/ 2807391 h 3748140"/>
              <a:gd name="connsiteX26" fmla="*/ 969257 w 4366182"/>
              <a:gd name="connsiteY26" fmla="*/ 2634988 h 3748140"/>
              <a:gd name="connsiteX27" fmla="*/ 804957 w 4366182"/>
              <a:gd name="connsiteY27" fmla="*/ 2524743 h 3748140"/>
              <a:gd name="connsiteX28" fmla="*/ 669490 w 4366182"/>
              <a:gd name="connsiteY28" fmla="*/ 2420660 h 3748140"/>
              <a:gd name="connsiteX29" fmla="*/ 474757 w 4366182"/>
              <a:gd name="connsiteY29" fmla="*/ 2273630 h 3748140"/>
              <a:gd name="connsiteX30" fmla="*/ 335057 w 4366182"/>
              <a:gd name="connsiteY30" fmla="*/ 2151653 h 3748140"/>
              <a:gd name="connsiteX31" fmla="*/ 148790 w 4366182"/>
              <a:gd name="connsiteY31" fmla="*/ 1999545 h 3748140"/>
              <a:gd name="connsiteX32" fmla="*/ 0 w 4366182"/>
              <a:gd name="connsiteY32" fmla="*/ 1876130 h 3748140"/>
              <a:gd name="connsiteX33" fmla="*/ 233633 w 4366182"/>
              <a:gd name="connsiteY33" fmla="*/ 1658188 h 3748140"/>
              <a:gd name="connsiteX34" fmla="*/ 450333 w 4366182"/>
              <a:gd name="connsiteY34" fmla="*/ 1473589 h 3748140"/>
              <a:gd name="connsiteX35" fmla="*/ 567420 w 4366182"/>
              <a:gd name="connsiteY35" fmla="*/ 1385359 h 3748140"/>
              <a:gd name="connsiteX36" fmla="*/ 684506 w 4366182"/>
              <a:gd name="connsiteY36" fmla="*/ 1297925 h 3748140"/>
              <a:gd name="connsiteX37" fmla="*/ 898091 w 4366182"/>
              <a:gd name="connsiteY37" fmla="*/ 1150957 h 3748140"/>
              <a:gd name="connsiteX38" fmla="*/ 1088590 w 4366182"/>
              <a:gd name="connsiteY38" fmla="*/ 1026780 h 3748140"/>
              <a:gd name="connsiteX39" fmla="*/ 1169023 w 4366182"/>
              <a:gd name="connsiteY39" fmla="*/ 969019 h 3748140"/>
              <a:gd name="connsiteX40" fmla="*/ 1279091 w 4366182"/>
              <a:gd name="connsiteY40" fmla="*/ 903112 h 3748140"/>
              <a:gd name="connsiteX41" fmla="*/ 1270624 w 4366182"/>
              <a:gd name="connsiteY41" fmla="*/ 903542 h 3748140"/>
              <a:gd name="connsiteX42" fmla="*/ 1401857 w 4366182"/>
              <a:gd name="connsiteY42" fmla="*/ 837077 h 3748140"/>
              <a:gd name="connsiteX43" fmla="*/ 1486524 w 4366182"/>
              <a:gd name="connsiteY43" fmla="*/ 787879 h 3748140"/>
              <a:gd name="connsiteX44" fmla="*/ 1592357 w 4366182"/>
              <a:gd name="connsiteY44" fmla="*/ 729903 h 3748140"/>
              <a:gd name="connsiteX45" fmla="*/ 1702424 w 4366182"/>
              <a:gd name="connsiteY45" fmla="*/ 665901 h 3748140"/>
              <a:gd name="connsiteX46" fmla="*/ 1833657 w 4366182"/>
              <a:gd name="connsiteY46" fmla="*/ 595758 h 3748140"/>
              <a:gd name="connsiteX47" fmla="*/ 2028390 w 4366182"/>
              <a:gd name="connsiteY47" fmla="*/ 500969 h 3748140"/>
              <a:gd name="connsiteX48" fmla="*/ 2200104 w 4366182"/>
              <a:gd name="connsiteY48" fmla="*/ 428696 h 3748140"/>
              <a:gd name="connsiteX49" fmla="*/ 2379152 w 4366182"/>
              <a:gd name="connsiteY49" fmla="*/ 349380 h 3748140"/>
              <a:gd name="connsiteX50" fmla="*/ 2546356 w 4366182"/>
              <a:gd name="connsiteY50" fmla="*/ 295349 h 3748140"/>
              <a:gd name="connsiteX51" fmla="*/ 2791042 w 4366182"/>
              <a:gd name="connsiteY51"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179057 w 4366182"/>
              <a:gd name="connsiteY17" fmla="*/ 3609727 h 3748140"/>
              <a:gd name="connsiteX18" fmla="*/ 2967391 w 4366182"/>
              <a:gd name="connsiteY18" fmla="*/ 3559997 h 3748140"/>
              <a:gd name="connsiteX19" fmla="*/ 2692224 w 4366182"/>
              <a:gd name="connsiteY19" fmla="*/ 3483741 h 3748140"/>
              <a:gd name="connsiteX20" fmla="*/ 2463623 w 4366182"/>
              <a:gd name="connsiteY20" fmla="*/ 3410800 h 3748140"/>
              <a:gd name="connsiteX21" fmla="*/ 2222323 w 4366182"/>
              <a:gd name="connsiteY21" fmla="*/ 3324600 h 3748140"/>
              <a:gd name="connsiteX22" fmla="*/ 1981023 w 4366182"/>
              <a:gd name="connsiteY22" fmla="*/ 3221820 h 3748140"/>
              <a:gd name="connsiteX23" fmla="*/ 1718557 w 4366182"/>
              <a:gd name="connsiteY23" fmla="*/ 3089203 h 3748140"/>
              <a:gd name="connsiteX24" fmla="*/ 1481491 w 4366182"/>
              <a:gd name="connsiteY24" fmla="*/ 2959900 h 3748140"/>
              <a:gd name="connsiteX25" fmla="*/ 1235958 w 4366182"/>
              <a:gd name="connsiteY25" fmla="*/ 2807391 h 3748140"/>
              <a:gd name="connsiteX26" fmla="*/ 969257 w 4366182"/>
              <a:gd name="connsiteY26" fmla="*/ 2634988 h 3748140"/>
              <a:gd name="connsiteX27" fmla="*/ 804957 w 4366182"/>
              <a:gd name="connsiteY27" fmla="*/ 2524743 h 3748140"/>
              <a:gd name="connsiteX28" fmla="*/ 669490 w 4366182"/>
              <a:gd name="connsiteY28" fmla="*/ 2420660 h 3748140"/>
              <a:gd name="connsiteX29" fmla="*/ 474757 w 4366182"/>
              <a:gd name="connsiteY29" fmla="*/ 2273630 h 3748140"/>
              <a:gd name="connsiteX30" fmla="*/ 335057 w 4366182"/>
              <a:gd name="connsiteY30" fmla="*/ 2151653 h 3748140"/>
              <a:gd name="connsiteX31" fmla="*/ 148790 w 4366182"/>
              <a:gd name="connsiteY31" fmla="*/ 1999545 h 3748140"/>
              <a:gd name="connsiteX32" fmla="*/ 0 w 4366182"/>
              <a:gd name="connsiteY32" fmla="*/ 1876130 h 3748140"/>
              <a:gd name="connsiteX33" fmla="*/ 233633 w 4366182"/>
              <a:gd name="connsiteY33" fmla="*/ 1658188 h 3748140"/>
              <a:gd name="connsiteX34" fmla="*/ 450333 w 4366182"/>
              <a:gd name="connsiteY34" fmla="*/ 1473589 h 3748140"/>
              <a:gd name="connsiteX35" fmla="*/ 567420 w 4366182"/>
              <a:gd name="connsiteY35" fmla="*/ 1385359 h 3748140"/>
              <a:gd name="connsiteX36" fmla="*/ 684506 w 4366182"/>
              <a:gd name="connsiteY36" fmla="*/ 1297925 h 3748140"/>
              <a:gd name="connsiteX37" fmla="*/ 898091 w 4366182"/>
              <a:gd name="connsiteY37" fmla="*/ 1150957 h 3748140"/>
              <a:gd name="connsiteX38" fmla="*/ 1088590 w 4366182"/>
              <a:gd name="connsiteY38" fmla="*/ 1026780 h 3748140"/>
              <a:gd name="connsiteX39" fmla="*/ 1169023 w 4366182"/>
              <a:gd name="connsiteY39" fmla="*/ 969019 h 3748140"/>
              <a:gd name="connsiteX40" fmla="*/ 1279091 w 4366182"/>
              <a:gd name="connsiteY40" fmla="*/ 903112 h 3748140"/>
              <a:gd name="connsiteX41" fmla="*/ 1270624 w 4366182"/>
              <a:gd name="connsiteY41" fmla="*/ 903542 h 3748140"/>
              <a:gd name="connsiteX42" fmla="*/ 1401857 w 4366182"/>
              <a:gd name="connsiteY42" fmla="*/ 837077 h 3748140"/>
              <a:gd name="connsiteX43" fmla="*/ 1486524 w 4366182"/>
              <a:gd name="connsiteY43" fmla="*/ 787879 h 3748140"/>
              <a:gd name="connsiteX44" fmla="*/ 1592357 w 4366182"/>
              <a:gd name="connsiteY44" fmla="*/ 729903 h 3748140"/>
              <a:gd name="connsiteX45" fmla="*/ 1702424 w 4366182"/>
              <a:gd name="connsiteY45" fmla="*/ 665901 h 3748140"/>
              <a:gd name="connsiteX46" fmla="*/ 1833657 w 4366182"/>
              <a:gd name="connsiteY46" fmla="*/ 595758 h 3748140"/>
              <a:gd name="connsiteX47" fmla="*/ 2028390 w 4366182"/>
              <a:gd name="connsiteY47" fmla="*/ 500969 h 3748140"/>
              <a:gd name="connsiteX48" fmla="*/ 2200104 w 4366182"/>
              <a:gd name="connsiteY48" fmla="*/ 428696 h 3748140"/>
              <a:gd name="connsiteX49" fmla="*/ 2379152 w 4366182"/>
              <a:gd name="connsiteY49" fmla="*/ 349380 h 3748140"/>
              <a:gd name="connsiteX50" fmla="*/ 2546356 w 4366182"/>
              <a:gd name="connsiteY50" fmla="*/ 295349 h 3748140"/>
              <a:gd name="connsiteX51" fmla="*/ 2791042 w 4366182"/>
              <a:gd name="connsiteY51" fmla="*/ 224971 h 3748140"/>
              <a:gd name="connsiteX0" fmla="*/ 2791042 w 4366182"/>
              <a:gd name="connsiteY0" fmla="*/ 224971 h 3757686"/>
              <a:gd name="connsiteX1" fmla="*/ 2955103 w 4366182"/>
              <a:gd name="connsiteY1" fmla="*/ 191099 h 3757686"/>
              <a:gd name="connsiteX2" fmla="*/ 3162124 w 4366182"/>
              <a:gd name="connsiteY2" fmla="*/ 145098 h 3757686"/>
              <a:gd name="connsiteX3" fmla="*/ 3437291 w 4366182"/>
              <a:gd name="connsiteY3" fmla="*/ 88735 h 3757686"/>
              <a:gd name="connsiteX4" fmla="*/ 3744757 w 4366182"/>
              <a:gd name="connsiteY4" fmla="*/ 48626 h 3757686"/>
              <a:gd name="connsiteX5" fmla="*/ 4364456 w 4366182"/>
              <a:gd name="connsiteY5" fmla="*/ 47 h 3757686"/>
              <a:gd name="connsiteX6" fmla="*/ 4360157 w 4366182"/>
              <a:gd name="connsiteY6" fmla="*/ 833488 h 3757686"/>
              <a:gd name="connsiteX7" fmla="*/ 4360157 w 4366182"/>
              <a:gd name="connsiteY7" fmla="*/ 859614 h 3757686"/>
              <a:gd name="connsiteX8" fmla="*/ 4360157 w 4366182"/>
              <a:gd name="connsiteY8" fmla="*/ 907539 h 3757686"/>
              <a:gd name="connsiteX9" fmla="*/ 4360157 w 4366182"/>
              <a:gd name="connsiteY9" fmla="*/ 944863 h 3757686"/>
              <a:gd name="connsiteX10" fmla="*/ 4360157 w 4366182"/>
              <a:gd name="connsiteY10" fmla="*/ 972911 h 3757686"/>
              <a:gd name="connsiteX11" fmla="*/ 4360157 w 4366182"/>
              <a:gd name="connsiteY11" fmla="*/ 993008 h 3757686"/>
              <a:gd name="connsiteX12" fmla="*/ 4360157 w 4366182"/>
              <a:gd name="connsiteY12" fmla="*/ 1006480 h 3757686"/>
              <a:gd name="connsiteX13" fmla="*/ 4360157 w 4366182"/>
              <a:gd name="connsiteY13" fmla="*/ 1018848 h 3757686"/>
              <a:gd name="connsiteX14" fmla="*/ 4360157 w 4366182"/>
              <a:gd name="connsiteY14" fmla="*/ 1020615 h 3757686"/>
              <a:gd name="connsiteX15" fmla="*/ 4360157 w 4366182"/>
              <a:gd name="connsiteY15" fmla="*/ 3748138 h 3757686"/>
              <a:gd name="connsiteX16" fmla="*/ 3873325 w 4366182"/>
              <a:gd name="connsiteY16" fmla="*/ 3729084 h 3757686"/>
              <a:gd name="connsiteX17" fmla="*/ 3390724 w 4366182"/>
              <a:gd name="connsiteY17" fmla="*/ 3752290 h 3757686"/>
              <a:gd name="connsiteX18" fmla="*/ 3179057 w 4366182"/>
              <a:gd name="connsiteY18" fmla="*/ 3609727 h 3757686"/>
              <a:gd name="connsiteX19" fmla="*/ 2967391 w 4366182"/>
              <a:gd name="connsiteY19" fmla="*/ 3559997 h 3757686"/>
              <a:gd name="connsiteX20" fmla="*/ 2692224 w 4366182"/>
              <a:gd name="connsiteY20" fmla="*/ 3483741 h 3757686"/>
              <a:gd name="connsiteX21" fmla="*/ 2463623 w 4366182"/>
              <a:gd name="connsiteY21" fmla="*/ 3410800 h 3757686"/>
              <a:gd name="connsiteX22" fmla="*/ 2222323 w 4366182"/>
              <a:gd name="connsiteY22" fmla="*/ 3324600 h 3757686"/>
              <a:gd name="connsiteX23" fmla="*/ 1981023 w 4366182"/>
              <a:gd name="connsiteY23" fmla="*/ 3221820 h 3757686"/>
              <a:gd name="connsiteX24" fmla="*/ 1718557 w 4366182"/>
              <a:gd name="connsiteY24" fmla="*/ 3089203 h 3757686"/>
              <a:gd name="connsiteX25" fmla="*/ 1481491 w 4366182"/>
              <a:gd name="connsiteY25" fmla="*/ 2959900 h 3757686"/>
              <a:gd name="connsiteX26" fmla="*/ 1235958 w 4366182"/>
              <a:gd name="connsiteY26" fmla="*/ 2807391 h 3757686"/>
              <a:gd name="connsiteX27" fmla="*/ 969257 w 4366182"/>
              <a:gd name="connsiteY27" fmla="*/ 2634988 h 3757686"/>
              <a:gd name="connsiteX28" fmla="*/ 804957 w 4366182"/>
              <a:gd name="connsiteY28" fmla="*/ 2524743 h 3757686"/>
              <a:gd name="connsiteX29" fmla="*/ 669490 w 4366182"/>
              <a:gd name="connsiteY29" fmla="*/ 2420660 h 3757686"/>
              <a:gd name="connsiteX30" fmla="*/ 474757 w 4366182"/>
              <a:gd name="connsiteY30" fmla="*/ 2273630 h 3757686"/>
              <a:gd name="connsiteX31" fmla="*/ 335057 w 4366182"/>
              <a:gd name="connsiteY31" fmla="*/ 2151653 h 3757686"/>
              <a:gd name="connsiteX32" fmla="*/ 148790 w 4366182"/>
              <a:gd name="connsiteY32" fmla="*/ 1999545 h 3757686"/>
              <a:gd name="connsiteX33" fmla="*/ 0 w 4366182"/>
              <a:gd name="connsiteY33" fmla="*/ 1876130 h 3757686"/>
              <a:gd name="connsiteX34" fmla="*/ 233633 w 4366182"/>
              <a:gd name="connsiteY34" fmla="*/ 1658188 h 3757686"/>
              <a:gd name="connsiteX35" fmla="*/ 450333 w 4366182"/>
              <a:gd name="connsiteY35" fmla="*/ 1473589 h 3757686"/>
              <a:gd name="connsiteX36" fmla="*/ 567420 w 4366182"/>
              <a:gd name="connsiteY36" fmla="*/ 1385359 h 3757686"/>
              <a:gd name="connsiteX37" fmla="*/ 684506 w 4366182"/>
              <a:gd name="connsiteY37" fmla="*/ 1297925 h 3757686"/>
              <a:gd name="connsiteX38" fmla="*/ 898091 w 4366182"/>
              <a:gd name="connsiteY38" fmla="*/ 1150957 h 3757686"/>
              <a:gd name="connsiteX39" fmla="*/ 1088590 w 4366182"/>
              <a:gd name="connsiteY39" fmla="*/ 1026780 h 3757686"/>
              <a:gd name="connsiteX40" fmla="*/ 1169023 w 4366182"/>
              <a:gd name="connsiteY40" fmla="*/ 969019 h 3757686"/>
              <a:gd name="connsiteX41" fmla="*/ 1279091 w 4366182"/>
              <a:gd name="connsiteY41" fmla="*/ 903112 h 3757686"/>
              <a:gd name="connsiteX42" fmla="*/ 1270624 w 4366182"/>
              <a:gd name="connsiteY42" fmla="*/ 903542 h 3757686"/>
              <a:gd name="connsiteX43" fmla="*/ 1401857 w 4366182"/>
              <a:gd name="connsiteY43" fmla="*/ 837077 h 3757686"/>
              <a:gd name="connsiteX44" fmla="*/ 1486524 w 4366182"/>
              <a:gd name="connsiteY44" fmla="*/ 787879 h 3757686"/>
              <a:gd name="connsiteX45" fmla="*/ 1592357 w 4366182"/>
              <a:gd name="connsiteY45" fmla="*/ 729903 h 3757686"/>
              <a:gd name="connsiteX46" fmla="*/ 1702424 w 4366182"/>
              <a:gd name="connsiteY46" fmla="*/ 665901 h 3757686"/>
              <a:gd name="connsiteX47" fmla="*/ 1833657 w 4366182"/>
              <a:gd name="connsiteY47" fmla="*/ 595758 h 3757686"/>
              <a:gd name="connsiteX48" fmla="*/ 2028390 w 4366182"/>
              <a:gd name="connsiteY48" fmla="*/ 500969 h 3757686"/>
              <a:gd name="connsiteX49" fmla="*/ 2200104 w 4366182"/>
              <a:gd name="connsiteY49" fmla="*/ 428696 h 3757686"/>
              <a:gd name="connsiteX50" fmla="*/ 2379152 w 4366182"/>
              <a:gd name="connsiteY50" fmla="*/ 349380 h 3757686"/>
              <a:gd name="connsiteX51" fmla="*/ 2546356 w 4366182"/>
              <a:gd name="connsiteY51" fmla="*/ 295349 h 3757686"/>
              <a:gd name="connsiteX52" fmla="*/ 2791042 w 4366182"/>
              <a:gd name="connsiteY52" fmla="*/ 224971 h 3757686"/>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399191 w 4366182"/>
              <a:gd name="connsiteY17" fmla="*/ 3656142 h 3748140"/>
              <a:gd name="connsiteX18" fmla="*/ 3179057 w 4366182"/>
              <a:gd name="connsiteY18" fmla="*/ 3609727 h 3748140"/>
              <a:gd name="connsiteX19" fmla="*/ 2967391 w 4366182"/>
              <a:gd name="connsiteY19" fmla="*/ 3559997 h 3748140"/>
              <a:gd name="connsiteX20" fmla="*/ 2692224 w 4366182"/>
              <a:gd name="connsiteY20" fmla="*/ 3483741 h 3748140"/>
              <a:gd name="connsiteX21" fmla="*/ 2463623 w 4366182"/>
              <a:gd name="connsiteY21" fmla="*/ 3410800 h 3748140"/>
              <a:gd name="connsiteX22" fmla="*/ 2222323 w 4366182"/>
              <a:gd name="connsiteY22" fmla="*/ 3324600 h 3748140"/>
              <a:gd name="connsiteX23" fmla="*/ 1981023 w 4366182"/>
              <a:gd name="connsiteY23" fmla="*/ 3221820 h 3748140"/>
              <a:gd name="connsiteX24" fmla="*/ 1718557 w 4366182"/>
              <a:gd name="connsiteY24" fmla="*/ 3089203 h 3748140"/>
              <a:gd name="connsiteX25" fmla="*/ 1481491 w 4366182"/>
              <a:gd name="connsiteY25" fmla="*/ 2959900 h 3748140"/>
              <a:gd name="connsiteX26" fmla="*/ 1235958 w 4366182"/>
              <a:gd name="connsiteY26" fmla="*/ 2807391 h 3748140"/>
              <a:gd name="connsiteX27" fmla="*/ 969257 w 4366182"/>
              <a:gd name="connsiteY27" fmla="*/ 2634988 h 3748140"/>
              <a:gd name="connsiteX28" fmla="*/ 804957 w 4366182"/>
              <a:gd name="connsiteY28" fmla="*/ 2524743 h 3748140"/>
              <a:gd name="connsiteX29" fmla="*/ 669490 w 4366182"/>
              <a:gd name="connsiteY29" fmla="*/ 2420660 h 3748140"/>
              <a:gd name="connsiteX30" fmla="*/ 474757 w 4366182"/>
              <a:gd name="connsiteY30" fmla="*/ 2273630 h 3748140"/>
              <a:gd name="connsiteX31" fmla="*/ 335057 w 4366182"/>
              <a:gd name="connsiteY31" fmla="*/ 2151653 h 3748140"/>
              <a:gd name="connsiteX32" fmla="*/ 148790 w 4366182"/>
              <a:gd name="connsiteY32" fmla="*/ 1999545 h 3748140"/>
              <a:gd name="connsiteX33" fmla="*/ 0 w 4366182"/>
              <a:gd name="connsiteY33" fmla="*/ 1876130 h 3748140"/>
              <a:gd name="connsiteX34" fmla="*/ 233633 w 4366182"/>
              <a:gd name="connsiteY34" fmla="*/ 1658188 h 3748140"/>
              <a:gd name="connsiteX35" fmla="*/ 450333 w 4366182"/>
              <a:gd name="connsiteY35" fmla="*/ 1473589 h 3748140"/>
              <a:gd name="connsiteX36" fmla="*/ 567420 w 4366182"/>
              <a:gd name="connsiteY36" fmla="*/ 1385359 h 3748140"/>
              <a:gd name="connsiteX37" fmla="*/ 684506 w 4366182"/>
              <a:gd name="connsiteY37" fmla="*/ 1297925 h 3748140"/>
              <a:gd name="connsiteX38" fmla="*/ 898091 w 4366182"/>
              <a:gd name="connsiteY38" fmla="*/ 1150957 h 3748140"/>
              <a:gd name="connsiteX39" fmla="*/ 1088590 w 4366182"/>
              <a:gd name="connsiteY39" fmla="*/ 1026780 h 3748140"/>
              <a:gd name="connsiteX40" fmla="*/ 1169023 w 4366182"/>
              <a:gd name="connsiteY40" fmla="*/ 969019 h 3748140"/>
              <a:gd name="connsiteX41" fmla="*/ 1279091 w 4366182"/>
              <a:gd name="connsiteY41" fmla="*/ 903112 h 3748140"/>
              <a:gd name="connsiteX42" fmla="*/ 1270624 w 4366182"/>
              <a:gd name="connsiteY42" fmla="*/ 903542 h 3748140"/>
              <a:gd name="connsiteX43" fmla="*/ 1401857 w 4366182"/>
              <a:gd name="connsiteY43" fmla="*/ 837077 h 3748140"/>
              <a:gd name="connsiteX44" fmla="*/ 1486524 w 4366182"/>
              <a:gd name="connsiteY44" fmla="*/ 787879 h 3748140"/>
              <a:gd name="connsiteX45" fmla="*/ 1592357 w 4366182"/>
              <a:gd name="connsiteY45" fmla="*/ 729903 h 3748140"/>
              <a:gd name="connsiteX46" fmla="*/ 1702424 w 4366182"/>
              <a:gd name="connsiteY46" fmla="*/ 665901 h 3748140"/>
              <a:gd name="connsiteX47" fmla="*/ 1833657 w 4366182"/>
              <a:gd name="connsiteY47" fmla="*/ 595758 h 3748140"/>
              <a:gd name="connsiteX48" fmla="*/ 2028390 w 4366182"/>
              <a:gd name="connsiteY48" fmla="*/ 500969 h 3748140"/>
              <a:gd name="connsiteX49" fmla="*/ 2200104 w 4366182"/>
              <a:gd name="connsiteY49" fmla="*/ 428696 h 3748140"/>
              <a:gd name="connsiteX50" fmla="*/ 2379152 w 4366182"/>
              <a:gd name="connsiteY50" fmla="*/ 349380 h 3748140"/>
              <a:gd name="connsiteX51" fmla="*/ 2546356 w 4366182"/>
              <a:gd name="connsiteY51" fmla="*/ 295349 h 3748140"/>
              <a:gd name="connsiteX52" fmla="*/ 2791042 w 4366182"/>
              <a:gd name="connsiteY52" fmla="*/ 224971 h 3748140"/>
              <a:gd name="connsiteX0" fmla="*/ 2791042 w 4366182"/>
              <a:gd name="connsiteY0" fmla="*/ 224971 h 3822812"/>
              <a:gd name="connsiteX1" fmla="*/ 2955103 w 4366182"/>
              <a:gd name="connsiteY1" fmla="*/ 191099 h 3822812"/>
              <a:gd name="connsiteX2" fmla="*/ 3162124 w 4366182"/>
              <a:gd name="connsiteY2" fmla="*/ 145098 h 3822812"/>
              <a:gd name="connsiteX3" fmla="*/ 3437291 w 4366182"/>
              <a:gd name="connsiteY3" fmla="*/ 88735 h 3822812"/>
              <a:gd name="connsiteX4" fmla="*/ 3744757 w 4366182"/>
              <a:gd name="connsiteY4" fmla="*/ 48626 h 3822812"/>
              <a:gd name="connsiteX5" fmla="*/ 4364456 w 4366182"/>
              <a:gd name="connsiteY5" fmla="*/ 47 h 3822812"/>
              <a:gd name="connsiteX6" fmla="*/ 4360157 w 4366182"/>
              <a:gd name="connsiteY6" fmla="*/ 833488 h 3822812"/>
              <a:gd name="connsiteX7" fmla="*/ 4360157 w 4366182"/>
              <a:gd name="connsiteY7" fmla="*/ 859614 h 3822812"/>
              <a:gd name="connsiteX8" fmla="*/ 4360157 w 4366182"/>
              <a:gd name="connsiteY8" fmla="*/ 907539 h 3822812"/>
              <a:gd name="connsiteX9" fmla="*/ 4360157 w 4366182"/>
              <a:gd name="connsiteY9" fmla="*/ 944863 h 3822812"/>
              <a:gd name="connsiteX10" fmla="*/ 4360157 w 4366182"/>
              <a:gd name="connsiteY10" fmla="*/ 972911 h 3822812"/>
              <a:gd name="connsiteX11" fmla="*/ 4360157 w 4366182"/>
              <a:gd name="connsiteY11" fmla="*/ 993008 h 3822812"/>
              <a:gd name="connsiteX12" fmla="*/ 4360157 w 4366182"/>
              <a:gd name="connsiteY12" fmla="*/ 1006480 h 3822812"/>
              <a:gd name="connsiteX13" fmla="*/ 4360157 w 4366182"/>
              <a:gd name="connsiteY13" fmla="*/ 1018848 h 3822812"/>
              <a:gd name="connsiteX14" fmla="*/ 4360157 w 4366182"/>
              <a:gd name="connsiteY14" fmla="*/ 1020615 h 3822812"/>
              <a:gd name="connsiteX15" fmla="*/ 4360157 w 4366182"/>
              <a:gd name="connsiteY15" fmla="*/ 3748138 h 3822812"/>
              <a:gd name="connsiteX16" fmla="*/ 3873325 w 4366182"/>
              <a:gd name="connsiteY16" fmla="*/ 3729084 h 3822812"/>
              <a:gd name="connsiteX17" fmla="*/ 3589690 w 4366182"/>
              <a:gd name="connsiteY17" fmla="*/ 3821914 h 3822812"/>
              <a:gd name="connsiteX18" fmla="*/ 3399191 w 4366182"/>
              <a:gd name="connsiteY18" fmla="*/ 3656142 h 3822812"/>
              <a:gd name="connsiteX19" fmla="*/ 3179057 w 4366182"/>
              <a:gd name="connsiteY19" fmla="*/ 3609727 h 3822812"/>
              <a:gd name="connsiteX20" fmla="*/ 2967391 w 4366182"/>
              <a:gd name="connsiteY20" fmla="*/ 3559997 h 3822812"/>
              <a:gd name="connsiteX21" fmla="*/ 2692224 w 4366182"/>
              <a:gd name="connsiteY21" fmla="*/ 3483741 h 3822812"/>
              <a:gd name="connsiteX22" fmla="*/ 2463623 w 4366182"/>
              <a:gd name="connsiteY22" fmla="*/ 3410800 h 3822812"/>
              <a:gd name="connsiteX23" fmla="*/ 2222323 w 4366182"/>
              <a:gd name="connsiteY23" fmla="*/ 3324600 h 3822812"/>
              <a:gd name="connsiteX24" fmla="*/ 1981023 w 4366182"/>
              <a:gd name="connsiteY24" fmla="*/ 3221820 h 3822812"/>
              <a:gd name="connsiteX25" fmla="*/ 1718557 w 4366182"/>
              <a:gd name="connsiteY25" fmla="*/ 3089203 h 3822812"/>
              <a:gd name="connsiteX26" fmla="*/ 1481491 w 4366182"/>
              <a:gd name="connsiteY26" fmla="*/ 2959900 h 3822812"/>
              <a:gd name="connsiteX27" fmla="*/ 1235958 w 4366182"/>
              <a:gd name="connsiteY27" fmla="*/ 2807391 h 3822812"/>
              <a:gd name="connsiteX28" fmla="*/ 969257 w 4366182"/>
              <a:gd name="connsiteY28" fmla="*/ 2634988 h 3822812"/>
              <a:gd name="connsiteX29" fmla="*/ 804957 w 4366182"/>
              <a:gd name="connsiteY29" fmla="*/ 2524743 h 3822812"/>
              <a:gd name="connsiteX30" fmla="*/ 669490 w 4366182"/>
              <a:gd name="connsiteY30" fmla="*/ 2420660 h 3822812"/>
              <a:gd name="connsiteX31" fmla="*/ 474757 w 4366182"/>
              <a:gd name="connsiteY31" fmla="*/ 2273630 h 3822812"/>
              <a:gd name="connsiteX32" fmla="*/ 335057 w 4366182"/>
              <a:gd name="connsiteY32" fmla="*/ 2151653 h 3822812"/>
              <a:gd name="connsiteX33" fmla="*/ 148790 w 4366182"/>
              <a:gd name="connsiteY33" fmla="*/ 1999545 h 3822812"/>
              <a:gd name="connsiteX34" fmla="*/ 0 w 4366182"/>
              <a:gd name="connsiteY34" fmla="*/ 1876130 h 3822812"/>
              <a:gd name="connsiteX35" fmla="*/ 233633 w 4366182"/>
              <a:gd name="connsiteY35" fmla="*/ 1658188 h 3822812"/>
              <a:gd name="connsiteX36" fmla="*/ 450333 w 4366182"/>
              <a:gd name="connsiteY36" fmla="*/ 1473589 h 3822812"/>
              <a:gd name="connsiteX37" fmla="*/ 567420 w 4366182"/>
              <a:gd name="connsiteY37" fmla="*/ 1385359 h 3822812"/>
              <a:gd name="connsiteX38" fmla="*/ 684506 w 4366182"/>
              <a:gd name="connsiteY38" fmla="*/ 1297925 h 3822812"/>
              <a:gd name="connsiteX39" fmla="*/ 898091 w 4366182"/>
              <a:gd name="connsiteY39" fmla="*/ 1150957 h 3822812"/>
              <a:gd name="connsiteX40" fmla="*/ 1088590 w 4366182"/>
              <a:gd name="connsiteY40" fmla="*/ 1026780 h 3822812"/>
              <a:gd name="connsiteX41" fmla="*/ 1169023 w 4366182"/>
              <a:gd name="connsiteY41" fmla="*/ 969019 h 3822812"/>
              <a:gd name="connsiteX42" fmla="*/ 1279091 w 4366182"/>
              <a:gd name="connsiteY42" fmla="*/ 903112 h 3822812"/>
              <a:gd name="connsiteX43" fmla="*/ 1270624 w 4366182"/>
              <a:gd name="connsiteY43" fmla="*/ 903542 h 3822812"/>
              <a:gd name="connsiteX44" fmla="*/ 1401857 w 4366182"/>
              <a:gd name="connsiteY44" fmla="*/ 837077 h 3822812"/>
              <a:gd name="connsiteX45" fmla="*/ 1486524 w 4366182"/>
              <a:gd name="connsiteY45" fmla="*/ 787879 h 3822812"/>
              <a:gd name="connsiteX46" fmla="*/ 1592357 w 4366182"/>
              <a:gd name="connsiteY46" fmla="*/ 729903 h 3822812"/>
              <a:gd name="connsiteX47" fmla="*/ 1702424 w 4366182"/>
              <a:gd name="connsiteY47" fmla="*/ 665901 h 3822812"/>
              <a:gd name="connsiteX48" fmla="*/ 1833657 w 4366182"/>
              <a:gd name="connsiteY48" fmla="*/ 595758 h 3822812"/>
              <a:gd name="connsiteX49" fmla="*/ 2028390 w 4366182"/>
              <a:gd name="connsiteY49" fmla="*/ 500969 h 3822812"/>
              <a:gd name="connsiteX50" fmla="*/ 2200104 w 4366182"/>
              <a:gd name="connsiteY50" fmla="*/ 428696 h 3822812"/>
              <a:gd name="connsiteX51" fmla="*/ 2379152 w 4366182"/>
              <a:gd name="connsiteY51" fmla="*/ 349380 h 3822812"/>
              <a:gd name="connsiteX52" fmla="*/ 2546356 w 4366182"/>
              <a:gd name="connsiteY52" fmla="*/ 295349 h 3822812"/>
              <a:gd name="connsiteX53" fmla="*/ 2791042 w 4366182"/>
              <a:gd name="connsiteY53" fmla="*/ 224971 h 3822812"/>
              <a:gd name="connsiteX0" fmla="*/ 2791042 w 4366182"/>
              <a:gd name="connsiteY0" fmla="*/ 224971 h 3822812"/>
              <a:gd name="connsiteX1" fmla="*/ 2955103 w 4366182"/>
              <a:gd name="connsiteY1" fmla="*/ 191099 h 3822812"/>
              <a:gd name="connsiteX2" fmla="*/ 3162124 w 4366182"/>
              <a:gd name="connsiteY2" fmla="*/ 145098 h 3822812"/>
              <a:gd name="connsiteX3" fmla="*/ 3437291 w 4366182"/>
              <a:gd name="connsiteY3" fmla="*/ 88735 h 3822812"/>
              <a:gd name="connsiteX4" fmla="*/ 3744757 w 4366182"/>
              <a:gd name="connsiteY4" fmla="*/ 48626 h 3822812"/>
              <a:gd name="connsiteX5" fmla="*/ 4364456 w 4366182"/>
              <a:gd name="connsiteY5" fmla="*/ 47 h 3822812"/>
              <a:gd name="connsiteX6" fmla="*/ 4360157 w 4366182"/>
              <a:gd name="connsiteY6" fmla="*/ 833488 h 3822812"/>
              <a:gd name="connsiteX7" fmla="*/ 4360157 w 4366182"/>
              <a:gd name="connsiteY7" fmla="*/ 859614 h 3822812"/>
              <a:gd name="connsiteX8" fmla="*/ 4360157 w 4366182"/>
              <a:gd name="connsiteY8" fmla="*/ 907539 h 3822812"/>
              <a:gd name="connsiteX9" fmla="*/ 4360157 w 4366182"/>
              <a:gd name="connsiteY9" fmla="*/ 944863 h 3822812"/>
              <a:gd name="connsiteX10" fmla="*/ 4360157 w 4366182"/>
              <a:gd name="connsiteY10" fmla="*/ 972911 h 3822812"/>
              <a:gd name="connsiteX11" fmla="*/ 4360157 w 4366182"/>
              <a:gd name="connsiteY11" fmla="*/ 993008 h 3822812"/>
              <a:gd name="connsiteX12" fmla="*/ 4360157 w 4366182"/>
              <a:gd name="connsiteY12" fmla="*/ 1006480 h 3822812"/>
              <a:gd name="connsiteX13" fmla="*/ 4360157 w 4366182"/>
              <a:gd name="connsiteY13" fmla="*/ 1018848 h 3822812"/>
              <a:gd name="connsiteX14" fmla="*/ 4360157 w 4366182"/>
              <a:gd name="connsiteY14" fmla="*/ 1020615 h 3822812"/>
              <a:gd name="connsiteX15" fmla="*/ 4360157 w 4366182"/>
              <a:gd name="connsiteY15" fmla="*/ 3748138 h 3822812"/>
              <a:gd name="connsiteX16" fmla="*/ 3873325 w 4366182"/>
              <a:gd name="connsiteY16" fmla="*/ 3729084 h 3822812"/>
              <a:gd name="connsiteX17" fmla="*/ 3589690 w 4366182"/>
              <a:gd name="connsiteY17" fmla="*/ 3821914 h 3822812"/>
              <a:gd name="connsiteX18" fmla="*/ 3399191 w 4366182"/>
              <a:gd name="connsiteY18" fmla="*/ 3656142 h 3822812"/>
              <a:gd name="connsiteX19" fmla="*/ 3179057 w 4366182"/>
              <a:gd name="connsiteY19" fmla="*/ 3609727 h 3822812"/>
              <a:gd name="connsiteX20" fmla="*/ 2967391 w 4366182"/>
              <a:gd name="connsiteY20" fmla="*/ 3559997 h 3822812"/>
              <a:gd name="connsiteX21" fmla="*/ 2692224 w 4366182"/>
              <a:gd name="connsiteY21" fmla="*/ 3483741 h 3822812"/>
              <a:gd name="connsiteX22" fmla="*/ 2463623 w 4366182"/>
              <a:gd name="connsiteY22" fmla="*/ 3410800 h 3822812"/>
              <a:gd name="connsiteX23" fmla="*/ 2222323 w 4366182"/>
              <a:gd name="connsiteY23" fmla="*/ 3324600 h 3822812"/>
              <a:gd name="connsiteX24" fmla="*/ 1981023 w 4366182"/>
              <a:gd name="connsiteY24" fmla="*/ 3221820 h 3822812"/>
              <a:gd name="connsiteX25" fmla="*/ 1718557 w 4366182"/>
              <a:gd name="connsiteY25" fmla="*/ 3089203 h 3822812"/>
              <a:gd name="connsiteX26" fmla="*/ 1481491 w 4366182"/>
              <a:gd name="connsiteY26" fmla="*/ 2959900 h 3822812"/>
              <a:gd name="connsiteX27" fmla="*/ 1235958 w 4366182"/>
              <a:gd name="connsiteY27" fmla="*/ 2807391 h 3822812"/>
              <a:gd name="connsiteX28" fmla="*/ 969257 w 4366182"/>
              <a:gd name="connsiteY28" fmla="*/ 2634988 h 3822812"/>
              <a:gd name="connsiteX29" fmla="*/ 804957 w 4366182"/>
              <a:gd name="connsiteY29" fmla="*/ 2524743 h 3822812"/>
              <a:gd name="connsiteX30" fmla="*/ 669490 w 4366182"/>
              <a:gd name="connsiteY30" fmla="*/ 2420660 h 3822812"/>
              <a:gd name="connsiteX31" fmla="*/ 474757 w 4366182"/>
              <a:gd name="connsiteY31" fmla="*/ 2273630 h 3822812"/>
              <a:gd name="connsiteX32" fmla="*/ 335057 w 4366182"/>
              <a:gd name="connsiteY32" fmla="*/ 2151653 h 3822812"/>
              <a:gd name="connsiteX33" fmla="*/ 148790 w 4366182"/>
              <a:gd name="connsiteY33" fmla="*/ 1999545 h 3822812"/>
              <a:gd name="connsiteX34" fmla="*/ 0 w 4366182"/>
              <a:gd name="connsiteY34" fmla="*/ 1876130 h 3822812"/>
              <a:gd name="connsiteX35" fmla="*/ 233633 w 4366182"/>
              <a:gd name="connsiteY35" fmla="*/ 1658188 h 3822812"/>
              <a:gd name="connsiteX36" fmla="*/ 450333 w 4366182"/>
              <a:gd name="connsiteY36" fmla="*/ 1473589 h 3822812"/>
              <a:gd name="connsiteX37" fmla="*/ 567420 w 4366182"/>
              <a:gd name="connsiteY37" fmla="*/ 1385359 h 3822812"/>
              <a:gd name="connsiteX38" fmla="*/ 684506 w 4366182"/>
              <a:gd name="connsiteY38" fmla="*/ 1297925 h 3822812"/>
              <a:gd name="connsiteX39" fmla="*/ 898091 w 4366182"/>
              <a:gd name="connsiteY39" fmla="*/ 1150957 h 3822812"/>
              <a:gd name="connsiteX40" fmla="*/ 1088590 w 4366182"/>
              <a:gd name="connsiteY40" fmla="*/ 1026780 h 3822812"/>
              <a:gd name="connsiteX41" fmla="*/ 1169023 w 4366182"/>
              <a:gd name="connsiteY41" fmla="*/ 969019 h 3822812"/>
              <a:gd name="connsiteX42" fmla="*/ 1279091 w 4366182"/>
              <a:gd name="connsiteY42" fmla="*/ 903112 h 3822812"/>
              <a:gd name="connsiteX43" fmla="*/ 1270624 w 4366182"/>
              <a:gd name="connsiteY43" fmla="*/ 903542 h 3822812"/>
              <a:gd name="connsiteX44" fmla="*/ 1401857 w 4366182"/>
              <a:gd name="connsiteY44" fmla="*/ 837077 h 3822812"/>
              <a:gd name="connsiteX45" fmla="*/ 1486524 w 4366182"/>
              <a:gd name="connsiteY45" fmla="*/ 787879 h 3822812"/>
              <a:gd name="connsiteX46" fmla="*/ 1592357 w 4366182"/>
              <a:gd name="connsiteY46" fmla="*/ 729903 h 3822812"/>
              <a:gd name="connsiteX47" fmla="*/ 1702424 w 4366182"/>
              <a:gd name="connsiteY47" fmla="*/ 665901 h 3822812"/>
              <a:gd name="connsiteX48" fmla="*/ 1833657 w 4366182"/>
              <a:gd name="connsiteY48" fmla="*/ 595758 h 3822812"/>
              <a:gd name="connsiteX49" fmla="*/ 2028390 w 4366182"/>
              <a:gd name="connsiteY49" fmla="*/ 500969 h 3822812"/>
              <a:gd name="connsiteX50" fmla="*/ 2200104 w 4366182"/>
              <a:gd name="connsiteY50" fmla="*/ 428696 h 3822812"/>
              <a:gd name="connsiteX51" fmla="*/ 2379152 w 4366182"/>
              <a:gd name="connsiteY51" fmla="*/ 349380 h 3822812"/>
              <a:gd name="connsiteX52" fmla="*/ 2546356 w 4366182"/>
              <a:gd name="connsiteY52" fmla="*/ 295349 h 3822812"/>
              <a:gd name="connsiteX53" fmla="*/ 2791042 w 4366182"/>
              <a:gd name="connsiteY53" fmla="*/ 224971 h 3822812"/>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593923 w 4366182"/>
              <a:gd name="connsiteY17" fmla="*/ 3685981 h 3748140"/>
              <a:gd name="connsiteX18" fmla="*/ 3399191 w 4366182"/>
              <a:gd name="connsiteY18" fmla="*/ 3656142 h 3748140"/>
              <a:gd name="connsiteX19" fmla="*/ 3179057 w 4366182"/>
              <a:gd name="connsiteY19" fmla="*/ 3609727 h 3748140"/>
              <a:gd name="connsiteX20" fmla="*/ 2967391 w 4366182"/>
              <a:gd name="connsiteY20" fmla="*/ 3559997 h 3748140"/>
              <a:gd name="connsiteX21" fmla="*/ 2692224 w 4366182"/>
              <a:gd name="connsiteY21" fmla="*/ 3483741 h 3748140"/>
              <a:gd name="connsiteX22" fmla="*/ 2463623 w 4366182"/>
              <a:gd name="connsiteY22" fmla="*/ 3410800 h 3748140"/>
              <a:gd name="connsiteX23" fmla="*/ 2222323 w 4366182"/>
              <a:gd name="connsiteY23" fmla="*/ 3324600 h 3748140"/>
              <a:gd name="connsiteX24" fmla="*/ 1981023 w 4366182"/>
              <a:gd name="connsiteY24" fmla="*/ 3221820 h 3748140"/>
              <a:gd name="connsiteX25" fmla="*/ 1718557 w 4366182"/>
              <a:gd name="connsiteY25" fmla="*/ 3089203 h 3748140"/>
              <a:gd name="connsiteX26" fmla="*/ 1481491 w 4366182"/>
              <a:gd name="connsiteY26" fmla="*/ 2959900 h 3748140"/>
              <a:gd name="connsiteX27" fmla="*/ 1235958 w 4366182"/>
              <a:gd name="connsiteY27" fmla="*/ 2807391 h 3748140"/>
              <a:gd name="connsiteX28" fmla="*/ 969257 w 4366182"/>
              <a:gd name="connsiteY28" fmla="*/ 2634988 h 3748140"/>
              <a:gd name="connsiteX29" fmla="*/ 804957 w 4366182"/>
              <a:gd name="connsiteY29" fmla="*/ 2524743 h 3748140"/>
              <a:gd name="connsiteX30" fmla="*/ 669490 w 4366182"/>
              <a:gd name="connsiteY30" fmla="*/ 2420660 h 3748140"/>
              <a:gd name="connsiteX31" fmla="*/ 474757 w 4366182"/>
              <a:gd name="connsiteY31" fmla="*/ 2273630 h 3748140"/>
              <a:gd name="connsiteX32" fmla="*/ 335057 w 4366182"/>
              <a:gd name="connsiteY32" fmla="*/ 2151653 h 3748140"/>
              <a:gd name="connsiteX33" fmla="*/ 148790 w 4366182"/>
              <a:gd name="connsiteY33" fmla="*/ 1999545 h 3748140"/>
              <a:gd name="connsiteX34" fmla="*/ 0 w 4366182"/>
              <a:gd name="connsiteY34" fmla="*/ 1876130 h 3748140"/>
              <a:gd name="connsiteX35" fmla="*/ 233633 w 4366182"/>
              <a:gd name="connsiteY35" fmla="*/ 1658188 h 3748140"/>
              <a:gd name="connsiteX36" fmla="*/ 450333 w 4366182"/>
              <a:gd name="connsiteY36" fmla="*/ 1473589 h 3748140"/>
              <a:gd name="connsiteX37" fmla="*/ 567420 w 4366182"/>
              <a:gd name="connsiteY37" fmla="*/ 1385359 h 3748140"/>
              <a:gd name="connsiteX38" fmla="*/ 684506 w 4366182"/>
              <a:gd name="connsiteY38" fmla="*/ 1297925 h 3748140"/>
              <a:gd name="connsiteX39" fmla="*/ 898091 w 4366182"/>
              <a:gd name="connsiteY39" fmla="*/ 1150957 h 3748140"/>
              <a:gd name="connsiteX40" fmla="*/ 1088590 w 4366182"/>
              <a:gd name="connsiteY40" fmla="*/ 1026780 h 3748140"/>
              <a:gd name="connsiteX41" fmla="*/ 1169023 w 4366182"/>
              <a:gd name="connsiteY41" fmla="*/ 969019 h 3748140"/>
              <a:gd name="connsiteX42" fmla="*/ 1279091 w 4366182"/>
              <a:gd name="connsiteY42" fmla="*/ 903112 h 3748140"/>
              <a:gd name="connsiteX43" fmla="*/ 1270624 w 4366182"/>
              <a:gd name="connsiteY43" fmla="*/ 903542 h 3748140"/>
              <a:gd name="connsiteX44" fmla="*/ 1401857 w 4366182"/>
              <a:gd name="connsiteY44" fmla="*/ 837077 h 3748140"/>
              <a:gd name="connsiteX45" fmla="*/ 1486524 w 4366182"/>
              <a:gd name="connsiteY45" fmla="*/ 787879 h 3748140"/>
              <a:gd name="connsiteX46" fmla="*/ 1592357 w 4366182"/>
              <a:gd name="connsiteY46" fmla="*/ 729903 h 3748140"/>
              <a:gd name="connsiteX47" fmla="*/ 1702424 w 4366182"/>
              <a:gd name="connsiteY47" fmla="*/ 665901 h 3748140"/>
              <a:gd name="connsiteX48" fmla="*/ 1833657 w 4366182"/>
              <a:gd name="connsiteY48" fmla="*/ 595758 h 3748140"/>
              <a:gd name="connsiteX49" fmla="*/ 2028390 w 4366182"/>
              <a:gd name="connsiteY49" fmla="*/ 500969 h 3748140"/>
              <a:gd name="connsiteX50" fmla="*/ 2200104 w 4366182"/>
              <a:gd name="connsiteY50" fmla="*/ 428696 h 3748140"/>
              <a:gd name="connsiteX51" fmla="*/ 2379152 w 4366182"/>
              <a:gd name="connsiteY51" fmla="*/ 349380 h 3748140"/>
              <a:gd name="connsiteX52" fmla="*/ 2546356 w 4366182"/>
              <a:gd name="connsiteY52" fmla="*/ 295349 h 3748140"/>
              <a:gd name="connsiteX53" fmla="*/ 2791042 w 4366182"/>
              <a:gd name="connsiteY53" fmla="*/ 224971 h 3748140"/>
              <a:gd name="connsiteX0" fmla="*/ 2791042 w 4366182"/>
              <a:gd name="connsiteY0" fmla="*/ 224971 h 3821916"/>
              <a:gd name="connsiteX1" fmla="*/ 2955103 w 4366182"/>
              <a:gd name="connsiteY1" fmla="*/ 191099 h 3821916"/>
              <a:gd name="connsiteX2" fmla="*/ 3162124 w 4366182"/>
              <a:gd name="connsiteY2" fmla="*/ 145098 h 3821916"/>
              <a:gd name="connsiteX3" fmla="*/ 3437291 w 4366182"/>
              <a:gd name="connsiteY3" fmla="*/ 88735 h 3821916"/>
              <a:gd name="connsiteX4" fmla="*/ 3744757 w 4366182"/>
              <a:gd name="connsiteY4" fmla="*/ 48626 h 3821916"/>
              <a:gd name="connsiteX5" fmla="*/ 4364456 w 4366182"/>
              <a:gd name="connsiteY5" fmla="*/ 47 h 3821916"/>
              <a:gd name="connsiteX6" fmla="*/ 4360157 w 4366182"/>
              <a:gd name="connsiteY6" fmla="*/ 833488 h 3821916"/>
              <a:gd name="connsiteX7" fmla="*/ 4360157 w 4366182"/>
              <a:gd name="connsiteY7" fmla="*/ 859614 h 3821916"/>
              <a:gd name="connsiteX8" fmla="*/ 4360157 w 4366182"/>
              <a:gd name="connsiteY8" fmla="*/ 907539 h 3821916"/>
              <a:gd name="connsiteX9" fmla="*/ 4360157 w 4366182"/>
              <a:gd name="connsiteY9" fmla="*/ 944863 h 3821916"/>
              <a:gd name="connsiteX10" fmla="*/ 4360157 w 4366182"/>
              <a:gd name="connsiteY10" fmla="*/ 972911 h 3821916"/>
              <a:gd name="connsiteX11" fmla="*/ 4360157 w 4366182"/>
              <a:gd name="connsiteY11" fmla="*/ 993008 h 3821916"/>
              <a:gd name="connsiteX12" fmla="*/ 4360157 w 4366182"/>
              <a:gd name="connsiteY12" fmla="*/ 1006480 h 3821916"/>
              <a:gd name="connsiteX13" fmla="*/ 4360157 w 4366182"/>
              <a:gd name="connsiteY13" fmla="*/ 1018848 h 3821916"/>
              <a:gd name="connsiteX14" fmla="*/ 4360157 w 4366182"/>
              <a:gd name="connsiteY14" fmla="*/ 1020615 h 3821916"/>
              <a:gd name="connsiteX15" fmla="*/ 4360157 w 4366182"/>
              <a:gd name="connsiteY15" fmla="*/ 3748138 h 3821916"/>
              <a:gd name="connsiteX16" fmla="*/ 3839459 w 4366182"/>
              <a:gd name="connsiteY16" fmla="*/ 3821916 h 3821916"/>
              <a:gd name="connsiteX17" fmla="*/ 3593923 w 4366182"/>
              <a:gd name="connsiteY17" fmla="*/ 3685981 h 3821916"/>
              <a:gd name="connsiteX18" fmla="*/ 3399191 w 4366182"/>
              <a:gd name="connsiteY18" fmla="*/ 3656142 h 3821916"/>
              <a:gd name="connsiteX19" fmla="*/ 3179057 w 4366182"/>
              <a:gd name="connsiteY19" fmla="*/ 3609727 h 3821916"/>
              <a:gd name="connsiteX20" fmla="*/ 2967391 w 4366182"/>
              <a:gd name="connsiteY20" fmla="*/ 3559997 h 3821916"/>
              <a:gd name="connsiteX21" fmla="*/ 2692224 w 4366182"/>
              <a:gd name="connsiteY21" fmla="*/ 3483741 h 3821916"/>
              <a:gd name="connsiteX22" fmla="*/ 2463623 w 4366182"/>
              <a:gd name="connsiteY22" fmla="*/ 3410800 h 3821916"/>
              <a:gd name="connsiteX23" fmla="*/ 2222323 w 4366182"/>
              <a:gd name="connsiteY23" fmla="*/ 3324600 h 3821916"/>
              <a:gd name="connsiteX24" fmla="*/ 1981023 w 4366182"/>
              <a:gd name="connsiteY24" fmla="*/ 3221820 h 3821916"/>
              <a:gd name="connsiteX25" fmla="*/ 1718557 w 4366182"/>
              <a:gd name="connsiteY25" fmla="*/ 3089203 h 3821916"/>
              <a:gd name="connsiteX26" fmla="*/ 1481491 w 4366182"/>
              <a:gd name="connsiteY26" fmla="*/ 2959900 h 3821916"/>
              <a:gd name="connsiteX27" fmla="*/ 1235958 w 4366182"/>
              <a:gd name="connsiteY27" fmla="*/ 2807391 h 3821916"/>
              <a:gd name="connsiteX28" fmla="*/ 969257 w 4366182"/>
              <a:gd name="connsiteY28" fmla="*/ 2634988 h 3821916"/>
              <a:gd name="connsiteX29" fmla="*/ 804957 w 4366182"/>
              <a:gd name="connsiteY29" fmla="*/ 2524743 h 3821916"/>
              <a:gd name="connsiteX30" fmla="*/ 669490 w 4366182"/>
              <a:gd name="connsiteY30" fmla="*/ 2420660 h 3821916"/>
              <a:gd name="connsiteX31" fmla="*/ 474757 w 4366182"/>
              <a:gd name="connsiteY31" fmla="*/ 2273630 h 3821916"/>
              <a:gd name="connsiteX32" fmla="*/ 335057 w 4366182"/>
              <a:gd name="connsiteY32" fmla="*/ 2151653 h 3821916"/>
              <a:gd name="connsiteX33" fmla="*/ 148790 w 4366182"/>
              <a:gd name="connsiteY33" fmla="*/ 1999545 h 3821916"/>
              <a:gd name="connsiteX34" fmla="*/ 0 w 4366182"/>
              <a:gd name="connsiteY34" fmla="*/ 1876130 h 3821916"/>
              <a:gd name="connsiteX35" fmla="*/ 233633 w 4366182"/>
              <a:gd name="connsiteY35" fmla="*/ 1658188 h 3821916"/>
              <a:gd name="connsiteX36" fmla="*/ 450333 w 4366182"/>
              <a:gd name="connsiteY36" fmla="*/ 1473589 h 3821916"/>
              <a:gd name="connsiteX37" fmla="*/ 567420 w 4366182"/>
              <a:gd name="connsiteY37" fmla="*/ 1385359 h 3821916"/>
              <a:gd name="connsiteX38" fmla="*/ 684506 w 4366182"/>
              <a:gd name="connsiteY38" fmla="*/ 1297925 h 3821916"/>
              <a:gd name="connsiteX39" fmla="*/ 898091 w 4366182"/>
              <a:gd name="connsiteY39" fmla="*/ 1150957 h 3821916"/>
              <a:gd name="connsiteX40" fmla="*/ 1088590 w 4366182"/>
              <a:gd name="connsiteY40" fmla="*/ 1026780 h 3821916"/>
              <a:gd name="connsiteX41" fmla="*/ 1169023 w 4366182"/>
              <a:gd name="connsiteY41" fmla="*/ 969019 h 3821916"/>
              <a:gd name="connsiteX42" fmla="*/ 1279091 w 4366182"/>
              <a:gd name="connsiteY42" fmla="*/ 903112 h 3821916"/>
              <a:gd name="connsiteX43" fmla="*/ 1270624 w 4366182"/>
              <a:gd name="connsiteY43" fmla="*/ 903542 h 3821916"/>
              <a:gd name="connsiteX44" fmla="*/ 1401857 w 4366182"/>
              <a:gd name="connsiteY44" fmla="*/ 837077 h 3821916"/>
              <a:gd name="connsiteX45" fmla="*/ 1486524 w 4366182"/>
              <a:gd name="connsiteY45" fmla="*/ 787879 h 3821916"/>
              <a:gd name="connsiteX46" fmla="*/ 1592357 w 4366182"/>
              <a:gd name="connsiteY46" fmla="*/ 729903 h 3821916"/>
              <a:gd name="connsiteX47" fmla="*/ 1702424 w 4366182"/>
              <a:gd name="connsiteY47" fmla="*/ 665901 h 3821916"/>
              <a:gd name="connsiteX48" fmla="*/ 1833657 w 4366182"/>
              <a:gd name="connsiteY48" fmla="*/ 595758 h 3821916"/>
              <a:gd name="connsiteX49" fmla="*/ 2028390 w 4366182"/>
              <a:gd name="connsiteY49" fmla="*/ 500969 h 3821916"/>
              <a:gd name="connsiteX50" fmla="*/ 2200104 w 4366182"/>
              <a:gd name="connsiteY50" fmla="*/ 428696 h 3821916"/>
              <a:gd name="connsiteX51" fmla="*/ 2379152 w 4366182"/>
              <a:gd name="connsiteY51" fmla="*/ 349380 h 3821916"/>
              <a:gd name="connsiteX52" fmla="*/ 2546356 w 4366182"/>
              <a:gd name="connsiteY52" fmla="*/ 295349 h 3821916"/>
              <a:gd name="connsiteX53" fmla="*/ 2791042 w 4366182"/>
              <a:gd name="connsiteY53" fmla="*/ 224971 h 3821916"/>
              <a:gd name="connsiteX0" fmla="*/ 2791042 w 4366182"/>
              <a:gd name="connsiteY0" fmla="*/ 224971 h 3821916"/>
              <a:gd name="connsiteX1" fmla="*/ 2955103 w 4366182"/>
              <a:gd name="connsiteY1" fmla="*/ 191099 h 3821916"/>
              <a:gd name="connsiteX2" fmla="*/ 3162124 w 4366182"/>
              <a:gd name="connsiteY2" fmla="*/ 145098 h 3821916"/>
              <a:gd name="connsiteX3" fmla="*/ 3437291 w 4366182"/>
              <a:gd name="connsiteY3" fmla="*/ 88735 h 3821916"/>
              <a:gd name="connsiteX4" fmla="*/ 3744757 w 4366182"/>
              <a:gd name="connsiteY4" fmla="*/ 48626 h 3821916"/>
              <a:gd name="connsiteX5" fmla="*/ 4364456 w 4366182"/>
              <a:gd name="connsiteY5" fmla="*/ 47 h 3821916"/>
              <a:gd name="connsiteX6" fmla="*/ 4360157 w 4366182"/>
              <a:gd name="connsiteY6" fmla="*/ 833488 h 3821916"/>
              <a:gd name="connsiteX7" fmla="*/ 4360157 w 4366182"/>
              <a:gd name="connsiteY7" fmla="*/ 859614 h 3821916"/>
              <a:gd name="connsiteX8" fmla="*/ 4360157 w 4366182"/>
              <a:gd name="connsiteY8" fmla="*/ 907539 h 3821916"/>
              <a:gd name="connsiteX9" fmla="*/ 4360157 w 4366182"/>
              <a:gd name="connsiteY9" fmla="*/ 944863 h 3821916"/>
              <a:gd name="connsiteX10" fmla="*/ 4360157 w 4366182"/>
              <a:gd name="connsiteY10" fmla="*/ 972911 h 3821916"/>
              <a:gd name="connsiteX11" fmla="*/ 4360157 w 4366182"/>
              <a:gd name="connsiteY11" fmla="*/ 993008 h 3821916"/>
              <a:gd name="connsiteX12" fmla="*/ 4360157 w 4366182"/>
              <a:gd name="connsiteY12" fmla="*/ 1006480 h 3821916"/>
              <a:gd name="connsiteX13" fmla="*/ 4360157 w 4366182"/>
              <a:gd name="connsiteY13" fmla="*/ 1018848 h 3821916"/>
              <a:gd name="connsiteX14" fmla="*/ 4360157 w 4366182"/>
              <a:gd name="connsiteY14" fmla="*/ 1020615 h 3821916"/>
              <a:gd name="connsiteX15" fmla="*/ 4360157 w 4366182"/>
              <a:gd name="connsiteY15" fmla="*/ 3748138 h 3821916"/>
              <a:gd name="connsiteX16" fmla="*/ 3839459 w 4366182"/>
              <a:gd name="connsiteY16" fmla="*/ 3821916 h 3821916"/>
              <a:gd name="connsiteX17" fmla="*/ 3593923 w 4366182"/>
              <a:gd name="connsiteY17" fmla="*/ 3685981 h 3821916"/>
              <a:gd name="connsiteX18" fmla="*/ 3399191 w 4366182"/>
              <a:gd name="connsiteY18" fmla="*/ 3656142 h 3821916"/>
              <a:gd name="connsiteX19" fmla="*/ 3179057 w 4366182"/>
              <a:gd name="connsiteY19" fmla="*/ 3609727 h 3821916"/>
              <a:gd name="connsiteX20" fmla="*/ 2967391 w 4366182"/>
              <a:gd name="connsiteY20" fmla="*/ 3559997 h 3821916"/>
              <a:gd name="connsiteX21" fmla="*/ 2692224 w 4366182"/>
              <a:gd name="connsiteY21" fmla="*/ 3483741 h 3821916"/>
              <a:gd name="connsiteX22" fmla="*/ 2463623 w 4366182"/>
              <a:gd name="connsiteY22" fmla="*/ 3410800 h 3821916"/>
              <a:gd name="connsiteX23" fmla="*/ 2222323 w 4366182"/>
              <a:gd name="connsiteY23" fmla="*/ 3324600 h 3821916"/>
              <a:gd name="connsiteX24" fmla="*/ 1981023 w 4366182"/>
              <a:gd name="connsiteY24" fmla="*/ 3221820 h 3821916"/>
              <a:gd name="connsiteX25" fmla="*/ 1718557 w 4366182"/>
              <a:gd name="connsiteY25" fmla="*/ 3089203 h 3821916"/>
              <a:gd name="connsiteX26" fmla="*/ 1481491 w 4366182"/>
              <a:gd name="connsiteY26" fmla="*/ 2959900 h 3821916"/>
              <a:gd name="connsiteX27" fmla="*/ 1235958 w 4366182"/>
              <a:gd name="connsiteY27" fmla="*/ 2807391 h 3821916"/>
              <a:gd name="connsiteX28" fmla="*/ 969257 w 4366182"/>
              <a:gd name="connsiteY28" fmla="*/ 2634988 h 3821916"/>
              <a:gd name="connsiteX29" fmla="*/ 804957 w 4366182"/>
              <a:gd name="connsiteY29" fmla="*/ 2524743 h 3821916"/>
              <a:gd name="connsiteX30" fmla="*/ 669490 w 4366182"/>
              <a:gd name="connsiteY30" fmla="*/ 2420660 h 3821916"/>
              <a:gd name="connsiteX31" fmla="*/ 474757 w 4366182"/>
              <a:gd name="connsiteY31" fmla="*/ 2273630 h 3821916"/>
              <a:gd name="connsiteX32" fmla="*/ 335057 w 4366182"/>
              <a:gd name="connsiteY32" fmla="*/ 2151653 h 3821916"/>
              <a:gd name="connsiteX33" fmla="*/ 148790 w 4366182"/>
              <a:gd name="connsiteY33" fmla="*/ 1999545 h 3821916"/>
              <a:gd name="connsiteX34" fmla="*/ 0 w 4366182"/>
              <a:gd name="connsiteY34" fmla="*/ 1876130 h 3821916"/>
              <a:gd name="connsiteX35" fmla="*/ 233633 w 4366182"/>
              <a:gd name="connsiteY35" fmla="*/ 1658188 h 3821916"/>
              <a:gd name="connsiteX36" fmla="*/ 450333 w 4366182"/>
              <a:gd name="connsiteY36" fmla="*/ 1473589 h 3821916"/>
              <a:gd name="connsiteX37" fmla="*/ 567420 w 4366182"/>
              <a:gd name="connsiteY37" fmla="*/ 1385359 h 3821916"/>
              <a:gd name="connsiteX38" fmla="*/ 684506 w 4366182"/>
              <a:gd name="connsiteY38" fmla="*/ 1297925 h 3821916"/>
              <a:gd name="connsiteX39" fmla="*/ 898091 w 4366182"/>
              <a:gd name="connsiteY39" fmla="*/ 1150957 h 3821916"/>
              <a:gd name="connsiteX40" fmla="*/ 1088590 w 4366182"/>
              <a:gd name="connsiteY40" fmla="*/ 1026780 h 3821916"/>
              <a:gd name="connsiteX41" fmla="*/ 1169023 w 4366182"/>
              <a:gd name="connsiteY41" fmla="*/ 969019 h 3821916"/>
              <a:gd name="connsiteX42" fmla="*/ 1279091 w 4366182"/>
              <a:gd name="connsiteY42" fmla="*/ 903112 h 3821916"/>
              <a:gd name="connsiteX43" fmla="*/ 1270624 w 4366182"/>
              <a:gd name="connsiteY43" fmla="*/ 903542 h 3821916"/>
              <a:gd name="connsiteX44" fmla="*/ 1401857 w 4366182"/>
              <a:gd name="connsiteY44" fmla="*/ 837077 h 3821916"/>
              <a:gd name="connsiteX45" fmla="*/ 1486524 w 4366182"/>
              <a:gd name="connsiteY45" fmla="*/ 787879 h 3821916"/>
              <a:gd name="connsiteX46" fmla="*/ 1592357 w 4366182"/>
              <a:gd name="connsiteY46" fmla="*/ 729903 h 3821916"/>
              <a:gd name="connsiteX47" fmla="*/ 1702424 w 4366182"/>
              <a:gd name="connsiteY47" fmla="*/ 665901 h 3821916"/>
              <a:gd name="connsiteX48" fmla="*/ 1833657 w 4366182"/>
              <a:gd name="connsiteY48" fmla="*/ 595758 h 3821916"/>
              <a:gd name="connsiteX49" fmla="*/ 2028390 w 4366182"/>
              <a:gd name="connsiteY49" fmla="*/ 500969 h 3821916"/>
              <a:gd name="connsiteX50" fmla="*/ 2200104 w 4366182"/>
              <a:gd name="connsiteY50" fmla="*/ 428696 h 3821916"/>
              <a:gd name="connsiteX51" fmla="*/ 2379152 w 4366182"/>
              <a:gd name="connsiteY51" fmla="*/ 349380 h 3821916"/>
              <a:gd name="connsiteX52" fmla="*/ 2546356 w 4366182"/>
              <a:gd name="connsiteY52" fmla="*/ 295349 h 3821916"/>
              <a:gd name="connsiteX53" fmla="*/ 2791042 w 4366182"/>
              <a:gd name="connsiteY53" fmla="*/ 224971 h 3821916"/>
              <a:gd name="connsiteX0" fmla="*/ 2791042 w 4366182"/>
              <a:gd name="connsiteY0" fmla="*/ 224971 h 3821916"/>
              <a:gd name="connsiteX1" fmla="*/ 2955103 w 4366182"/>
              <a:gd name="connsiteY1" fmla="*/ 191099 h 3821916"/>
              <a:gd name="connsiteX2" fmla="*/ 3162124 w 4366182"/>
              <a:gd name="connsiteY2" fmla="*/ 145098 h 3821916"/>
              <a:gd name="connsiteX3" fmla="*/ 3437291 w 4366182"/>
              <a:gd name="connsiteY3" fmla="*/ 88735 h 3821916"/>
              <a:gd name="connsiteX4" fmla="*/ 3744757 w 4366182"/>
              <a:gd name="connsiteY4" fmla="*/ 48626 h 3821916"/>
              <a:gd name="connsiteX5" fmla="*/ 4364456 w 4366182"/>
              <a:gd name="connsiteY5" fmla="*/ 47 h 3821916"/>
              <a:gd name="connsiteX6" fmla="*/ 4360157 w 4366182"/>
              <a:gd name="connsiteY6" fmla="*/ 833488 h 3821916"/>
              <a:gd name="connsiteX7" fmla="*/ 4360157 w 4366182"/>
              <a:gd name="connsiteY7" fmla="*/ 859614 h 3821916"/>
              <a:gd name="connsiteX8" fmla="*/ 4360157 w 4366182"/>
              <a:gd name="connsiteY8" fmla="*/ 907539 h 3821916"/>
              <a:gd name="connsiteX9" fmla="*/ 4360157 w 4366182"/>
              <a:gd name="connsiteY9" fmla="*/ 944863 h 3821916"/>
              <a:gd name="connsiteX10" fmla="*/ 4360157 w 4366182"/>
              <a:gd name="connsiteY10" fmla="*/ 972911 h 3821916"/>
              <a:gd name="connsiteX11" fmla="*/ 4360157 w 4366182"/>
              <a:gd name="connsiteY11" fmla="*/ 993008 h 3821916"/>
              <a:gd name="connsiteX12" fmla="*/ 4360157 w 4366182"/>
              <a:gd name="connsiteY12" fmla="*/ 1006480 h 3821916"/>
              <a:gd name="connsiteX13" fmla="*/ 4360157 w 4366182"/>
              <a:gd name="connsiteY13" fmla="*/ 1018848 h 3821916"/>
              <a:gd name="connsiteX14" fmla="*/ 4360157 w 4366182"/>
              <a:gd name="connsiteY14" fmla="*/ 1020615 h 3821916"/>
              <a:gd name="connsiteX15" fmla="*/ 4360157 w 4366182"/>
              <a:gd name="connsiteY15" fmla="*/ 3748138 h 3821916"/>
              <a:gd name="connsiteX16" fmla="*/ 3839459 w 4366182"/>
              <a:gd name="connsiteY16" fmla="*/ 3821916 h 3821916"/>
              <a:gd name="connsiteX17" fmla="*/ 3593923 w 4366182"/>
              <a:gd name="connsiteY17" fmla="*/ 3685981 h 3821916"/>
              <a:gd name="connsiteX18" fmla="*/ 3399191 w 4366182"/>
              <a:gd name="connsiteY18" fmla="*/ 3656142 h 3821916"/>
              <a:gd name="connsiteX19" fmla="*/ 3179057 w 4366182"/>
              <a:gd name="connsiteY19" fmla="*/ 3609727 h 3821916"/>
              <a:gd name="connsiteX20" fmla="*/ 2967391 w 4366182"/>
              <a:gd name="connsiteY20" fmla="*/ 3559997 h 3821916"/>
              <a:gd name="connsiteX21" fmla="*/ 2692224 w 4366182"/>
              <a:gd name="connsiteY21" fmla="*/ 3483741 h 3821916"/>
              <a:gd name="connsiteX22" fmla="*/ 2463623 w 4366182"/>
              <a:gd name="connsiteY22" fmla="*/ 3410800 h 3821916"/>
              <a:gd name="connsiteX23" fmla="*/ 2222323 w 4366182"/>
              <a:gd name="connsiteY23" fmla="*/ 3324600 h 3821916"/>
              <a:gd name="connsiteX24" fmla="*/ 1981023 w 4366182"/>
              <a:gd name="connsiteY24" fmla="*/ 3221820 h 3821916"/>
              <a:gd name="connsiteX25" fmla="*/ 1718557 w 4366182"/>
              <a:gd name="connsiteY25" fmla="*/ 3089203 h 3821916"/>
              <a:gd name="connsiteX26" fmla="*/ 1481491 w 4366182"/>
              <a:gd name="connsiteY26" fmla="*/ 2959900 h 3821916"/>
              <a:gd name="connsiteX27" fmla="*/ 1235958 w 4366182"/>
              <a:gd name="connsiteY27" fmla="*/ 2807391 h 3821916"/>
              <a:gd name="connsiteX28" fmla="*/ 969257 w 4366182"/>
              <a:gd name="connsiteY28" fmla="*/ 2634988 h 3821916"/>
              <a:gd name="connsiteX29" fmla="*/ 804957 w 4366182"/>
              <a:gd name="connsiteY29" fmla="*/ 2524743 h 3821916"/>
              <a:gd name="connsiteX30" fmla="*/ 669490 w 4366182"/>
              <a:gd name="connsiteY30" fmla="*/ 2420660 h 3821916"/>
              <a:gd name="connsiteX31" fmla="*/ 474757 w 4366182"/>
              <a:gd name="connsiteY31" fmla="*/ 2273630 h 3821916"/>
              <a:gd name="connsiteX32" fmla="*/ 335057 w 4366182"/>
              <a:gd name="connsiteY32" fmla="*/ 2151653 h 3821916"/>
              <a:gd name="connsiteX33" fmla="*/ 148790 w 4366182"/>
              <a:gd name="connsiteY33" fmla="*/ 1999545 h 3821916"/>
              <a:gd name="connsiteX34" fmla="*/ 0 w 4366182"/>
              <a:gd name="connsiteY34" fmla="*/ 1876130 h 3821916"/>
              <a:gd name="connsiteX35" fmla="*/ 233633 w 4366182"/>
              <a:gd name="connsiteY35" fmla="*/ 1658188 h 3821916"/>
              <a:gd name="connsiteX36" fmla="*/ 450333 w 4366182"/>
              <a:gd name="connsiteY36" fmla="*/ 1473589 h 3821916"/>
              <a:gd name="connsiteX37" fmla="*/ 567420 w 4366182"/>
              <a:gd name="connsiteY37" fmla="*/ 1385359 h 3821916"/>
              <a:gd name="connsiteX38" fmla="*/ 684506 w 4366182"/>
              <a:gd name="connsiteY38" fmla="*/ 1297925 h 3821916"/>
              <a:gd name="connsiteX39" fmla="*/ 898091 w 4366182"/>
              <a:gd name="connsiteY39" fmla="*/ 1150957 h 3821916"/>
              <a:gd name="connsiteX40" fmla="*/ 1088590 w 4366182"/>
              <a:gd name="connsiteY40" fmla="*/ 1026780 h 3821916"/>
              <a:gd name="connsiteX41" fmla="*/ 1169023 w 4366182"/>
              <a:gd name="connsiteY41" fmla="*/ 969019 h 3821916"/>
              <a:gd name="connsiteX42" fmla="*/ 1279091 w 4366182"/>
              <a:gd name="connsiteY42" fmla="*/ 903112 h 3821916"/>
              <a:gd name="connsiteX43" fmla="*/ 1270624 w 4366182"/>
              <a:gd name="connsiteY43" fmla="*/ 903542 h 3821916"/>
              <a:gd name="connsiteX44" fmla="*/ 1401857 w 4366182"/>
              <a:gd name="connsiteY44" fmla="*/ 837077 h 3821916"/>
              <a:gd name="connsiteX45" fmla="*/ 1486524 w 4366182"/>
              <a:gd name="connsiteY45" fmla="*/ 787879 h 3821916"/>
              <a:gd name="connsiteX46" fmla="*/ 1592357 w 4366182"/>
              <a:gd name="connsiteY46" fmla="*/ 729903 h 3821916"/>
              <a:gd name="connsiteX47" fmla="*/ 1702424 w 4366182"/>
              <a:gd name="connsiteY47" fmla="*/ 665901 h 3821916"/>
              <a:gd name="connsiteX48" fmla="*/ 1833657 w 4366182"/>
              <a:gd name="connsiteY48" fmla="*/ 595758 h 3821916"/>
              <a:gd name="connsiteX49" fmla="*/ 2028390 w 4366182"/>
              <a:gd name="connsiteY49" fmla="*/ 500969 h 3821916"/>
              <a:gd name="connsiteX50" fmla="*/ 2200104 w 4366182"/>
              <a:gd name="connsiteY50" fmla="*/ 428696 h 3821916"/>
              <a:gd name="connsiteX51" fmla="*/ 2379152 w 4366182"/>
              <a:gd name="connsiteY51" fmla="*/ 349380 h 3821916"/>
              <a:gd name="connsiteX52" fmla="*/ 2546356 w 4366182"/>
              <a:gd name="connsiteY52" fmla="*/ 295349 h 3821916"/>
              <a:gd name="connsiteX53" fmla="*/ 2791042 w 4366182"/>
              <a:gd name="connsiteY53" fmla="*/ 224971 h 3821916"/>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567420 w 4366182"/>
              <a:gd name="connsiteY37" fmla="*/ 1385359 h 3748138"/>
              <a:gd name="connsiteX38" fmla="*/ 684506 w 4366182"/>
              <a:gd name="connsiteY38" fmla="*/ 1297925 h 3748138"/>
              <a:gd name="connsiteX39" fmla="*/ 898091 w 4366182"/>
              <a:gd name="connsiteY39" fmla="*/ 1150957 h 3748138"/>
              <a:gd name="connsiteX40" fmla="*/ 1088590 w 4366182"/>
              <a:gd name="connsiteY40" fmla="*/ 1026780 h 3748138"/>
              <a:gd name="connsiteX41" fmla="*/ 1169023 w 4366182"/>
              <a:gd name="connsiteY41" fmla="*/ 969019 h 3748138"/>
              <a:gd name="connsiteX42" fmla="*/ 1279091 w 4366182"/>
              <a:gd name="connsiteY42" fmla="*/ 903112 h 3748138"/>
              <a:gd name="connsiteX43" fmla="*/ 1270624 w 4366182"/>
              <a:gd name="connsiteY43" fmla="*/ 903542 h 3748138"/>
              <a:gd name="connsiteX44" fmla="*/ 1401857 w 4366182"/>
              <a:gd name="connsiteY44" fmla="*/ 837077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2001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855178"/>
              <a:gd name="connsiteX1" fmla="*/ 2955103 w 4366182"/>
              <a:gd name="connsiteY1" fmla="*/ 191099 h 3855178"/>
              <a:gd name="connsiteX2" fmla="*/ 3162124 w 4366182"/>
              <a:gd name="connsiteY2" fmla="*/ 145098 h 3855178"/>
              <a:gd name="connsiteX3" fmla="*/ 3437291 w 4366182"/>
              <a:gd name="connsiteY3" fmla="*/ 88735 h 3855178"/>
              <a:gd name="connsiteX4" fmla="*/ 3744757 w 4366182"/>
              <a:gd name="connsiteY4" fmla="*/ 48626 h 3855178"/>
              <a:gd name="connsiteX5" fmla="*/ 4364456 w 4366182"/>
              <a:gd name="connsiteY5" fmla="*/ 47 h 3855178"/>
              <a:gd name="connsiteX6" fmla="*/ 4360157 w 4366182"/>
              <a:gd name="connsiteY6" fmla="*/ 833488 h 3855178"/>
              <a:gd name="connsiteX7" fmla="*/ 4360157 w 4366182"/>
              <a:gd name="connsiteY7" fmla="*/ 859614 h 3855178"/>
              <a:gd name="connsiteX8" fmla="*/ 4360157 w 4366182"/>
              <a:gd name="connsiteY8" fmla="*/ 907539 h 3855178"/>
              <a:gd name="connsiteX9" fmla="*/ 4360157 w 4366182"/>
              <a:gd name="connsiteY9" fmla="*/ 944863 h 3855178"/>
              <a:gd name="connsiteX10" fmla="*/ 4360157 w 4366182"/>
              <a:gd name="connsiteY10" fmla="*/ 972911 h 3855178"/>
              <a:gd name="connsiteX11" fmla="*/ 4360157 w 4366182"/>
              <a:gd name="connsiteY11" fmla="*/ 993008 h 3855178"/>
              <a:gd name="connsiteX12" fmla="*/ 4360157 w 4366182"/>
              <a:gd name="connsiteY12" fmla="*/ 1006480 h 3855178"/>
              <a:gd name="connsiteX13" fmla="*/ 4360157 w 4366182"/>
              <a:gd name="connsiteY13" fmla="*/ 1018848 h 3855178"/>
              <a:gd name="connsiteX14" fmla="*/ 4360157 w 4366182"/>
              <a:gd name="connsiteY14" fmla="*/ 1020615 h 3855178"/>
              <a:gd name="connsiteX15" fmla="*/ 4360157 w 4366182"/>
              <a:gd name="connsiteY15" fmla="*/ 3748138 h 3855178"/>
              <a:gd name="connsiteX16" fmla="*/ 4093457 w 4366182"/>
              <a:gd name="connsiteY16" fmla="*/ 3855069 h 3855178"/>
              <a:gd name="connsiteX17" fmla="*/ 3835226 w 4366182"/>
              <a:gd name="connsiteY17" fmla="*/ 3715823 h 3855178"/>
              <a:gd name="connsiteX18" fmla="*/ 3593923 w 4366182"/>
              <a:gd name="connsiteY18" fmla="*/ 3685981 h 3855178"/>
              <a:gd name="connsiteX19" fmla="*/ 3399191 w 4366182"/>
              <a:gd name="connsiteY19" fmla="*/ 3656142 h 3855178"/>
              <a:gd name="connsiteX20" fmla="*/ 3179057 w 4366182"/>
              <a:gd name="connsiteY20" fmla="*/ 3609727 h 3855178"/>
              <a:gd name="connsiteX21" fmla="*/ 2967391 w 4366182"/>
              <a:gd name="connsiteY21" fmla="*/ 3559997 h 3855178"/>
              <a:gd name="connsiteX22" fmla="*/ 2692224 w 4366182"/>
              <a:gd name="connsiteY22" fmla="*/ 3483741 h 3855178"/>
              <a:gd name="connsiteX23" fmla="*/ 2463623 w 4366182"/>
              <a:gd name="connsiteY23" fmla="*/ 3410800 h 3855178"/>
              <a:gd name="connsiteX24" fmla="*/ 2222323 w 4366182"/>
              <a:gd name="connsiteY24" fmla="*/ 3324600 h 3855178"/>
              <a:gd name="connsiteX25" fmla="*/ 1981023 w 4366182"/>
              <a:gd name="connsiteY25" fmla="*/ 3221820 h 3855178"/>
              <a:gd name="connsiteX26" fmla="*/ 1718557 w 4366182"/>
              <a:gd name="connsiteY26" fmla="*/ 3089203 h 3855178"/>
              <a:gd name="connsiteX27" fmla="*/ 1481491 w 4366182"/>
              <a:gd name="connsiteY27" fmla="*/ 2959900 h 3855178"/>
              <a:gd name="connsiteX28" fmla="*/ 1235958 w 4366182"/>
              <a:gd name="connsiteY28" fmla="*/ 2807391 h 3855178"/>
              <a:gd name="connsiteX29" fmla="*/ 969257 w 4366182"/>
              <a:gd name="connsiteY29" fmla="*/ 2634988 h 3855178"/>
              <a:gd name="connsiteX30" fmla="*/ 804957 w 4366182"/>
              <a:gd name="connsiteY30" fmla="*/ 2524743 h 3855178"/>
              <a:gd name="connsiteX31" fmla="*/ 669490 w 4366182"/>
              <a:gd name="connsiteY31" fmla="*/ 2420660 h 3855178"/>
              <a:gd name="connsiteX32" fmla="*/ 474757 w 4366182"/>
              <a:gd name="connsiteY32" fmla="*/ 2273630 h 3855178"/>
              <a:gd name="connsiteX33" fmla="*/ 335057 w 4366182"/>
              <a:gd name="connsiteY33" fmla="*/ 2151653 h 3855178"/>
              <a:gd name="connsiteX34" fmla="*/ 148790 w 4366182"/>
              <a:gd name="connsiteY34" fmla="*/ 1999545 h 3855178"/>
              <a:gd name="connsiteX35" fmla="*/ 0 w 4366182"/>
              <a:gd name="connsiteY35" fmla="*/ 1876130 h 3855178"/>
              <a:gd name="connsiteX36" fmla="*/ 233633 w 4366182"/>
              <a:gd name="connsiteY36" fmla="*/ 1658188 h 3855178"/>
              <a:gd name="connsiteX37" fmla="*/ 450333 w 4366182"/>
              <a:gd name="connsiteY37" fmla="*/ 1473589 h 3855178"/>
              <a:gd name="connsiteX38" fmla="*/ 567420 w 4366182"/>
              <a:gd name="connsiteY38" fmla="*/ 1385359 h 3855178"/>
              <a:gd name="connsiteX39" fmla="*/ 684506 w 4366182"/>
              <a:gd name="connsiteY39" fmla="*/ 1297925 h 3855178"/>
              <a:gd name="connsiteX40" fmla="*/ 898091 w 4366182"/>
              <a:gd name="connsiteY40" fmla="*/ 1150957 h 3855178"/>
              <a:gd name="connsiteX41" fmla="*/ 1088590 w 4366182"/>
              <a:gd name="connsiteY41" fmla="*/ 1026780 h 3855178"/>
              <a:gd name="connsiteX42" fmla="*/ 1169023 w 4366182"/>
              <a:gd name="connsiteY42" fmla="*/ 969019 h 3855178"/>
              <a:gd name="connsiteX43" fmla="*/ 1279091 w 4366182"/>
              <a:gd name="connsiteY43" fmla="*/ 903112 h 3855178"/>
              <a:gd name="connsiteX44" fmla="*/ 1270624 w 4366182"/>
              <a:gd name="connsiteY44" fmla="*/ 903542 h 3855178"/>
              <a:gd name="connsiteX45" fmla="*/ 1401857 w 4366182"/>
              <a:gd name="connsiteY45" fmla="*/ 837077 h 3855178"/>
              <a:gd name="connsiteX46" fmla="*/ 1486524 w 4366182"/>
              <a:gd name="connsiteY46" fmla="*/ 787879 h 3855178"/>
              <a:gd name="connsiteX47" fmla="*/ 1592357 w 4366182"/>
              <a:gd name="connsiteY47" fmla="*/ 729903 h 3855178"/>
              <a:gd name="connsiteX48" fmla="*/ 1702424 w 4366182"/>
              <a:gd name="connsiteY48" fmla="*/ 665901 h 3855178"/>
              <a:gd name="connsiteX49" fmla="*/ 1833657 w 4366182"/>
              <a:gd name="connsiteY49" fmla="*/ 595758 h 3855178"/>
              <a:gd name="connsiteX50" fmla="*/ 2028390 w 4366182"/>
              <a:gd name="connsiteY50" fmla="*/ 500969 h 3855178"/>
              <a:gd name="connsiteX51" fmla="*/ 2200104 w 4366182"/>
              <a:gd name="connsiteY51" fmla="*/ 428696 h 3855178"/>
              <a:gd name="connsiteX52" fmla="*/ 2379152 w 4366182"/>
              <a:gd name="connsiteY52" fmla="*/ 349380 h 3855178"/>
              <a:gd name="connsiteX53" fmla="*/ 2546356 w 4366182"/>
              <a:gd name="connsiteY53" fmla="*/ 295349 h 3855178"/>
              <a:gd name="connsiteX54" fmla="*/ 2791042 w 4366182"/>
              <a:gd name="connsiteY54" fmla="*/ 224971 h 3855178"/>
              <a:gd name="connsiteX0" fmla="*/ 2791042 w 4366182"/>
              <a:gd name="connsiteY0" fmla="*/ 224971 h 3855069"/>
              <a:gd name="connsiteX1" fmla="*/ 2955103 w 4366182"/>
              <a:gd name="connsiteY1" fmla="*/ 191099 h 3855069"/>
              <a:gd name="connsiteX2" fmla="*/ 3162124 w 4366182"/>
              <a:gd name="connsiteY2" fmla="*/ 145098 h 3855069"/>
              <a:gd name="connsiteX3" fmla="*/ 3437291 w 4366182"/>
              <a:gd name="connsiteY3" fmla="*/ 88735 h 3855069"/>
              <a:gd name="connsiteX4" fmla="*/ 3744757 w 4366182"/>
              <a:gd name="connsiteY4" fmla="*/ 48626 h 3855069"/>
              <a:gd name="connsiteX5" fmla="*/ 4364456 w 4366182"/>
              <a:gd name="connsiteY5" fmla="*/ 47 h 3855069"/>
              <a:gd name="connsiteX6" fmla="*/ 4360157 w 4366182"/>
              <a:gd name="connsiteY6" fmla="*/ 833488 h 3855069"/>
              <a:gd name="connsiteX7" fmla="*/ 4360157 w 4366182"/>
              <a:gd name="connsiteY7" fmla="*/ 859614 h 3855069"/>
              <a:gd name="connsiteX8" fmla="*/ 4360157 w 4366182"/>
              <a:gd name="connsiteY8" fmla="*/ 907539 h 3855069"/>
              <a:gd name="connsiteX9" fmla="*/ 4360157 w 4366182"/>
              <a:gd name="connsiteY9" fmla="*/ 944863 h 3855069"/>
              <a:gd name="connsiteX10" fmla="*/ 4360157 w 4366182"/>
              <a:gd name="connsiteY10" fmla="*/ 972911 h 3855069"/>
              <a:gd name="connsiteX11" fmla="*/ 4360157 w 4366182"/>
              <a:gd name="connsiteY11" fmla="*/ 993008 h 3855069"/>
              <a:gd name="connsiteX12" fmla="*/ 4360157 w 4366182"/>
              <a:gd name="connsiteY12" fmla="*/ 1006480 h 3855069"/>
              <a:gd name="connsiteX13" fmla="*/ 4360157 w 4366182"/>
              <a:gd name="connsiteY13" fmla="*/ 1018848 h 3855069"/>
              <a:gd name="connsiteX14" fmla="*/ 4360157 w 4366182"/>
              <a:gd name="connsiteY14" fmla="*/ 1020615 h 3855069"/>
              <a:gd name="connsiteX15" fmla="*/ 4360157 w 4366182"/>
              <a:gd name="connsiteY15" fmla="*/ 3748138 h 3855069"/>
              <a:gd name="connsiteX16" fmla="*/ 4093457 w 4366182"/>
              <a:gd name="connsiteY16" fmla="*/ 3855069 h 3855069"/>
              <a:gd name="connsiteX17" fmla="*/ 3835226 w 4366182"/>
              <a:gd name="connsiteY17" fmla="*/ 3715823 h 3855069"/>
              <a:gd name="connsiteX18" fmla="*/ 3593923 w 4366182"/>
              <a:gd name="connsiteY18" fmla="*/ 3685981 h 3855069"/>
              <a:gd name="connsiteX19" fmla="*/ 3399191 w 4366182"/>
              <a:gd name="connsiteY19" fmla="*/ 3656142 h 3855069"/>
              <a:gd name="connsiteX20" fmla="*/ 3179057 w 4366182"/>
              <a:gd name="connsiteY20" fmla="*/ 3609727 h 3855069"/>
              <a:gd name="connsiteX21" fmla="*/ 2967391 w 4366182"/>
              <a:gd name="connsiteY21" fmla="*/ 3559997 h 3855069"/>
              <a:gd name="connsiteX22" fmla="*/ 2692224 w 4366182"/>
              <a:gd name="connsiteY22" fmla="*/ 3483741 h 3855069"/>
              <a:gd name="connsiteX23" fmla="*/ 2463623 w 4366182"/>
              <a:gd name="connsiteY23" fmla="*/ 3410800 h 3855069"/>
              <a:gd name="connsiteX24" fmla="*/ 2222323 w 4366182"/>
              <a:gd name="connsiteY24" fmla="*/ 3324600 h 3855069"/>
              <a:gd name="connsiteX25" fmla="*/ 1981023 w 4366182"/>
              <a:gd name="connsiteY25" fmla="*/ 3221820 h 3855069"/>
              <a:gd name="connsiteX26" fmla="*/ 1718557 w 4366182"/>
              <a:gd name="connsiteY26" fmla="*/ 3089203 h 3855069"/>
              <a:gd name="connsiteX27" fmla="*/ 1481491 w 4366182"/>
              <a:gd name="connsiteY27" fmla="*/ 2959900 h 3855069"/>
              <a:gd name="connsiteX28" fmla="*/ 1235958 w 4366182"/>
              <a:gd name="connsiteY28" fmla="*/ 2807391 h 3855069"/>
              <a:gd name="connsiteX29" fmla="*/ 969257 w 4366182"/>
              <a:gd name="connsiteY29" fmla="*/ 2634988 h 3855069"/>
              <a:gd name="connsiteX30" fmla="*/ 804957 w 4366182"/>
              <a:gd name="connsiteY30" fmla="*/ 2524743 h 3855069"/>
              <a:gd name="connsiteX31" fmla="*/ 669490 w 4366182"/>
              <a:gd name="connsiteY31" fmla="*/ 2420660 h 3855069"/>
              <a:gd name="connsiteX32" fmla="*/ 474757 w 4366182"/>
              <a:gd name="connsiteY32" fmla="*/ 2273630 h 3855069"/>
              <a:gd name="connsiteX33" fmla="*/ 335057 w 4366182"/>
              <a:gd name="connsiteY33" fmla="*/ 2151653 h 3855069"/>
              <a:gd name="connsiteX34" fmla="*/ 148790 w 4366182"/>
              <a:gd name="connsiteY34" fmla="*/ 1999545 h 3855069"/>
              <a:gd name="connsiteX35" fmla="*/ 0 w 4366182"/>
              <a:gd name="connsiteY35" fmla="*/ 1876130 h 3855069"/>
              <a:gd name="connsiteX36" fmla="*/ 233633 w 4366182"/>
              <a:gd name="connsiteY36" fmla="*/ 1658188 h 3855069"/>
              <a:gd name="connsiteX37" fmla="*/ 450333 w 4366182"/>
              <a:gd name="connsiteY37" fmla="*/ 1473589 h 3855069"/>
              <a:gd name="connsiteX38" fmla="*/ 567420 w 4366182"/>
              <a:gd name="connsiteY38" fmla="*/ 1385359 h 3855069"/>
              <a:gd name="connsiteX39" fmla="*/ 684506 w 4366182"/>
              <a:gd name="connsiteY39" fmla="*/ 1297925 h 3855069"/>
              <a:gd name="connsiteX40" fmla="*/ 898091 w 4366182"/>
              <a:gd name="connsiteY40" fmla="*/ 1150957 h 3855069"/>
              <a:gd name="connsiteX41" fmla="*/ 1088590 w 4366182"/>
              <a:gd name="connsiteY41" fmla="*/ 1026780 h 3855069"/>
              <a:gd name="connsiteX42" fmla="*/ 1169023 w 4366182"/>
              <a:gd name="connsiteY42" fmla="*/ 969019 h 3855069"/>
              <a:gd name="connsiteX43" fmla="*/ 1279091 w 4366182"/>
              <a:gd name="connsiteY43" fmla="*/ 903112 h 3855069"/>
              <a:gd name="connsiteX44" fmla="*/ 1270624 w 4366182"/>
              <a:gd name="connsiteY44" fmla="*/ 903542 h 3855069"/>
              <a:gd name="connsiteX45" fmla="*/ 1401857 w 4366182"/>
              <a:gd name="connsiteY45" fmla="*/ 837077 h 3855069"/>
              <a:gd name="connsiteX46" fmla="*/ 1486524 w 4366182"/>
              <a:gd name="connsiteY46" fmla="*/ 787879 h 3855069"/>
              <a:gd name="connsiteX47" fmla="*/ 1592357 w 4366182"/>
              <a:gd name="connsiteY47" fmla="*/ 729903 h 3855069"/>
              <a:gd name="connsiteX48" fmla="*/ 1702424 w 4366182"/>
              <a:gd name="connsiteY48" fmla="*/ 665901 h 3855069"/>
              <a:gd name="connsiteX49" fmla="*/ 1833657 w 4366182"/>
              <a:gd name="connsiteY49" fmla="*/ 595758 h 3855069"/>
              <a:gd name="connsiteX50" fmla="*/ 2028390 w 4366182"/>
              <a:gd name="connsiteY50" fmla="*/ 500969 h 3855069"/>
              <a:gd name="connsiteX51" fmla="*/ 2200104 w 4366182"/>
              <a:gd name="connsiteY51" fmla="*/ 428696 h 3855069"/>
              <a:gd name="connsiteX52" fmla="*/ 2379152 w 4366182"/>
              <a:gd name="connsiteY52" fmla="*/ 349380 h 3855069"/>
              <a:gd name="connsiteX53" fmla="*/ 2546356 w 4366182"/>
              <a:gd name="connsiteY53" fmla="*/ 295349 h 3855069"/>
              <a:gd name="connsiteX54" fmla="*/ 2791042 w 4366182"/>
              <a:gd name="connsiteY54" fmla="*/ 224971 h 3855069"/>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270624 w 4366182"/>
              <a:gd name="connsiteY44" fmla="*/ 903542 h 3748138"/>
              <a:gd name="connsiteX45" fmla="*/ 1401857 w 4366182"/>
              <a:gd name="connsiteY45" fmla="*/ 837077 h 3748138"/>
              <a:gd name="connsiteX46" fmla="*/ 1486524 w 4366182"/>
              <a:gd name="connsiteY46" fmla="*/ 787879 h 3748138"/>
              <a:gd name="connsiteX47" fmla="*/ 1592357 w 4366182"/>
              <a:gd name="connsiteY47" fmla="*/ 729903 h 3748138"/>
              <a:gd name="connsiteX48" fmla="*/ 1702424 w 4366182"/>
              <a:gd name="connsiteY48" fmla="*/ 665901 h 3748138"/>
              <a:gd name="connsiteX49" fmla="*/ 1833657 w 4366182"/>
              <a:gd name="connsiteY49" fmla="*/ 595758 h 3748138"/>
              <a:gd name="connsiteX50" fmla="*/ 2028390 w 4366182"/>
              <a:gd name="connsiteY50" fmla="*/ 500969 h 3748138"/>
              <a:gd name="connsiteX51" fmla="*/ 2200104 w 4366182"/>
              <a:gd name="connsiteY51" fmla="*/ 428696 h 3748138"/>
              <a:gd name="connsiteX52" fmla="*/ 2379152 w 4366182"/>
              <a:gd name="connsiteY52" fmla="*/ 349380 h 3748138"/>
              <a:gd name="connsiteX53" fmla="*/ 2546356 w 4366182"/>
              <a:gd name="connsiteY53" fmla="*/ 295349 h 3748138"/>
              <a:gd name="connsiteX54" fmla="*/ 2791042 w 4366182"/>
              <a:gd name="connsiteY54"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401857 w 4366182"/>
              <a:gd name="connsiteY44" fmla="*/ 837077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2001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2001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87879 h 3748138"/>
              <a:gd name="connsiteX46" fmla="*/ 1600824 w 4366182"/>
              <a:gd name="connsiteY46" fmla="*/ 719957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94991 w 4366182"/>
              <a:gd name="connsiteY45" fmla="*/ 784563 h 3748138"/>
              <a:gd name="connsiteX46" fmla="*/ 1600824 w 4366182"/>
              <a:gd name="connsiteY46" fmla="*/ 719957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77932 h 3748138"/>
              <a:gd name="connsiteX46" fmla="*/ 1600824 w 4366182"/>
              <a:gd name="connsiteY46" fmla="*/ 719957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397623 w 4366182"/>
              <a:gd name="connsiteY43" fmla="*/ 833761 h 3748138"/>
              <a:gd name="connsiteX44" fmla="*/ 1486524 w 4366182"/>
              <a:gd name="connsiteY44" fmla="*/ 777932 h 3748138"/>
              <a:gd name="connsiteX45" fmla="*/ 1600824 w 4366182"/>
              <a:gd name="connsiteY45" fmla="*/ 719957 h 3748138"/>
              <a:gd name="connsiteX46" fmla="*/ 1702424 w 4366182"/>
              <a:gd name="connsiteY46" fmla="*/ 665901 h 3748138"/>
              <a:gd name="connsiteX47" fmla="*/ 1833657 w 4366182"/>
              <a:gd name="connsiteY47" fmla="*/ 595758 h 3748138"/>
              <a:gd name="connsiteX48" fmla="*/ 2028390 w 4366182"/>
              <a:gd name="connsiteY48" fmla="*/ 500969 h 3748138"/>
              <a:gd name="connsiteX49" fmla="*/ 2187404 w 4366182"/>
              <a:gd name="connsiteY49" fmla="*/ 428696 h 3748138"/>
              <a:gd name="connsiteX50" fmla="*/ 2379152 w 4366182"/>
              <a:gd name="connsiteY50" fmla="*/ 349380 h 3748138"/>
              <a:gd name="connsiteX51" fmla="*/ 2546356 w 4366182"/>
              <a:gd name="connsiteY51" fmla="*/ 295349 h 3748138"/>
              <a:gd name="connsiteX52" fmla="*/ 2791042 w 4366182"/>
              <a:gd name="connsiteY52"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397623 w 4366182"/>
              <a:gd name="connsiteY43" fmla="*/ 833761 h 3748138"/>
              <a:gd name="connsiteX44" fmla="*/ 1486524 w 4366182"/>
              <a:gd name="connsiteY44" fmla="*/ 777932 h 3748138"/>
              <a:gd name="connsiteX45" fmla="*/ 1600824 w 4366182"/>
              <a:gd name="connsiteY45" fmla="*/ 719957 h 3748138"/>
              <a:gd name="connsiteX46" fmla="*/ 1702424 w 4366182"/>
              <a:gd name="connsiteY46" fmla="*/ 665901 h 3748138"/>
              <a:gd name="connsiteX47" fmla="*/ 1833657 w 4366182"/>
              <a:gd name="connsiteY47" fmla="*/ 595758 h 3748138"/>
              <a:gd name="connsiteX48" fmla="*/ 2028390 w 4366182"/>
              <a:gd name="connsiteY48" fmla="*/ 500969 h 3748138"/>
              <a:gd name="connsiteX49" fmla="*/ 2187404 w 4366182"/>
              <a:gd name="connsiteY49" fmla="*/ 428696 h 3748138"/>
              <a:gd name="connsiteX50" fmla="*/ 2379152 w 4366182"/>
              <a:gd name="connsiteY50" fmla="*/ 349380 h 3748138"/>
              <a:gd name="connsiteX51" fmla="*/ 2546356 w 4366182"/>
              <a:gd name="connsiteY51" fmla="*/ 295349 h 3748138"/>
              <a:gd name="connsiteX52" fmla="*/ 2791042 w 4366182"/>
              <a:gd name="connsiteY52"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486524 w 4366182"/>
              <a:gd name="connsiteY43" fmla="*/ 777932 h 3748138"/>
              <a:gd name="connsiteX44" fmla="*/ 1600824 w 4366182"/>
              <a:gd name="connsiteY44" fmla="*/ 719957 h 3748138"/>
              <a:gd name="connsiteX45" fmla="*/ 1702424 w 4366182"/>
              <a:gd name="connsiteY45" fmla="*/ 665901 h 3748138"/>
              <a:gd name="connsiteX46" fmla="*/ 1833657 w 4366182"/>
              <a:gd name="connsiteY46" fmla="*/ 595758 h 3748138"/>
              <a:gd name="connsiteX47" fmla="*/ 2028390 w 4366182"/>
              <a:gd name="connsiteY47" fmla="*/ 500969 h 3748138"/>
              <a:gd name="connsiteX48" fmla="*/ 2187404 w 4366182"/>
              <a:gd name="connsiteY48" fmla="*/ 428696 h 3748138"/>
              <a:gd name="connsiteX49" fmla="*/ 2379152 w 4366182"/>
              <a:gd name="connsiteY49" fmla="*/ 349380 h 3748138"/>
              <a:gd name="connsiteX50" fmla="*/ 2546356 w 4366182"/>
              <a:gd name="connsiteY50" fmla="*/ 295349 h 3748138"/>
              <a:gd name="connsiteX51" fmla="*/ 2791042 w 4366182"/>
              <a:gd name="connsiteY51"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486524 w 4366182"/>
              <a:gd name="connsiteY43" fmla="*/ 777932 h 3748138"/>
              <a:gd name="connsiteX44" fmla="*/ 1702424 w 4366182"/>
              <a:gd name="connsiteY44" fmla="*/ 665901 h 3748138"/>
              <a:gd name="connsiteX45" fmla="*/ 1833657 w 4366182"/>
              <a:gd name="connsiteY45" fmla="*/ 595758 h 3748138"/>
              <a:gd name="connsiteX46" fmla="*/ 2028390 w 4366182"/>
              <a:gd name="connsiteY46" fmla="*/ 500969 h 3748138"/>
              <a:gd name="connsiteX47" fmla="*/ 2187404 w 4366182"/>
              <a:gd name="connsiteY47" fmla="*/ 428696 h 3748138"/>
              <a:gd name="connsiteX48" fmla="*/ 2379152 w 4366182"/>
              <a:gd name="connsiteY48" fmla="*/ 349380 h 3748138"/>
              <a:gd name="connsiteX49" fmla="*/ 2546356 w 4366182"/>
              <a:gd name="connsiteY49" fmla="*/ 295349 h 3748138"/>
              <a:gd name="connsiteX50" fmla="*/ 2791042 w 4366182"/>
              <a:gd name="connsiteY50" fmla="*/ 224971 h 3748138"/>
              <a:gd name="connsiteX0" fmla="*/ 2791042 w 4366182"/>
              <a:gd name="connsiteY0" fmla="*/ 224971 h 3748138"/>
              <a:gd name="connsiteX1" fmla="*/ 3162124 w 4366182"/>
              <a:gd name="connsiteY1" fmla="*/ 145098 h 3748138"/>
              <a:gd name="connsiteX2" fmla="*/ 3437291 w 4366182"/>
              <a:gd name="connsiteY2" fmla="*/ 88735 h 3748138"/>
              <a:gd name="connsiteX3" fmla="*/ 3744757 w 4366182"/>
              <a:gd name="connsiteY3" fmla="*/ 48626 h 3748138"/>
              <a:gd name="connsiteX4" fmla="*/ 4364456 w 4366182"/>
              <a:gd name="connsiteY4" fmla="*/ 47 h 3748138"/>
              <a:gd name="connsiteX5" fmla="*/ 4360157 w 4366182"/>
              <a:gd name="connsiteY5" fmla="*/ 833488 h 3748138"/>
              <a:gd name="connsiteX6" fmla="*/ 4360157 w 4366182"/>
              <a:gd name="connsiteY6" fmla="*/ 859614 h 3748138"/>
              <a:gd name="connsiteX7" fmla="*/ 4360157 w 4366182"/>
              <a:gd name="connsiteY7" fmla="*/ 907539 h 3748138"/>
              <a:gd name="connsiteX8" fmla="*/ 4360157 w 4366182"/>
              <a:gd name="connsiteY8" fmla="*/ 944863 h 3748138"/>
              <a:gd name="connsiteX9" fmla="*/ 4360157 w 4366182"/>
              <a:gd name="connsiteY9" fmla="*/ 972911 h 3748138"/>
              <a:gd name="connsiteX10" fmla="*/ 4360157 w 4366182"/>
              <a:gd name="connsiteY10" fmla="*/ 993008 h 3748138"/>
              <a:gd name="connsiteX11" fmla="*/ 4360157 w 4366182"/>
              <a:gd name="connsiteY11" fmla="*/ 1006480 h 3748138"/>
              <a:gd name="connsiteX12" fmla="*/ 4360157 w 4366182"/>
              <a:gd name="connsiteY12" fmla="*/ 1018848 h 3748138"/>
              <a:gd name="connsiteX13" fmla="*/ 4360157 w 4366182"/>
              <a:gd name="connsiteY13" fmla="*/ 1020615 h 3748138"/>
              <a:gd name="connsiteX14" fmla="*/ 4360157 w 4366182"/>
              <a:gd name="connsiteY14" fmla="*/ 3748138 h 3748138"/>
              <a:gd name="connsiteX15" fmla="*/ 4093457 w 4366182"/>
              <a:gd name="connsiteY15" fmla="*/ 373902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567420 w 4366182"/>
              <a:gd name="connsiteY37" fmla="*/ 1385359 h 3748138"/>
              <a:gd name="connsiteX38" fmla="*/ 684506 w 4366182"/>
              <a:gd name="connsiteY38" fmla="*/ 1297925 h 3748138"/>
              <a:gd name="connsiteX39" fmla="*/ 898091 w 4366182"/>
              <a:gd name="connsiteY39" fmla="*/ 1150957 h 3748138"/>
              <a:gd name="connsiteX40" fmla="*/ 1088590 w 4366182"/>
              <a:gd name="connsiteY40" fmla="*/ 1026780 h 3748138"/>
              <a:gd name="connsiteX41" fmla="*/ 1279091 w 4366182"/>
              <a:gd name="connsiteY41" fmla="*/ 903112 h 3748138"/>
              <a:gd name="connsiteX42" fmla="*/ 1486524 w 4366182"/>
              <a:gd name="connsiteY42" fmla="*/ 777932 h 3748138"/>
              <a:gd name="connsiteX43" fmla="*/ 1702424 w 4366182"/>
              <a:gd name="connsiteY43" fmla="*/ 665901 h 3748138"/>
              <a:gd name="connsiteX44" fmla="*/ 1833657 w 4366182"/>
              <a:gd name="connsiteY44" fmla="*/ 595758 h 3748138"/>
              <a:gd name="connsiteX45" fmla="*/ 2028390 w 4366182"/>
              <a:gd name="connsiteY45" fmla="*/ 500969 h 3748138"/>
              <a:gd name="connsiteX46" fmla="*/ 2187404 w 4366182"/>
              <a:gd name="connsiteY46" fmla="*/ 428696 h 3748138"/>
              <a:gd name="connsiteX47" fmla="*/ 2379152 w 4366182"/>
              <a:gd name="connsiteY47" fmla="*/ 349380 h 3748138"/>
              <a:gd name="connsiteX48" fmla="*/ 2546356 w 4366182"/>
              <a:gd name="connsiteY48" fmla="*/ 295349 h 3748138"/>
              <a:gd name="connsiteX49" fmla="*/ 2791042 w 4366182"/>
              <a:gd name="connsiteY49" fmla="*/ 224971 h 3748138"/>
              <a:gd name="connsiteX0" fmla="*/ 2791042 w 4366182"/>
              <a:gd name="connsiteY0" fmla="*/ 224971 h 3748138"/>
              <a:gd name="connsiteX1" fmla="*/ 3162124 w 4366182"/>
              <a:gd name="connsiteY1" fmla="*/ 145098 h 3748138"/>
              <a:gd name="connsiteX2" fmla="*/ 3437291 w 4366182"/>
              <a:gd name="connsiteY2" fmla="*/ 88735 h 3748138"/>
              <a:gd name="connsiteX3" fmla="*/ 3744757 w 4366182"/>
              <a:gd name="connsiteY3" fmla="*/ 48626 h 3748138"/>
              <a:gd name="connsiteX4" fmla="*/ 4364456 w 4366182"/>
              <a:gd name="connsiteY4" fmla="*/ 47 h 3748138"/>
              <a:gd name="connsiteX5" fmla="*/ 4360157 w 4366182"/>
              <a:gd name="connsiteY5" fmla="*/ 833488 h 3748138"/>
              <a:gd name="connsiteX6" fmla="*/ 4360157 w 4366182"/>
              <a:gd name="connsiteY6" fmla="*/ 859614 h 3748138"/>
              <a:gd name="connsiteX7" fmla="*/ 4360157 w 4366182"/>
              <a:gd name="connsiteY7" fmla="*/ 907539 h 3748138"/>
              <a:gd name="connsiteX8" fmla="*/ 4360157 w 4366182"/>
              <a:gd name="connsiteY8" fmla="*/ 944863 h 3748138"/>
              <a:gd name="connsiteX9" fmla="*/ 4360157 w 4366182"/>
              <a:gd name="connsiteY9" fmla="*/ 972911 h 3748138"/>
              <a:gd name="connsiteX10" fmla="*/ 4360157 w 4366182"/>
              <a:gd name="connsiteY10" fmla="*/ 993008 h 3748138"/>
              <a:gd name="connsiteX11" fmla="*/ 4360157 w 4366182"/>
              <a:gd name="connsiteY11" fmla="*/ 1006480 h 3748138"/>
              <a:gd name="connsiteX12" fmla="*/ 4360157 w 4366182"/>
              <a:gd name="connsiteY12" fmla="*/ 1018848 h 3748138"/>
              <a:gd name="connsiteX13" fmla="*/ 4360157 w 4366182"/>
              <a:gd name="connsiteY13" fmla="*/ 1020615 h 3748138"/>
              <a:gd name="connsiteX14" fmla="*/ 4360157 w 4366182"/>
              <a:gd name="connsiteY14" fmla="*/ 3748138 h 3748138"/>
              <a:gd name="connsiteX15" fmla="*/ 4093457 w 4366182"/>
              <a:gd name="connsiteY15" fmla="*/ 373902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684506 w 4366182"/>
              <a:gd name="connsiteY37" fmla="*/ 1297925 h 3748138"/>
              <a:gd name="connsiteX38" fmla="*/ 898091 w 4366182"/>
              <a:gd name="connsiteY38" fmla="*/ 1150957 h 3748138"/>
              <a:gd name="connsiteX39" fmla="*/ 1088590 w 4366182"/>
              <a:gd name="connsiteY39" fmla="*/ 1026780 h 3748138"/>
              <a:gd name="connsiteX40" fmla="*/ 1279091 w 4366182"/>
              <a:gd name="connsiteY40" fmla="*/ 903112 h 3748138"/>
              <a:gd name="connsiteX41" fmla="*/ 1486524 w 4366182"/>
              <a:gd name="connsiteY41" fmla="*/ 777932 h 3748138"/>
              <a:gd name="connsiteX42" fmla="*/ 1702424 w 4366182"/>
              <a:gd name="connsiteY42" fmla="*/ 665901 h 3748138"/>
              <a:gd name="connsiteX43" fmla="*/ 1833657 w 4366182"/>
              <a:gd name="connsiteY43" fmla="*/ 595758 h 3748138"/>
              <a:gd name="connsiteX44" fmla="*/ 2028390 w 4366182"/>
              <a:gd name="connsiteY44" fmla="*/ 500969 h 3748138"/>
              <a:gd name="connsiteX45" fmla="*/ 2187404 w 4366182"/>
              <a:gd name="connsiteY45" fmla="*/ 428696 h 3748138"/>
              <a:gd name="connsiteX46" fmla="*/ 2379152 w 4366182"/>
              <a:gd name="connsiteY46" fmla="*/ 349380 h 3748138"/>
              <a:gd name="connsiteX47" fmla="*/ 2546356 w 4366182"/>
              <a:gd name="connsiteY47" fmla="*/ 295349 h 3748138"/>
              <a:gd name="connsiteX48" fmla="*/ 2791042 w 4366182"/>
              <a:gd name="connsiteY48" fmla="*/ 224971 h 3748138"/>
              <a:gd name="connsiteX0" fmla="*/ 2791042 w 4366182"/>
              <a:gd name="connsiteY0" fmla="*/ 224971 h 3748138"/>
              <a:gd name="connsiteX1" fmla="*/ 3162124 w 4366182"/>
              <a:gd name="connsiteY1" fmla="*/ 145098 h 3748138"/>
              <a:gd name="connsiteX2" fmla="*/ 3437291 w 4366182"/>
              <a:gd name="connsiteY2" fmla="*/ 88735 h 3748138"/>
              <a:gd name="connsiteX3" fmla="*/ 3744757 w 4366182"/>
              <a:gd name="connsiteY3" fmla="*/ 48626 h 3748138"/>
              <a:gd name="connsiteX4" fmla="*/ 4364456 w 4366182"/>
              <a:gd name="connsiteY4" fmla="*/ 47 h 3748138"/>
              <a:gd name="connsiteX5" fmla="*/ 4360157 w 4366182"/>
              <a:gd name="connsiteY5" fmla="*/ 833488 h 3748138"/>
              <a:gd name="connsiteX6" fmla="*/ 4360157 w 4366182"/>
              <a:gd name="connsiteY6" fmla="*/ 859614 h 3748138"/>
              <a:gd name="connsiteX7" fmla="*/ 4360157 w 4366182"/>
              <a:gd name="connsiteY7" fmla="*/ 907539 h 3748138"/>
              <a:gd name="connsiteX8" fmla="*/ 4360157 w 4366182"/>
              <a:gd name="connsiteY8" fmla="*/ 944863 h 3748138"/>
              <a:gd name="connsiteX9" fmla="*/ 4360157 w 4366182"/>
              <a:gd name="connsiteY9" fmla="*/ 972911 h 3748138"/>
              <a:gd name="connsiteX10" fmla="*/ 4360157 w 4366182"/>
              <a:gd name="connsiteY10" fmla="*/ 993008 h 3748138"/>
              <a:gd name="connsiteX11" fmla="*/ 4360157 w 4366182"/>
              <a:gd name="connsiteY11" fmla="*/ 1006480 h 3748138"/>
              <a:gd name="connsiteX12" fmla="*/ 4360157 w 4366182"/>
              <a:gd name="connsiteY12" fmla="*/ 1018848 h 3748138"/>
              <a:gd name="connsiteX13" fmla="*/ 4360157 w 4366182"/>
              <a:gd name="connsiteY13" fmla="*/ 1020615 h 3748138"/>
              <a:gd name="connsiteX14" fmla="*/ 4360157 w 4366182"/>
              <a:gd name="connsiteY14" fmla="*/ 3748138 h 3748138"/>
              <a:gd name="connsiteX15" fmla="*/ 4093457 w 4366182"/>
              <a:gd name="connsiteY15" fmla="*/ 373902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684506 w 4366182"/>
              <a:gd name="connsiteY37" fmla="*/ 1297925 h 3748138"/>
              <a:gd name="connsiteX38" fmla="*/ 898091 w 4366182"/>
              <a:gd name="connsiteY38" fmla="*/ 1150957 h 3748138"/>
              <a:gd name="connsiteX39" fmla="*/ 1088590 w 4366182"/>
              <a:gd name="connsiteY39" fmla="*/ 1026780 h 3748138"/>
              <a:gd name="connsiteX40" fmla="*/ 1279091 w 4366182"/>
              <a:gd name="connsiteY40" fmla="*/ 903112 h 3748138"/>
              <a:gd name="connsiteX41" fmla="*/ 1486524 w 4366182"/>
              <a:gd name="connsiteY41" fmla="*/ 777932 h 3748138"/>
              <a:gd name="connsiteX42" fmla="*/ 1702424 w 4366182"/>
              <a:gd name="connsiteY42" fmla="*/ 665901 h 3748138"/>
              <a:gd name="connsiteX43" fmla="*/ 2028390 w 4366182"/>
              <a:gd name="connsiteY43" fmla="*/ 500969 h 3748138"/>
              <a:gd name="connsiteX44" fmla="*/ 2187404 w 4366182"/>
              <a:gd name="connsiteY44" fmla="*/ 428696 h 3748138"/>
              <a:gd name="connsiteX45" fmla="*/ 2379152 w 4366182"/>
              <a:gd name="connsiteY45" fmla="*/ 349380 h 3748138"/>
              <a:gd name="connsiteX46" fmla="*/ 2546356 w 4366182"/>
              <a:gd name="connsiteY46" fmla="*/ 295349 h 3748138"/>
              <a:gd name="connsiteX47" fmla="*/ 2791042 w 4366182"/>
              <a:gd name="connsiteY47" fmla="*/ 224971 h 3748138"/>
              <a:gd name="connsiteX0" fmla="*/ 2791042 w 4366182"/>
              <a:gd name="connsiteY0" fmla="*/ 224924 h 3748091"/>
              <a:gd name="connsiteX1" fmla="*/ 3162124 w 4366182"/>
              <a:gd name="connsiteY1" fmla="*/ 145051 h 3748091"/>
              <a:gd name="connsiteX2" fmla="*/ 3437291 w 4366182"/>
              <a:gd name="connsiteY2" fmla="*/ 88688 h 3748091"/>
              <a:gd name="connsiteX3" fmla="*/ 3744757 w 4366182"/>
              <a:gd name="connsiteY3" fmla="*/ 48579 h 3748091"/>
              <a:gd name="connsiteX4" fmla="*/ 4364456 w 4366182"/>
              <a:gd name="connsiteY4" fmla="*/ 0 h 3748091"/>
              <a:gd name="connsiteX5" fmla="*/ 4360157 w 4366182"/>
              <a:gd name="connsiteY5" fmla="*/ 833441 h 3748091"/>
              <a:gd name="connsiteX6" fmla="*/ 4360157 w 4366182"/>
              <a:gd name="connsiteY6" fmla="*/ 859567 h 3748091"/>
              <a:gd name="connsiteX7" fmla="*/ 4360157 w 4366182"/>
              <a:gd name="connsiteY7" fmla="*/ 907492 h 3748091"/>
              <a:gd name="connsiteX8" fmla="*/ 4360157 w 4366182"/>
              <a:gd name="connsiteY8" fmla="*/ 944816 h 3748091"/>
              <a:gd name="connsiteX9" fmla="*/ 4360157 w 4366182"/>
              <a:gd name="connsiteY9" fmla="*/ 972864 h 3748091"/>
              <a:gd name="connsiteX10" fmla="*/ 4360157 w 4366182"/>
              <a:gd name="connsiteY10" fmla="*/ 992961 h 3748091"/>
              <a:gd name="connsiteX11" fmla="*/ 4360157 w 4366182"/>
              <a:gd name="connsiteY11" fmla="*/ 1006433 h 3748091"/>
              <a:gd name="connsiteX12" fmla="*/ 4360157 w 4366182"/>
              <a:gd name="connsiteY12" fmla="*/ 1018801 h 3748091"/>
              <a:gd name="connsiteX13" fmla="*/ 4360157 w 4366182"/>
              <a:gd name="connsiteY13" fmla="*/ 1020568 h 3748091"/>
              <a:gd name="connsiteX14" fmla="*/ 4360157 w 4366182"/>
              <a:gd name="connsiteY14" fmla="*/ 3748091 h 3748091"/>
              <a:gd name="connsiteX15" fmla="*/ 4093457 w 4366182"/>
              <a:gd name="connsiteY15" fmla="*/ 3738981 h 3748091"/>
              <a:gd name="connsiteX16" fmla="*/ 3835226 w 4366182"/>
              <a:gd name="connsiteY16" fmla="*/ 3715776 h 3748091"/>
              <a:gd name="connsiteX17" fmla="*/ 3593923 w 4366182"/>
              <a:gd name="connsiteY17" fmla="*/ 3685934 h 3748091"/>
              <a:gd name="connsiteX18" fmla="*/ 3399191 w 4366182"/>
              <a:gd name="connsiteY18" fmla="*/ 3656095 h 3748091"/>
              <a:gd name="connsiteX19" fmla="*/ 3179057 w 4366182"/>
              <a:gd name="connsiteY19" fmla="*/ 3609680 h 3748091"/>
              <a:gd name="connsiteX20" fmla="*/ 2967391 w 4366182"/>
              <a:gd name="connsiteY20" fmla="*/ 3559950 h 3748091"/>
              <a:gd name="connsiteX21" fmla="*/ 2692224 w 4366182"/>
              <a:gd name="connsiteY21" fmla="*/ 3483694 h 3748091"/>
              <a:gd name="connsiteX22" fmla="*/ 2463623 w 4366182"/>
              <a:gd name="connsiteY22" fmla="*/ 3410753 h 3748091"/>
              <a:gd name="connsiteX23" fmla="*/ 2222323 w 4366182"/>
              <a:gd name="connsiteY23" fmla="*/ 3324553 h 3748091"/>
              <a:gd name="connsiteX24" fmla="*/ 1981023 w 4366182"/>
              <a:gd name="connsiteY24" fmla="*/ 3221773 h 3748091"/>
              <a:gd name="connsiteX25" fmla="*/ 1718557 w 4366182"/>
              <a:gd name="connsiteY25" fmla="*/ 3089156 h 3748091"/>
              <a:gd name="connsiteX26" fmla="*/ 1481491 w 4366182"/>
              <a:gd name="connsiteY26" fmla="*/ 2959853 h 3748091"/>
              <a:gd name="connsiteX27" fmla="*/ 1235958 w 4366182"/>
              <a:gd name="connsiteY27" fmla="*/ 2807344 h 3748091"/>
              <a:gd name="connsiteX28" fmla="*/ 969257 w 4366182"/>
              <a:gd name="connsiteY28" fmla="*/ 2634941 h 3748091"/>
              <a:gd name="connsiteX29" fmla="*/ 804957 w 4366182"/>
              <a:gd name="connsiteY29" fmla="*/ 2524696 h 3748091"/>
              <a:gd name="connsiteX30" fmla="*/ 669490 w 4366182"/>
              <a:gd name="connsiteY30" fmla="*/ 2420613 h 3748091"/>
              <a:gd name="connsiteX31" fmla="*/ 474757 w 4366182"/>
              <a:gd name="connsiteY31" fmla="*/ 2273583 h 3748091"/>
              <a:gd name="connsiteX32" fmla="*/ 335057 w 4366182"/>
              <a:gd name="connsiteY32" fmla="*/ 2151606 h 3748091"/>
              <a:gd name="connsiteX33" fmla="*/ 148790 w 4366182"/>
              <a:gd name="connsiteY33" fmla="*/ 1999498 h 3748091"/>
              <a:gd name="connsiteX34" fmla="*/ 0 w 4366182"/>
              <a:gd name="connsiteY34" fmla="*/ 1876083 h 3748091"/>
              <a:gd name="connsiteX35" fmla="*/ 233633 w 4366182"/>
              <a:gd name="connsiteY35" fmla="*/ 1658141 h 3748091"/>
              <a:gd name="connsiteX36" fmla="*/ 450333 w 4366182"/>
              <a:gd name="connsiteY36" fmla="*/ 1473542 h 3748091"/>
              <a:gd name="connsiteX37" fmla="*/ 684506 w 4366182"/>
              <a:gd name="connsiteY37" fmla="*/ 1297878 h 3748091"/>
              <a:gd name="connsiteX38" fmla="*/ 898091 w 4366182"/>
              <a:gd name="connsiteY38" fmla="*/ 1150910 h 3748091"/>
              <a:gd name="connsiteX39" fmla="*/ 1088590 w 4366182"/>
              <a:gd name="connsiteY39" fmla="*/ 1026733 h 3748091"/>
              <a:gd name="connsiteX40" fmla="*/ 1279091 w 4366182"/>
              <a:gd name="connsiteY40" fmla="*/ 903065 h 3748091"/>
              <a:gd name="connsiteX41" fmla="*/ 1486524 w 4366182"/>
              <a:gd name="connsiteY41" fmla="*/ 777885 h 3748091"/>
              <a:gd name="connsiteX42" fmla="*/ 1702424 w 4366182"/>
              <a:gd name="connsiteY42" fmla="*/ 665854 h 3748091"/>
              <a:gd name="connsiteX43" fmla="*/ 2028390 w 4366182"/>
              <a:gd name="connsiteY43" fmla="*/ 500922 h 3748091"/>
              <a:gd name="connsiteX44" fmla="*/ 2187404 w 4366182"/>
              <a:gd name="connsiteY44" fmla="*/ 428649 h 3748091"/>
              <a:gd name="connsiteX45" fmla="*/ 2379152 w 4366182"/>
              <a:gd name="connsiteY45" fmla="*/ 349333 h 3748091"/>
              <a:gd name="connsiteX46" fmla="*/ 2546356 w 4366182"/>
              <a:gd name="connsiteY46" fmla="*/ 295302 h 3748091"/>
              <a:gd name="connsiteX47" fmla="*/ 2791042 w 4366182"/>
              <a:gd name="connsiteY47" fmla="*/ 224924 h 3748091"/>
              <a:gd name="connsiteX0" fmla="*/ 2791042 w 4366182"/>
              <a:gd name="connsiteY0" fmla="*/ 224924 h 3748091"/>
              <a:gd name="connsiteX1" fmla="*/ 3162124 w 4366182"/>
              <a:gd name="connsiteY1" fmla="*/ 145051 h 3748091"/>
              <a:gd name="connsiteX2" fmla="*/ 3437291 w 4366182"/>
              <a:gd name="connsiteY2" fmla="*/ 88688 h 3748091"/>
              <a:gd name="connsiteX3" fmla="*/ 4070724 w 4366182"/>
              <a:gd name="connsiteY3" fmla="*/ 8793 h 3748091"/>
              <a:gd name="connsiteX4" fmla="*/ 4364456 w 4366182"/>
              <a:gd name="connsiteY4" fmla="*/ 0 h 3748091"/>
              <a:gd name="connsiteX5" fmla="*/ 4360157 w 4366182"/>
              <a:gd name="connsiteY5" fmla="*/ 833441 h 3748091"/>
              <a:gd name="connsiteX6" fmla="*/ 4360157 w 4366182"/>
              <a:gd name="connsiteY6" fmla="*/ 859567 h 3748091"/>
              <a:gd name="connsiteX7" fmla="*/ 4360157 w 4366182"/>
              <a:gd name="connsiteY7" fmla="*/ 907492 h 3748091"/>
              <a:gd name="connsiteX8" fmla="*/ 4360157 w 4366182"/>
              <a:gd name="connsiteY8" fmla="*/ 944816 h 3748091"/>
              <a:gd name="connsiteX9" fmla="*/ 4360157 w 4366182"/>
              <a:gd name="connsiteY9" fmla="*/ 972864 h 3748091"/>
              <a:gd name="connsiteX10" fmla="*/ 4360157 w 4366182"/>
              <a:gd name="connsiteY10" fmla="*/ 992961 h 3748091"/>
              <a:gd name="connsiteX11" fmla="*/ 4360157 w 4366182"/>
              <a:gd name="connsiteY11" fmla="*/ 1006433 h 3748091"/>
              <a:gd name="connsiteX12" fmla="*/ 4360157 w 4366182"/>
              <a:gd name="connsiteY12" fmla="*/ 1018801 h 3748091"/>
              <a:gd name="connsiteX13" fmla="*/ 4360157 w 4366182"/>
              <a:gd name="connsiteY13" fmla="*/ 1020568 h 3748091"/>
              <a:gd name="connsiteX14" fmla="*/ 4360157 w 4366182"/>
              <a:gd name="connsiteY14" fmla="*/ 3748091 h 3748091"/>
              <a:gd name="connsiteX15" fmla="*/ 4093457 w 4366182"/>
              <a:gd name="connsiteY15" fmla="*/ 3738981 h 3748091"/>
              <a:gd name="connsiteX16" fmla="*/ 3835226 w 4366182"/>
              <a:gd name="connsiteY16" fmla="*/ 3715776 h 3748091"/>
              <a:gd name="connsiteX17" fmla="*/ 3593923 w 4366182"/>
              <a:gd name="connsiteY17" fmla="*/ 3685934 h 3748091"/>
              <a:gd name="connsiteX18" fmla="*/ 3399191 w 4366182"/>
              <a:gd name="connsiteY18" fmla="*/ 3656095 h 3748091"/>
              <a:gd name="connsiteX19" fmla="*/ 3179057 w 4366182"/>
              <a:gd name="connsiteY19" fmla="*/ 3609680 h 3748091"/>
              <a:gd name="connsiteX20" fmla="*/ 2967391 w 4366182"/>
              <a:gd name="connsiteY20" fmla="*/ 3559950 h 3748091"/>
              <a:gd name="connsiteX21" fmla="*/ 2692224 w 4366182"/>
              <a:gd name="connsiteY21" fmla="*/ 3483694 h 3748091"/>
              <a:gd name="connsiteX22" fmla="*/ 2463623 w 4366182"/>
              <a:gd name="connsiteY22" fmla="*/ 3410753 h 3748091"/>
              <a:gd name="connsiteX23" fmla="*/ 2222323 w 4366182"/>
              <a:gd name="connsiteY23" fmla="*/ 3324553 h 3748091"/>
              <a:gd name="connsiteX24" fmla="*/ 1981023 w 4366182"/>
              <a:gd name="connsiteY24" fmla="*/ 3221773 h 3748091"/>
              <a:gd name="connsiteX25" fmla="*/ 1718557 w 4366182"/>
              <a:gd name="connsiteY25" fmla="*/ 3089156 h 3748091"/>
              <a:gd name="connsiteX26" fmla="*/ 1481491 w 4366182"/>
              <a:gd name="connsiteY26" fmla="*/ 2959853 h 3748091"/>
              <a:gd name="connsiteX27" fmla="*/ 1235958 w 4366182"/>
              <a:gd name="connsiteY27" fmla="*/ 2807344 h 3748091"/>
              <a:gd name="connsiteX28" fmla="*/ 969257 w 4366182"/>
              <a:gd name="connsiteY28" fmla="*/ 2634941 h 3748091"/>
              <a:gd name="connsiteX29" fmla="*/ 804957 w 4366182"/>
              <a:gd name="connsiteY29" fmla="*/ 2524696 h 3748091"/>
              <a:gd name="connsiteX30" fmla="*/ 669490 w 4366182"/>
              <a:gd name="connsiteY30" fmla="*/ 2420613 h 3748091"/>
              <a:gd name="connsiteX31" fmla="*/ 474757 w 4366182"/>
              <a:gd name="connsiteY31" fmla="*/ 2273583 h 3748091"/>
              <a:gd name="connsiteX32" fmla="*/ 335057 w 4366182"/>
              <a:gd name="connsiteY32" fmla="*/ 2151606 h 3748091"/>
              <a:gd name="connsiteX33" fmla="*/ 148790 w 4366182"/>
              <a:gd name="connsiteY33" fmla="*/ 1999498 h 3748091"/>
              <a:gd name="connsiteX34" fmla="*/ 0 w 4366182"/>
              <a:gd name="connsiteY34" fmla="*/ 1876083 h 3748091"/>
              <a:gd name="connsiteX35" fmla="*/ 233633 w 4366182"/>
              <a:gd name="connsiteY35" fmla="*/ 1658141 h 3748091"/>
              <a:gd name="connsiteX36" fmla="*/ 450333 w 4366182"/>
              <a:gd name="connsiteY36" fmla="*/ 1473542 h 3748091"/>
              <a:gd name="connsiteX37" fmla="*/ 684506 w 4366182"/>
              <a:gd name="connsiteY37" fmla="*/ 1297878 h 3748091"/>
              <a:gd name="connsiteX38" fmla="*/ 898091 w 4366182"/>
              <a:gd name="connsiteY38" fmla="*/ 1150910 h 3748091"/>
              <a:gd name="connsiteX39" fmla="*/ 1088590 w 4366182"/>
              <a:gd name="connsiteY39" fmla="*/ 1026733 h 3748091"/>
              <a:gd name="connsiteX40" fmla="*/ 1279091 w 4366182"/>
              <a:gd name="connsiteY40" fmla="*/ 903065 h 3748091"/>
              <a:gd name="connsiteX41" fmla="*/ 1486524 w 4366182"/>
              <a:gd name="connsiteY41" fmla="*/ 777885 h 3748091"/>
              <a:gd name="connsiteX42" fmla="*/ 1702424 w 4366182"/>
              <a:gd name="connsiteY42" fmla="*/ 665854 h 3748091"/>
              <a:gd name="connsiteX43" fmla="*/ 2028390 w 4366182"/>
              <a:gd name="connsiteY43" fmla="*/ 500922 h 3748091"/>
              <a:gd name="connsiteX44" fmla="*/ 2187404 w 4366182"/>
              <a:gd name="connsiteY44" fmla="*/ 428649 h 3748091"/>
              <a:gd name="connsiteX45" fmla="*/ 2379152 w 4366182"/>
              <a:gd name="connsiteY45" fmla="*/ 349333 h 3748091"/>
              <a:gd name="connsiteX46" fmla="*/ 2546356 w 4366182"/>
              <a:gd name="connsiteY46" fmla="*/ 295302 h 3748091"/>
              <a:gd name="connsiteX47" fmla="*/ 2791042 w 4366182"/>
              <a:gd name="connsiteY47" fmla="*/ 224924 h 3748091"/>
              <a:gd name="connsiteX0" fmla="*/ 2791042 w 4366182"/>
              <a:gd name="connsiteY0" fmla="*/ 226078 h 3749245"/>
              <a:gd name="connsiteX1" fmla="*/ 3162124 w 4366182"/>
              <a:gd name="connsiteY1" fmla="*/ 146205 h 3749245"/>
              <a:gd name="connsiteX2" fmla="*/ 3437291 w 4366182"/>
              <a:gd name="connsiteY2" fmla="*/ 89842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233633 w 4366182"/>
              <a:gd name="connsiteY35" fmla="*/ 1659295 h 3749245"/>
              <a:gd name="connsiteX36" fmla="*/ 450333 w 4366182"/>
              <a:gd name="connsiteY36" fmla="*/ 1474696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86524 w 4366182"/>
              <a:gd name="connsiteY41" fmla="*/ 779039 h 3749245"/>
              <a:gd name="connsiteX42" fmla="*/ 1702424 w 4366182"/>
              <a:gd name="connsiteY42" fmla="*/ 667008 h 3749245"/>
              <a:gd name="connsiteX43" fmla="*/ 2028390 w 4366182"/>
              <a:gd name="connsiteY43" fmla="*/ 502076 h 3749245"/>
              <a:gd name="connsiteX44" fmla="*/ 2187404 w 4366182"/>
              <a:gd name="connsiteY44" fmla="*/ 429803 h 3749245"/>
              <a:gd name="connsiteX45" fmla="*/ 2379152 w 4366182"/>
              <a:gd name="connsiteY45" fmla="*/ 350487 h 3749245"/>
              <a:gd name="connsiteX46" fmla="*/ 2546356 w 4366182"/>
              <a:gd name="connsiteY46" fmla="*/ 296456 h 3749245"/>
              <a:gd name="connsiteX47" fmla="*/ 2791042 w 4366182"/>
              <a:gd name="connsiteY47" fmla="*/ 226078 h 3749245"/>
              <a:gd name="connsiteX0" fmla="*/ 2791042 w 4366182"/>
              <a:gd name="connsiteY0" fmla="*/ 245452 h 3768619"/>
              <a:gd name="connsiteX1" fmla="*/ 3162124 w 4366182"/>
              <a:gd name="connsiteY1" fmla="*/ 165579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791042 w 4366182"/>
              <a:gd name="connsiteY47" fmla="*/ 245452 h 3768619"/>
              <a:gd name="connsiteX0" fmla="*/ 2791042 w 4366182"/>
              <a:gd name="connsiteY0" fmla="*/ 245452 h 3768619"/>
              <a:gd name="connsiteX1" fmla="*/ 3162124 w 4366182"/>
              <a:gd name="connsiteY1" fmla="*/ 165579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791042 w 4366182"/>
              <a:gd name="connsiteY47" fmla="*/ 245452 h 3768619"/>
              <a:gd name="connsiteX0" fmla="*/ 2824908 w 4366182"/>
              <a:gd name="connsiteY0" fmla="*/ 520634 h 3768619"/>
              <a:gd name="connsiteX1" fmla="*/ 3162124 w 4366182"/>
              <a:gd name="connsiteY1" fmla="*/ 165579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66452 w 4366182"/>
              <a:gd name="connsiteY45" fmla="*/ 651673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668557 w 4366182"/>
              <a:gd name="connsiteY42" fmla="*/ 1220168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48424 w 4366182"/>
              <a:gd name="connsiteY41" fmla="*/ 1342145 h 3768619"/>
              <a:gd name="connsiteX42" fmla="*/ 1668557 w 4366182"/>
              <a:gd name="connsiteY42" fmla="*/ 1220168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48424 w 4366182"/>
              <a:gd name="connsiteY41" fmla="*/ 1342145 h 3768619"/>
              <a:gd name="connsiteX42" fmla="*/ 1668557 w 4366182"/>
              <a:gd name="connsiteY42" fmla="*/ 1220168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233633 w 4366182"/>
              <a:gd name="connsiteY35" fmla="*/ 1659295 h 3749245"/>
              <a:gd name="connsiteX36" fmla="*/ 450333 w 4366182"/>
              <a:gd name="connsiteY36" fmla="*/ 1474696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450333 w 4366182"/>
              <a:gd name="connsiteY36" fmla="*/ 1474696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53224 w 4366182"/>
              <a:gd name="connsiteY42" fmla="*/ 647117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53224 w 4366182"/>
              <a:gd name="connsiteY42" fmla="*/ 647117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53224 w 4366182"/>
              <a:gd name="connsiteY42" fmla="*/ 647117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391545 h 3749245"/>
              <a:gd name="connsiteX47" fmla="*/ 2592923 w 4366182"/>
              <a:gd name="connsiteY47" fmla="*/ 631314 h 3749245"/>
              <a:gd name="connsiteX48" fmla="*/ 2824908 w 4366182"/>
              <a:gd name="connsiteY48"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391545 h 3749245"/>
              <a:gd name="connsiteX47" fmla="*/ 2592923 w 4366182"/>
              <a:gd name="connsiteY47" fmla="*/ 631314 h 3749245"/>
              <a:gd name="connsiteX48" fmla="*/ 2824908 w 4366182"/>
              <a:gd name="connsiteY48"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592923 w 4366182"/>
              <a:gd name="connsiteY47" fmla="*/ 631314 h 3749245"/>
              <a:gd name="connsiteX48" fmla="*/ 2824908 w 4366182"/>
              <a:gd name="connsiteY48"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2824908 w 4366182"/>
              <a:gd name="connsiteY48" fmla="*/ 501260 h 3749245"/>
              <a:gd name="connsiteX0" fmla="*/ 3066208 w 4366182"/>
              <a:gd name="connsiteY0" fmla="*/ 163086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3086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3086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3086 h 3749245"/>
              <a:gd name="connsiteX1" fmla="*/ 3272192 w 4366182"/>
              <a:gd name="connsiteY1" fmla="*/ 126313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9939 h 3756098"/>
              <a:gd name="connsiteX1" fmla="*/ 3272192 w 4366182"/>
              <a:gd name="connsiteY1" fmla="*/ 133166 h 3756098"/>
              <a:gd name="connsiteX2" fmla="*/ 3462692 w 4366182"/>
              <a:gd name="connsiteY2" fmla="*/ 103326 h 3756098"/>
              <a:gd name="connsiteX3" fmla="*/ 4206191 w 4366182"/>
              <a:gd name="connsiteY3" fmla="*/ 6853 h 3756098"/>
              <a:gd name="connsiteX4" fmla="*/ 4364456 w 4366182"/>
              <a:gd name="connsiteY4" fmla="*/ 8007 h 3756098"/>
              <a:gd name="connsiteX5" fmla="*/ 4360157 w 4366182"/>
              <a:gd name="connsiteY5" fmla="*/ 841448 h 3756098"/>
              <a:gd name="connsiteX6" fmla="*/ 4360157 w 4366182"/>
              <a:gd name="connsiteY6" fmla="*/ 867574 h 3756098"/>
              <a:gd name="connsiteX7" fmla="*/ 4360157 w 4366182"/>
              <a:gd name="connsiteY7" fmla="*/ 915499 h 3756098"/>
              <a:gd name="connsiteX8" fmla="*/ 4360157 w 4366182"/>
              <a:gd name="connsiteY8" fmla="*/ 952823 h 3756098"/>
              <a:gd name="connsiteX9" fmla="*/ 4360157 w 4366182"/>
              <a:gd name="connsiteY9" fmla="*/ 980871 h 3756098"/>
              <a:gd name="connsiteX10" fmla="*/ 4360157 w 4366182"/>
              <a:gd name="connsiteY10" fmla="*/ 1000968 h 3756098"/>
              <a:gd name="connsiteX11" fmla="*/ 4360157 w 4366182"/>
              <a:gd name="connsiteY11" fmla="*/ 1014440 h 3756098"/>
              <a:gd name="connsiteX12" fmla="*/ 4360157 w 4366182"/>
              <a:gd name="connsiteY12" fmla="*/ 1026808 h 3756098"/>
              <a:gd name="connsiteX13" fmla="*/ 4360157 w 4366182"/>
              <a:gd name="connsiteY13" fmla="*/ 1028575 h 3756098"/>
              <a:gd name="connsiteX14" fmla="*/ 4360157 w 4366182"/>
              <a:gd name="connsiteY14" fmla="*/ 3756098 h 3756098"/>
              <a:gd name="connsiteX15" fmla="*/ 4093457 w 4366182"/>
              <a:gd name="connsiteY15" fmla="*/ 3746988 h 3756098"/>
              <a:gd name="connsiteX16" fmla="*/ 3835226 w 4366182"/>
              <a:gd name="connsiteY16" fmla="*/ 3723783 h 3756098"/>
              <a:gd name="connsiteX17" fmla="*/ 3593923 w 4366182"/>
              <a:gd name="connsiteY17" fmla="*/ 3693941 h 3756098"/>
              <a:gd name="connsiteX18" fmla="*/ 3399191 w 4366182"/>
              <a:gd name="connsiteY18" fmla="*/ 3664102 h 3756098"/>
              <a:gd name="connsiteX19" fmla="*/ 3179057 w 4366182"/>
              <a:gd name="connsiteY19" fmla="*/ 3617687 h 3756098"/>
              <a:gd name="connsiteX20" fmla="*/ 2967391 w 4366182"/>
              <a:gd name="connsiteY20" fmla="*/ 3567957 h 3756098"/>
              <a:gd name="connsiteX21" fmla="*/ 2692224 w 4366182"/>
              <a:gd name="connsiteY21" fmla="*/ 3491701 h 3756098"/>
              <a:gd name="connsiteX22" fmla="*/ 2463623 w 4366182"/>
              <a:gd name="connsiteY22" fmla="*/ 3418760 h 3756098"/>
              <a:gd name="connsiteX23" fmla="*/ 2222323 w 4366182"/>
              <a:gd name="connsiteY23" fmla="*/ 3332560 h 3756098"/>
              <a:gd name="connsiteX24" fmla="*/ 1981023 w 4366182"/>
              <a:gd name="connsiteY24" fmla="*/ 3229780 h 3756098"/>
              <a:gd name="connsiteX25" fmla="*/ 1718557 w 4366182"/>
              <a:gd name="connsiteY25" fmla="*/ 3097163 h 3756098"/>
              <a:gd name="connsiteX26" fmla="*/ 1481491 w 4366182"/>
              <a:gd name="connsiteY26" fmla="*/ 2967860 h 3756098"/>
              <a:gd name="connsiteX27" fmla="*/ 1235958 w 4366182"/>
              <a:gd name="connsiteY27" fmla="*/ 2815351 h 3756098"/>
              <a:gd name="connsiteX28" fmla="*/ 969257 w 4366182"/>
              <a:gd name="connsiteY28" fmla="*/ 2642948 h 3756098"/>
              <a:gd name="connsiteX29" fmla="*/ 804957 w 4366182"/>
              <a:gd name="connsiteY29" fmla="*/ 2532703 h 3756098"/>
              <a:gd name="connsiteX30" fmla="*/ 669490 w 4366182"/>
              <a:gd name="connsiteY30" fmla="*/ 2428620 h 3756098"/>
              <a:gd name="connsiteX31" fmla="*/ 474757 w 4366182"/>
              <a:gd name="connsiteY31" fmla="*/ 2281590 h 3756098"/>
              <a:gd name="connsiteX32" fmla="*/ 335057 w 4366182"/>
              <a:gd name="connsiteY32" fmla="*/ 2159613 h 3756098"/>
              <a:gd name="connsiteX33" fmla="*/ 148790 w 4366182"/>
              <a:gd name="connsiteY33" fmla="*/ 2007505 h 3756098"/>
              <a:gd name="connsiteX34" fmla="*/ 0 w 4366182"/>
              <a:gd name="connsiteY34" fmla="*/ 1884090 h 3756098"/>
              <a:gd name="connsiteX35" fmla="*/ 178599 w 4366182"/>
              <a:gd name="connsiteY35" fmla="*/ 1715878 h 3756098"/>
              <a:gd name="connsiteX36" fmla="*/ 395300 w 4366182"/>
              <a:gd name="connsiteY36" fmla="*/ 1521333 h 3756098"/>
              <a:gd name="connsiteX37" fmla="*/ 667572 w 4366182"/>
              <a:gd name="connsiteY37" fmla="*/ 1325776 h 3756098"/>
              <a:gd name="connsiteX38" fmla="*/ 881158 w 4366182"/>
              <a:gd name="connsiteY38" fmla="*/ 1178811 h 3756098"/>
              <a:gd name="connsiteX39" fmla="*/ 1054723 w 4366182"/>
              <a:gd name="connsiteY39" fmla="*/ 1061263 h 3756098"/>
              <a:gd name="connsiteX40" fmla="*/ 1287558 w 4366182"/>
              <a:gd name="connsiteY40" fmla="*/ 907757 h 3756098"/>
              <a:gd name="connsiteX41" fmla="*/ 1554258 w 4366182"/>
              <a:gd name="connsiteY41" fmla="*/ 749423 h 3756098"/>
              <a:gd name="connsiteX42" fmla="*/ 1765924 w 4366182"/>
              <a:gd name="connsiteY42" fmla="*/ 644024 h 3756098"/>
              <a:gd name="connsiteX43" fmla="*/ 1969124 w 4366182"/>
              <a:gd name="connsiteY43" fmla="*/ 538769 h 3756098"/>
              <a:gd name="connsiteX44" fmla="*/ 2178937 w 4366182"/>
              <a:gd name="connsiteY44" fmla="*/ 446602 h 3756098"/>
              <a:gd name="connsiteX45" fmla="*/ 2396086 w 4366182"/>
              <a:gd name="connsiteY45" fmla="*/ 354025 h 3756098"/>
              <a:gd name="connsiteX46" fmla="*/ 2675290 w 4366182"/>
              <a:gd name="connsiteY46" fmla="*/ 269096 h 3756098"/>
              <a:gd name="connsiteX47" fmla="*/ 2872323 w 4366182"/>
              <a:gd name="connsiteY47" fmla="*/ 220422 h 3756098"/>
              <a:gd name="connsiteX48" fmla="*/ 3066208 w 4366182"/>
              <a:gd name="connsiteY48" fmla="*/ 169939 h 3756098"/>
              <a:gd name="connsiteX0" fmla="*/ 3066208 w 4366182"/>
              <a:gd name="connsiteY0" fmla="*/ 169939 h 3756098"/>
              <a:gd name="connsiteX1" fmla="*/ 3272192 w 4366182"/>
              <a:gd name="connsiteY1" fmla="*/ 133166 h 3756098"/>
              <a:gd name="connsiteX2" fmla="*/ 3462692 w 4366182"/>
              <a:gd name="connsiteY2" fmla="*/ 103326 h 3756098"/>
              <a:gd name="connsiteX3" fmla="*/ 4206191 w 4366182"/>
              <a:gd name="connsiteY3" fmla="*/ 6853 h 3756098"/>
              <a:gd name="connsiteX4" fmla="*/ 4364456 w 4366182"/>
              <a:gd name="connsiteY4" fmla="*/ 8007 h 3756098"/>
              <a:gd name="connsiteX5" fmla="*/ 4360157 w 4366182"/>
              <a:gd name="connsiteY5" fmla="*/ 841448 h 3756098"/>
              <a:gd name="connsiteX6" fmla="*/ 4360157 w 4366182"/>
              <a:gd name="connsiteY6" fmla="*/ 867574 h 3756098"/>
              <a:gd name="connsiteX7" fmla="*/ 4360157 w 4366182"/>
              <a:gd name="connsiteY7" fmla="*/ 915499 h 3756098"/>
              <a:gd name="connsiteX8" fmla="*/ 4360157 w 4366182"/>
              <a:gd name="connsiteY8" fmla="*/ 952823 h 3756098"/>
              <a:gd name="connsiteX9" fmla="*/ 4360157 w 4366182"/>
              <a:gd name="connsiteY9" fmla="*/ 980871 h 3756098"/>
              <a:gd name="connsiteX10" fmla="*/ 4360157 w 4366182"/>
              <a:gd name="connsiteY10" fmla="*/ 1000968 h 3756098"/>
              <a:gd name="connsiteX11" fmla="*/ 4360157 w 4366182"/>
              <a:gd name="connsiteY11" fmla="*/ 1014440 h 3756098"/>
              <a:gd name="connsiteX12" fmla="*/ 4360157 w 4366182"/>
              <a:gd name="connsiteY12" fmla="*/ 1026808 h 3756098"/>
              <a:gd name="connsiteX13" fmla="*/ 4360157 w 4366182"/>
              <a:gd name="connsiteY13" fmla="*/ 1028575 h 3756098"/>
              <a:gd name="connsiteX14" fmla="*/ 4360157 w 4366182"/>
              <a:gd name="connsiteY14" fmla="*/ 3756098 h 3756098"/>
              <a:gd name="connsiteX15" fmla="*/ 4093457 w 4366182"/>
              <a:gd name="connsiteY15" fmla="*/ 3746988 h 3756098"/>
              <a:gd name="connsiteX16" fmla="*/ 3835226 w 4366182"/>
              <a:gd name="connsiteY16" fmla="*/ 3723783 h 3756098"/>
              <a:gd name="connsiteX17" fmla="*/ 3593923 w 4366182"/>
              <a:gd name="connsiteY17" fmla="*/ 3693941 h 3756098"/>
              <a:gd name="connsiteX18" fmla="*/ 3399191 w 4366182"/>
              <a:gd name="connsiteY18" fmla="*/ 3664102 h 3756098"/>
              <a:gd name="connsiteX19" fmla="*/ 3179057 w 4366182"/>
              <a:gd name="connsiteY19" fmla="*/ 3617687 h 3756098"/>
              <a:gd name="connsiteX20" fmla="*/ 2967391 w 4366182"/>
              <a:gd name="connsiteY20" fmla="*/ 3567957 h 3756098"/>
              <a:gd name="connsiteX21" fmla="*/ 2692224 w 4366182"/>
              <a:gd name="connsiteY21" fmla="*/ 3491701 h 3756098"/>
              <a:gd name="connsiteX22" fmla="*/ 2463623 w 4366182"/>
              <a:gd name="connsiteY22" fmla="*/ 3418760 h 3756098"/>
              <a:gd name="connsiteX23" fmla="*/ 2222323 w 4366182"/>
              <a:gd name="connsiteY23" fmla="*/ 3332560 h 3756098"/>
              <a:gd name="connsiteX24" fmla="*/ 1981023 w 4366182"/>
              <a:gd name="connsiteY24" fmla="*/ 3229780 h 3756098"/>
              <a:gd name="connsiteX25" fmla="*/ 1718557 w 4366182"/>
              <a:gd name="connsiteY25" fmla="*/ 3097163 h 3756098"/>
              <a:gd name="connsiteX26" fmla="*/ 1481491 w 4366182"/>
              <a:gd name="connsiteY26" fmla="*/ 2967860 h 3756098"/>
              <a:gd name="connsiteX27" fmla="*/ 1235958 w 4366182"/>
              <a:gd name="connsiteY27" fmla="*/ 2815351 h 3756098"/>
              <a:gd name="connsiteX28" fmla="*/ 969257 w 4366182"/>
              <a:gd name="connsiteY28" fmla="*/ 2642948 h 3756098"/>
              <a:gd name="connsiteX29" fmla="*/ 804957 w 4366182"/>
              <a:gd name="connsiteY29" fmla="*/ 2532703 h 3756098"/>
              <a:gd name="connsiteX30" fmla="*/ 669490 w 4366182"/>
              <a:gd name="connsiteY30" fmla="*/ 2428620 h 3756098"/>
              <a:gd name="connsiteX31" fmla="*/ 474757 w 4366182"/>
              <a:gd name="connsiteY31" fmla="*/ 2281590 h 3756098"/>
              <a:gd name="connsiteX32" fmla="*/ 335057 w 4366182"/>
              <a:gd name="connsiteY32" fmla="*/ 2159613 h 3756098"/>
              <a:gd name="connsiteX33" fmla="*/ 148790 w 4366182"/>
              <a:gd name="connsiteY33" fmla="*/ 2007505 h 3756098"/>
              <a:gd name="connsiteX34" fmla="*/ 0 w 4366182"/>
              <a:gd name="connsiteY34" fmla="*/ 1884090 h 3756098"/>
              <a:gd name="connsiteX35" fmla="*/ 178599 w 4366182"/>
              <a:gd name="connsiteY35" fmla="*/ 1715878 h 3756098"/>
              <a:gd name="connsiteX36" fmla="*/ 395300 w 4366182"/>
              <a:gd name="connsiteY36" fmla="*/ 1521333 h 3756098"/>
              <a:gd name="connsiteX37" fmla="*/ 667572 w 4366182"/>
              <a:gd name="connsiteY37" fmla="*/ 1325776 h 3756098"/>
              <a:gd name="connsiteX38" fmla="*/ 881158 w 4366182"/>
              <a:gd name="connsiteY38" fmla="*/ 1178811 h 3756098"/>
              <a:gd name="connsiteX39" fmla="*/ 1054723 w 4366182"/>
              <a:gd name="connsiteY39" fmla="*/ 1061263 h 3756098"/>
              <a:gd name="connsiteX40" fmla="*/ 1287558 w 4366182"/>
              <a:gd name="connsiteY40" fmla="*/ 907757 h 3756098"/>
              <a:gd name="connsiteX41" fmla="*/ 1554258 w 4366182"/>
              <a:gd name="connsiteY41" fmla="*/ 749423 h 3756098"/>
              <a:gd name="connsiteX42" fmla="*/ 1765924 w 4366182"/>
              <a:gd name="connsiteY42" fmla="*/ 644024 h 3756098"/>
              <a:gd name="connsiteX43" fmla="*/ 1969124 w 4366182"/>
              <a:gd name="connsiteY43" fmla="*/ 538769 h 3756098"/>
              <a:gd name="connsiteX44" fmla="*/ 2178937 w 4366182"/>
              <a:gd name="connsiteY44" fmla="*/ 446602 h 3756098"/>
              <a:gd name="connsiteX45" fmla="*/ 2396086 w 4366182"/>
              <a:gd name="connsiteY45" fmla="*/ 354025 h 3756098"/>
              <a:gd name="connsiteX46" fmla="*/ 2675290 w 4366182"/>
              <a:gd name="connsiteY46" fmla="*/ 269096 h 3756098"/>
              <a:gd name="connsiteX47" fmla="*/ 2872323 w 4366182"/>
              <a:gd name="connsiteY47" fmla="*/ 220422 h 3756098"/>
              <a:gd name="connsiteX48" fmla="*/ 3066208 w 4366182"/>
              <a:gd name="connsiteY48" fmla="*/ 169939 h 3756098"/>
              <a:gd name="connsiteX0" fmla="*/ 3066208 w 4366182"/>
              <a:gd name="connsiteY0" fmla="*/ 169939 h 3756098"/>
              <a:gd name="connsiteX1" fmla="*/ 3272192 w 4366182"/>
              <a:gd name="connsiteY1" fmla="*/ 133166 h 3756098"/>
              <a:gd name="connsiteX2" fmla="*/ 3462692 w 4366182"/>
              <a:gd name="connsiteY2" fmla="*/ 103326 h 3756098"/>
              <a:gd name="connsiteX3" fmla="*/ 4206191 w 4366182"/>
              <a:gd name="connsiteY3" fmla="*/ 6853 h 3756098"/>
              <a:gd name="connsiteX4" fmla="*/ 4364456 w 4366182"/>
              <a:gd name="connsiteY4" fmla="*/ 8007 h 3756098"/>
              <a:gd name="connsiteX5" fmla="*/ 4360157 w 4366182"/>
              <a:gd name="connsiteY5" fmla="*/ 841448 h 3756098"/>
              <a:gd name="connsiteX6" fmla="*/ 4360157 w 4366182"/>
              <a:gd name="connsiteY6" fmla="*/ 867574 h 3756098"/>
              <a:gd name="connsiteX7" fmla="*/ 4360157 w 4366182"/>
              <a:gd name="connsiteY7" fmla="*/ 915499 h 3756098"/>
              <a:gd name="connsiteX8" fmla="*/ 4360157 w 4366182"/>
              <a:gd name="connsiteY8" fmla="*/ 952823 h 3756098"/>
              <a:gd name="connsiteX9" fmla="*/ 4360157 w 4366182"/>
              <a:gd name="connsiteY9" fmla="*/ 980871 h 3756098"/>
              <a:gd name="connsiteX10" fmla="*/ 4360157 w 4366182"/>
              <a:gd name="connsiteY10" fmla="*/ 1000968 h 3756098"/>
              <a:gd name="connsiteX11" fmla="*/ 4360157 w 4366182"/>
              <a:gd name="connsiteY11" fmla="*/ 1014440 h 3756098"/>
              <a:gd name="connsiteX12" fmla="*/ 4360157 w 4366182"/>
              <a:gd name="connsiteY12" fmla="*/ 1026808 h 3756098"/>
              <a:gd name="connsiteX13" fmla="*/ 4360157 w 4366182"/>
              <a:gd name="connsiteY13" fmla="*/ 1028575 h 3756098"/>
              <a:gd name="connsiteX14" fmla="*/ 4360157 w 4366182"/>
              <a:gd name="connsiteY14" fmla="*/ 3756098 h 3756098"/>
              <a:gd name="connsiteX15" fmla="*/ 4093457 w 4366182"/>
              <a:gd name="connsiteY15" fmla="*/ 3746988 h 3756098"/>
              <a:gd name="connsiteX16" fmla="*/ 3835226 w 4366182"/>
              <a:gd name="connsiteY16" fmla="*/ 3723783 h 3756098"/>
              <a:gd name="connsiteX17" fmla="*/ 3593923 w 4366182"/>
              <a:gd name="connsiteY17" fmla="*/ 3693941 h 3756098"/>
              <a:gd name="connsiteX18" fmla="*/ 3399191 w 4366182"/>
              <a:gd name="connsiteY18" fmla="*/ 3664102 h 3756098"/>
              <a:gd name="connsiteX19" fmla="*/ 3179057 w 4366182"/>
              <a:gd name="connsiteY19" fmla="*/ 3617687 h 3756098"/>
              <a:gd name="connsiteX20" fmla="*/ 2967391 w 4366182"/>
              <a:gd name="connsiteY20" fmla="*/ 3567957 h 3756098"/>
              <a:gd name="connsiteX21" fmla="*/ 2692224 w 4366182"/>
              <a:gd name="connsiteY21" fmla="*/ 3491701 h 3756098"/>
              <a:gd name="connsiteX22" fmla="*/ 2463623 w 4366182"/>
              <a:gd name="connsiteY22" fmla="*/ 3418760 h 3756098"/>
              <a:gd name="connsiteX23" fmla="*/ 2222323 w 4366182"/>
              <a:gd name="connsiteY23" fmla="*/ 3332560 h 3756098"/>
              <a:gd name="connsiteX24" fmla="*/ 1981023 w 4366182"/>
              <a:gd name="connsiteY24" fmla="*/ 3229780 h 3756098"/>
              <a:gd name="connsiteX25" fmla="*/ 1718557 w 4366182"/>
              <a:gd name="connsiteY25" fmla="*/ 3097163 h 3756098"/>
              <a:gd name="connsiteX26" fmla="*/ 1481491 w 4366182"/>
              <a:gd name="connsiteY26" fmla="*/ 2967860 h 3756098"/>
              <a:gd name="connsiteX27" fmla="*/ 1235958 w 4366182"/>
              <a:gd name="connsiteY27" fmla="*/ 2815351 h 3756098"/>
              <a:gd name="connsiteX28" fmla="*/ 969257 w 4366182"/>
              <a:gd name="connsiteY28" fmla="*/ 2642948 h 3756098"/>
              <a:gd name="connsiteX29" fmla="*/ 804957 w 4366182"/>
              <a:gd name="connsiteY29" fmla="*/ 2532703 h 3756098"/>
              <a:gd name="connsiteX30" fmla="*/ 669490 w 4366182"/>
              <a:gd name="connsiteY30" fmla="*/ 2428620 h 3756098"/>
              <a:gd name="connsiteX31" fmla="*/ 474757 w 4366182"/>
              <a:gd name="connsiteY31" fmla="*/ 2281590 h 3756098"/>
              <a:gd name="connsiteX32" fmla="*/ 335057 w 4366182"/>
              <a:gd name="connsiteY32" fmla="*/ 2159613 h 3756098"/>
              <a:gd name="connsiteX33" fmla="*/ 148790 w 4366182"/>
              <a:gd name="connsiteY33" fmla="*/ 2007505 h 3756098"/>
              <a:gd name="connsiteX34" fmla="*/ 0 w 4366182"/>
              <a:gd name="connsiteY34" fmla="*/ 1884090 h 3756098"/>
              <a:gd name="connsiteX35" fmla="*/ 178599 w 4366182"/>
              <a:gd name="connsiteY35" fmla="*/ 1715878 h 3756098"/>
              <a:gd name="connsiteX36" fmla="*/ 395300 w 4366182"/>
              <a:gd name="connsiteY36" fmla="*/ 1521333 h 3756098"/>
              <a:gd name="connsiteX37" fmla="*/ 667572 w 4366182"/>
              <a:gd name="connsiteY37" fmla="*/ 1325776 h 3756098"/>
              <a:gd name="connsiteX38" fmla="*/ 881158 w 4366182"/>
              <a:gd name="connsiteY38" fmla="*/ 1178811 h 3756098"/>
              <a:gd name="connsiteX39" fmla="*/ 1054723 w 4366182"/>
              <a:gd name="connsiteY39" fmla="*/ 1061263 h 3756098"/>
              <a:gd name="connsiteX40" fmla="*/ 1287558 w 4366182"/>
              <a:gd name="connsiteY40" fmla="*/ 907757 h 3756098"/>
              <a:gd name="connsiteX41" fmla="*/ 1554258 w 4366182"/>
              <a:gd name="connsiteY41" fmla="*/ 749423 h 3756098"/>
              <a:gd name="connsiteX42" fmla="*/ 1765924 w 4366182"/>
              <a:gd name="connsiteY42" fmla="*/ 644024 h 3756098"/>
              <a:gd name="connsiteX43" fmla="*/ 1969124 w 4366182"/>
              <a:gd name="connsiteY43" fmla="*/ 538769 h 3756098"/>
              <a:gd name="connsiteX44" fmla="*/ 2178937 w 4366182"/>
              <a:gd name="connsiteY44" fmla="*/ 446602 h 3756098"/>
              <a:gd name="connsiteX45" fmla="*/ 2396086 w 4366182"/>
              <a:gd name="connsiteY45" fmla="*/ 354025 h 3756098"/>
              <a:gd name="connsiteX46" fmla="*/ 2675290 w 4366182"/>
              <a:gd name="connsiteY46" fmla="*/ 269096 h 3756098"/>
              <a:gd name="connsiteX47" fmla="*/ 2872323 w 4366182"/>
              <a:gd name="connsiteY47" fmla="*/ 220422 h 3756098"/>
              <a:gd name="connsiteX48" fmla="*/ 3066208 w 4366182"/>
              <a:gd name="connsiteY48" fmla="*/ 169939 h 3756098"/>
              <a:gd name="connsiteX0" fmla="*/ 3066208 w 4366182"/>
              <a:gd name="connsiteY0" fmla="*/ 167243 h 3753402"/>
              <a:gd name="connsiteX1" fmla="*/ 3272192 w 4366182"/>
              <a:gd name="connsiteY1" fmla="*/ 130470 h 3753402"/>
              <a:gd name="connsiteX2" fmla="*/ 3462692 w 4366182"/>
              <a:gd name="connsiteY2" fmla="*/ 100630 h 3753402"/>
              <a:gd name="connsiteX3" fmla="*/ 3687057 w 4366182"/>
              <a:gd name="connsiteY3" fmla="*/ 64159 h 3753402"/>
              <a:gd name="connsiteX4" fmla="*/ 4206191 w 4366182"/>
              <a:gd name="connsiteY4" fmla="*/ 4157 h 3753402"/>
              <a:gd name="connsiteX5" fmla="*/ 4364456 w 4366182"/>
              <a:gd name="connsiteY5" fmla="*/ 5311 h 3753402"/>
              <a:gd name="connsiteX6" fmla="*/ 4360157 w 4366182"/>
              <a:gd name="connsiteY6" fmla="*/ 838752 h 3753402"/>
              <a:gd name="connsiteX7" fmla="*/ 4360157 w 4366182"/>
              <a:gd name="connsiteY7" fmla="*/ 864878 h 3753402"/>
              <a:gd name="connsiteX8" fmla="*/ 4360157 w 4366182"/>
              <a:gd name="connsiteY8" fmla="*/ 912803 h 3753402"/>
              <a:gd name="connsiteX9" fmla="*/ 4360157 w 4366182"/>
              <a:gd name="connsiteY9" fmla="*/ 950127 h 3753402"/>
              <a:gd name="connsiteX10" fmla="*/ 4360157 w 4366182"/>
              <a:gd name="connsiteY10" fmla="*/ 978175 h 3753402"/>
              <a:gd name="connsiteX11" fmla="*/ 4360157 w 4366182"/>
              <a:gd name="connsiteY11" fmla="*/ 998272 h 3753402"/>
              <a:gd name="connsiteX12" fmla="*/ 4360157 w 4366182"/>
              <a:gd name="connsiteY12" fmla="*/ 1011744 h 3753402"/>
              <a:gd name="connsiteX13" fmla="*/ 4360157 w 4366182"/>
              <a:gd name="connsiteY13" fmla="*/ 1024112 h 3753402"/>
              <a:gd name="connsiteX14" fmla="*/ 4360157 w 4366182"/>
              <a:gd name="connsiteY14" fmla="*/ 1025879 h 3753402"/>
              <a:gd name="connsiteX15" fmla="*/ 4360157 w 4366182"/>
              <a:gd name="connsiteY15" fmla="*/ 3753402 h 3753402"/>
              <a:gd name="connsiteX16" fmla="*/ 4093457 w 4366182"/>
              <a:gd name="connsiteY16" fmla="*/ 3744292 h 3753402"/>
              <a:gd name="connsiteX17" fmla="*/ 3835226 w 4366182"/>
              <a:gd name="connsiteY17" fmla="*/ 3721087 h 3753402"/>
              <a:gd name="connsiteX18" fmla="*/ 3593923 w 4366182"/>
              <a:gd name="connsiteY18" fmla="*/ 3691245 h 3753402"/>
              <a:gd name="connsiteX19" fmla="*/ 3399191 w 4366182"/>
              <a:gd name="connsiteY19" fmla="*/ 3661406 h 3753402"/>
              <a:gd name="connsiteX20" fmla="*/ 3179057 w 4366182"/>
              <a:gd name="connsiteY20" fmla="*/ 3614991 h 3753402"/>
              <a:gd name="connsiteX21" fmla="*/ 2967391 w 4366182"/>
              <a:gd name="connsiteY21" fmla="*/ 3565261 h 3753402"/>
              <a:gd name="connsiteX22" fmla="*/ 2692224 w 4366182"/>
              <a:gd name="connsiteY22" fmla="*/ 3489005 h 3753402"/>
              <a:gd name="connsiteX23" fmla="*/ 2463623 w 4366182"/>
              <a:gd name="connsiteY23" fmla="*/ 3416064 h 3753402"/>
              <a:gd name="connsiteX24" fmla="*/ 2222323 w 4366182"/>
              <a:gd name="connsiteY24" fmla="*/ 3329864 h 3753402"/>
              <a:gd name="connsiteX25" fmla="*/ 1981023 w 4366182"/>
              <a:gd name="connsiteY25" fmla="*/ 3227084 h 3753402"/>
              <a:gd name="connsiteX26" fmla="*/ 1718557 w 4366182"/>
              <a:gd name="connsiteY26" fmla="*/ 3094467 h 3753402"/>
              <a:gd name="connsiteX27" fmla="*/ 1481491 w 4366182"/>
              <a:gd name="connsiteY27" fmla="*/ 2965164 h 3753402"/>
              <a:gd name="connsiteX28" fmla="*/ 1235958 w 4366182"/>
              <a:gd name="connsiteY28" fmla="*/ 2812655 h 3753402"/>
              <a:gd name="connsiteX29" fmla="*/ 969257 w 4366182"/>
              <a:gd name="connsiteY29" fmla="*/ 2640252 h 3753402"/>
              <a:gd name="connsiteX30" fmla="*/ 804957 w 4366182"/>
              <a:gd name="connsiteY30" fmla="*/ 2530007 h 3753402"/>
              <a:gd name="connsiteX31" fmla="*/ 669490 w 4366182"/>
              <a:gd name="connsiteY31" fmla="*/ 2425924 h 3753402"/>
              <a:gd name="connsiteX32" fmla="*/ 474757 w 4366182"/>
              <a:gd name="connsiteY32" fmla="*/ 2278894 h 3753402"/>
              <a:gd name="connsiteX33" fmla="*/ 335057 w 4366182"/>
              <a:gd name="connsiteY33" fmla="*/ 2156917 h 3753402"/>
              <a:gd name="connsiteX34" fmla="*/ 148790 w 4366182"/>
              <a:gd name="connsiteY34" fmla="*/ 2004809 h 3753402"/>
              <a:gd name="connsiteX35" fmla="*/ 0 w 4366182"/>
              <a:gd name="connsiteY35" fmla="*/ 1881394 h 3753402"/>
              <a:gd name="connsiteX36" fmla="*/ 178599 w 4366182"/>
              <a:gd name="connsiteY36" fmla="*/ 1713182 h 3753402"/>
              <a:gd name="connsiteX37" fmla="*/ 395300 w 4366182"/>
              <a:gd name="connsiteY37" fmla="*/ 1518637 h 3753402"/>
              <a:gd name="connsiteX38" fmla="*/ 667572 w 4366182"/>
              <a:gd name="connsiteY38" fmla="*/ 1323080 h 3753402"/>
              <a:gd name="connsiteX39" fmla="*/ 881158 w 4366182"/>
              <a:gd name="connsiteY39" fmla="*/ 1176115 h 3753402"/>
              <a:gd name="connsiteX40" fmla="*/ 1054723 w 4366182"/>
              <a:gd name="connsiteY40" fmla="*/ 1058567 h 3753402"/>
              <a:gd name="connsiteX41" fmla="*/ 1287558 w 4366182"/>
              <a:gd name="connsiteY41" fmla="*/ 905061 h 3753402"/>
              <a:gd name="connsiteX42" fmla="*/ 1554258 w 4366182"/>
              <a:gd name="connsiteY42" fmla="*/ 746727 h 3753402"/>
              <a:gd name="connsiteX43" fmla="*/ 1765924 w 4366182"/>
              <a:gd name="connsiteY43" fmla="*/ 641328 h 3753402"/>
              <a:gd name="connsiteX44" fmla="*/ 1969124 w 4366182"/>
              <a:gd name="connsiteY44" fmla="*/ 536073 h 3753402"/>
              <a:gd name="connsiteX45" fmla="*/ 2178937 w 4366182"/>
              <a:gd name="connsiteY45" fmla="*/ 443906 h 3753402"/>
              <a:gd name="connsiteX46" fmla="*/ 2396086 w 4366182"/>
              <a:gd name="connsiteY46" fmla="*/ 351329 h 3753402"/>
              <a:gd name="connsiteX47" fmla="*/ 2675290 w 4366182"/>
              <a:gd name="connsiteY47" fmla="*/ 266400 h 3753402"/>
              <a:gd name="connsiteX48" fmla="*/ 2872323 w 4366182"/>
              <a:gd name="connsiteY48" fmla="*/ 217726 h 3753402"/>
              <a:gd name="connsiteX49" fmla="*/ 3066208 w 4366182"/>
              <a:gd name="connsiteY49" fmla="*/ 167243 h 3753402"/>
              <a:gd name="connsiteX0" fmla="*/ 3066208 w 4366182"/>
              <a:gd name="connsiteY0" fmla="*/ 173621 h 3759780"/>
              <a:gd name="connsiteX1" fmla="*/ 3272192 w 4366182"/>
              <a:gd name="connsiteY1" fmla="*/ 136848 h 3759780"/>
              <a:gd name="connsiteX2" fmla="*/ 3462692 w 4366182"/>
              <a:gd name="connsiteY2" fmla="*/ 107008 h 3759780"/>
              <a:gd name="connsiteX3" fmla="*/ 3687057 w 4366182"/>
              <a:gd name="connsiteY3" fmla="*/ 70537 h 3759780"/>
              <a:gd name="connsiteX4" fmla="*/ 3915657 w 4366182"/>
              <a:gd name="connsiteY4" fmla="*/ 156739 h 3759780"/>
              <a:gd name="connsiteX5" fmla="*/ 4206191 w 4366182"/>
              <a:gd name="connsiteY5" fmla="*/ 10535 h 3759780"/>
              <a:gd name="connsiteX6" fmla="*/ 4364456 w 4366182"/>
              <a:gd name="connsiteY6" fmla="*/ 11689 h 3759780"/>
              <a:gd name="connsiteX7" fmla="*/ 4360157 w 4366182"/>
              <a:gd name="connsiteY7" fmla="*/ 845130 h 3759780"/>
              <a:gd name="connsiteX8" fmla="*/ 4360157 w 4366182"/>
              <a:gd name="connsiteY8" fmla="*/ 871256 h 3759780"/>
              <a:gd name="connsiteX9" fmla="*/ 4360157 w 4366182"/>
              <a:gd name="connsiteY9" fmla="*/ 919181 h 3759780"/>
              <a:gd name="connsiteX10" fmla="*/ 4360157 w 4366182"/>
              <a:gd name="connsiteY10" fmla="*/ 956505 h 3759780"/>
              <a:gd name="connsiteX11" fmla="*/ 4360157 w 4366182"/>
              <a:gd name="connsiteY11" fmla="*/ 984553 h 3759780"/>
              <a:gd name="connsiteX12" fmla="*/ 4360157 w 4366182"/>
              <a:gd name="connsiteY12" fmla="*/ 1004650 h 3759780"/>
              <a:gd name="connsiteX13" fmla="*/ 4360157 w 4366182"/>
              <a:gd name="connsiteY13" fmla="*/ 1018122 h 3759780"/>
              <a:gd name="connsiteX14" fmla="*/ 4360157 w 4366182"/>
              <a:gd name="connsiteY14" fmla="*/ 1030490 h 3759780"/>
              <a:gd name="connsiteX15" fmla="*/ 4360157 w 4366182"/>
              <a:gd name="connsiteY15" fmla="*/ 1032257 h 3759780"/>
              <a:gd name="connsiteX16" fmla="*/ 4360157 w 4366182"/>
              <a:gd name="connsiteY16" fmla="*/ 3759780 h 3759780"/>
              <a:gd name="connsiteX17" fmla="*/ 4093457 w 4366182"/>
              <a:gd name="connsiteY17" fmla="*/ 3750670 h 3759780"/>
              <a:gd name="connsiteX18" fmla="*/ 3835226 w 4366182"/>
              <a:gd name="connsiteY18" fmla="*/ 3727465 h 3759780"/>
              <a:gd name="connsiteX19" fmla="*/ 3593923 w 4366182"/>
              <a:gd name="connsiteY19" fmla="*/ 3697623 h 3759780"/>
              <a:gd name="connsiteX20" fmla="*/ 3399191 w 4366182"/>
              <a:gd name="connsiteY20" fmla="*/ 3667784 h 3759780"/>
              <a:gd name="connsiteX21" fmla="*/ 3179057 w 4366182"/>
              <a:gd name="connsiteY21" fmla="*/ 3621369 h 3759780"/>
              <a:gd name="connsiteX22" fmla="*/ 2967391 w 4366182"/>
              <a:gd name="connsiteY22" fmla="*/ 3571639 h 3759780"/>
              <a:gd name="connsiteX23" fmla="*/ 2692224 w 4366182"/>
              <a:gd name="connsiteY23" fmla="*/ 3495383 h 3759780"/>
              <a:gd name="connsiteX24" fmla="*/ 2463623 w 4366182"/>
              <a:gd name="connsiteY24" fmla="*/ 3422442 h 3759780"/>
              <a:gd name="connsiteX25" fmla="*/ 2222323 w 4366182"/>
              <a:gd name="connsiteY25" fmla="*/ 3336242 h 3759780"/>
              <a:gd name="connsiteX26" fmla="*/ 1981023 w 4366182"/>
              <a:gd name="connsiteY26" fmla="*/ 3233462 h 3759780"/>
              <a:gd name="connsiteX27" fmla="*/ 1718557 w 4366182"/>
              <a:gd name="connsiteY27" fmla="*/ 3100845 h 3759780"/>
              <a:gd name="connsiteX28" fmla="*/ 1481491 w 4366182"/>
              <a:gd name="connsiteY28" fmla="*/ 2971542 h 3759780"/>
              <a:gd name="connsiteX29" fmla="*/ 1235958 w 4366182"/>
              <a:gd name="connsiteY29" fmla="*/ 2819033 h 3759780"/>
              <a:gd name="connsiteX30" fmla="*/ 969257 w 4366182"/>
              <a:gd name="connsiteY30" fmla="*/ 2646630 h 3759780"/>
              <a:gd name="connsiteX31" fmla="*/ 804957 w 4366182"/>
              <a:gd name="connsiteY31" fmla="*/ 2536385 h 3759780"/>
              <a:gd name="connsiteX32" fmla="*/ 669490 w 4366182"/>
              <a:gd name="connsiteY32" fmla="*/ 2432302 h 3759780"/>
              <a:gd name="connsiteX33" fmla="*/ 474757 w 4366182"/>
              <a:gd name="connsiteY33" fmla="*/ 2285272 h 3759780"/>
              <a:gd name="connsiteX34" fmla="*/ 335057 w 4366182"/>
              <a:gd name="connsiteY34" fmla="*/ 2163295 h 3759780"/>
              <a:gd name="connsiteX35" fmla="*/ 148790 w 4366182"/>
              <a:gd name="connsiteY35" fmla="*/ 2011187 h 3759780"/>
              <a:gd name="connsiteX36" fmla="*/ 0 w 4366182"/>
              <a:gd name="connsiteY36" fmla="*/ 1887772 h 3759780"/>
              <a:gd name="connsiteX37" fmla="*/ 178599 w 4366182"/>
              <a:gd name="connsiteY37" fmla="*/ 1719560 h 3759780"/>
              <a:gd name="connsiteX38" fmla="*/ 395300 w 4366182"/>
              <a:gd name="connsiteY38" fmla="*/ 1525015 h 3759780"/>
              <a:gd name="connsiteX39" fmla="*/ 667572 w 4366182"/>
              <a:gd name="connsiteY39" fmla="*/ 1329458 h 3759780"/>
              <a:gd name="connsiteX40" fmla="*/ 881158 w 4366182"/>
              <a:gd name="connsiteY40" fmla="*/ 1182493 h 3759780"/>
              <a:gd name="connsiteX41" fmla="*/ 1054723 w 4366182"/>
              <a:gd name="connsiteY41" fmla="*/ 1064945 h 3759780"/>
              <a:gd name="connsiteX42" fmla="*/ 1287558 w 4366182"/>
              <a:gd name="connsiteY42" fmla="*/ 911439 h 3759780"/>
              <a:gd name="connsiteX43" fmla="*/ 1554258 w 4366182"/>
              <a:gd name="connsiteY43" fmla="*/ 753105 h 3759780"/>
              <a:gd name="connsiteX44" fmla="*/ 1765924 w 4366182"/>
              <a:gd name="connsiteY44" fmla="*/ 647706 h 3759780"/>
              <a:gd name="connsiteX45" fmla="*/ 1969124 w 4366182"/>
              <a:gd name="connsiteY45" fmla="*/ 542451 h 3759780"/>
              <a:gd name="connsiteX46" fmla="*/ 2178937 w 4366182"/>
              <a:gd name="connsiteY46" fmla="*/ 450284 h 3759780"/>
              <a:gd name="connsiteX47" fmla="*/ 2396086 w 4366182"/>
              <a:gd name="connsiteY47" fmla="*/ 357707 h 3759780"/>
              <a:gd name="connsiteX48" fmla="*/ 2675290 w 4366182"/>
              <a:gd name="connsiteY48" fmla="*/ 272778 h 3759780"/>
              <a:gd name="connsiteX49" fmla="*/ 2872323 w 4366182"/>
              <a:gd name="connsiteY49" fmla="*/ 224104 h 3759780"/>
              <a:gd name="connsiteX50" fmla="*/ 3066208 w 4366182"/>
              <a:gd name="connsiteY50" fmla="*/ 173621 h 3759780"/>
              <a:gd name="connsiteX0" fmla="*/ 3066208 w 4366182"/>
              <a:gd name="connsiteY0" fmla="*/ 173621 h 3759780"/>
              <a:gd name="connsiteX1" fmla="*/ 3272192 w 4366182"/>
              <a:gd name="connsiteY1" fmla="*/ 136848 h 3759780"/>
              <a:gd name="connsiteX2" fmla="*/ 3462692 w 4366182"/>
              <a:gd name="connsiteY2" fmla="*/ 107008 h 3759780"/>
              <a:gd name="connsiteX3" fmla="*/ 3687057 w 4366182"/>
              <a:gd name="connsiteY3" fmla="*/ 70537 h 3759780"/>
              <a:gd name="connsiteX4" fmla="*/ 3915657 w 4366182"/>
              <a:gd name="connsiteY4" fmla="*/ 156739 h 3759780"/>
              <a:gd name="connsiteX5" fmla="*/ 4206191 w 4366182"/>
              <a:gd name="connsiteY5" fmla="*/ 10535 h 3759780"/>
              <a:gd name="connsiteX6" fmla="*/ 4364456 w 4366182"/>
              <a:gd name="connsiteY6" fmla="*/ 11689 h 3759780"/>
              <a:gd name="connsiteX7" fmla="*/ 4360157 w 4366182"/>
              <a:gd name="connsiteY7" fmla="*/ 845130 h 3759780"/>
              <a:gd name="connsiteX8" fmla="*/ 4360157 w 4366182"/>
              <a:gd name="connsiteY8" fmla="*/ 871256 h 3759780"/>
              <a:gd name="connsiteX9" fmla="*/ 4360157 w 4366182"/>
              <a:gd name="connsiteY9" fmla="*/ 919181 h 3759780"/>
              <a:gd name="connsiteX10" fmla="*/ 4360157 w 4366182"/>
              <a:gd name="connsiteY10" fmla="*/ 956505 h 3759780"/>
              <a:gd name="connsiteX11" fmla="*/ 4360157 w 4366182"/>
              <a:gd name="connsiteY11" fmla="*/ 984553 h 3759780"/>
              <a:gd name="connsiteX12" fmla="*/ 4360157 w 4366182"/>
              <a:gd name="connsiteY12" fmla="*/ 1004650 h 3759780"/>
              <a:gd name="connsiteX13" fmla="*/ 4360157 w 4366182"/>
              <a:gd name="connsiteY13" fmla="*/ 1018122 h 3759780"/>
              <a:gd name="connsiteX14" fmla="*/ 4360157 w 4366182"/>
              <a:gd name="connsiteY14" fmla="*/ 1030490 h 3759780"/>
              <a:gd name="connsiteX15" fmla="*/ 4360157 w 4366182"/>
              <a:gd name="connsiteY15" fmla="*/ 1032257 h 3759780"/>
              <a:gd name="connsiteX16" fmla="*/ 4360157 w 4366182"/>
              <a:gd name="connsiteY16" fmla="*/ 3759780 h 3759780"/>
              <a:gd name="connsiteX17" fmla="*/ 4093457 w 4366182"/>
              <a:gd name="connsiteY17" fmla="*/ 3750670 h 3759780"/>
              <a:gd name="connsiteX18" fmla="*/ 3835226 w 4366182"/>
              <a:gd name="connsiteY18" fmla="*/ 3727465 h 3759780"/>
              <a:gd name="connsiteX19" fmla="*/ 3593923 w 4366182"/>
              <a:gd name="connsiteY19" fmla="*/ 3697623 h 3759780"/>
              <a:gd name="connsiteX20" fmla="*/ 3399191 w 4366182"/>
              <a:gd name="connsiteY20" fmla="*/ 3667784 h 3759780"/>
              <a:gd name="connsiteX21" fmla="*/ 3179057 w 4366182"/>
              <a:gd name="connsiteY21" fmla="*/ 3621369 h 3759780"/>
              <a:gd name="connsiteX22" fmla="*/ 2967391 w 4366182"/>
              <a:gd name="connsiteY22" fmla="*/ 3571639 h 3759780"/>
              <a:gd name="connsiteX23" fmla="*/ 2692224 w 4366182"/>
              <a:gd name="connsiteY23" fmla="*/ 3495383 h 3759780"/>
              <a:gd name="connsiteX24" fmla="*/ 2463623 w 4366182"/>
              <a:gd name="connsiteY24" fmla="*/ 3422442 h 3759780"/>
              <a:gd name="connsiteX25" fmla="*/ 2222323 w 4366182"/>
              <a:gd name="connsiteY25" fmla="*/ 3336242 h 3759780"/>
              <a:gd name="connsiteX26" fmla="*/ 1981023 w 4366182"/>
              <a:gd name="connsiteY26" fmla="*/ 3233462 h 3759780"/>
              <a:gd name="connsiteX27" fmla="*/ 1718557 w 4366182"/>
              <a:gd name="connsiteY27" fmla="*/ 3100845 h 3759780"/>
              <a:gd name="connsiteX28" fmla="*/ 1481491 w 4366182"/>
              <a:gd name="connsiteY28" fmla="*/ 2971542 h 3759780"/>
              <a:gd name="connsiteX29" fmla="*/ 1235958 w 4366182"/>
              <a:gd name="connsiteY29" fmla="*/ 2819033 h 3759780"/>
              <a:gd name="connsiteX30" fmla="*/ 969257 w 4366182"/>
              <a:gd name="connsiteY30" fmla="*/ 2646630 h 3759780"/>
              <a:gd name="connsiteX31" fmla="*/ 804957 w 4366182"/>
              <a:gd name="connsiteY31" fmla="*/ 2536385 h 3759780"/>
              <a:gd name="connsiteX32" fmla="*/ 669490 w 4366182"/>
              <a:gd name="connsiteY32" fmla="*/ 2432302 h 3759780"/>
              <a:gd name="connsiteX33" fmla="*/ 474757 w 4366182"/>
              <a:gd name="connsiteY33" fmla="*/ 2285272 h 3759780"/>
              <a:gd name="connsiteX34" fmla="*/ 335057 w 4366182"/>
              <a:gd name="connsiteY34" fmla="*/ 2163295 h 3759780"/>
              <a:gd name="connsiteX35" fmla="*/ 148790 w 4366182"/>
              <a:gd name="connsiteY35" fmla="*/ 2011187 h 3759780"/>
              <a:gd name="connsiteX36" fmla="*/ 0 w 4366182"/>
              <a:gd name="connsiteY36" fmla="*/ 1887772 h 3759780"/>
              <a:gd name="connsiteX37" fmla="*/ 178599 w 4366182"/>
              <a:gd name="connsiteY37" fmla="*/ 1719560 h 3759780"/>
              <a:gd name="connsiteX38" fmla="*/ 395300 w 4366182"/>
              <a:gd name="connsiteY38" fmla="*/ 1525015 h 3759780"/>
              <a:gd name="connsiteX39" fmla="*/ 667572 w 4366182"/>
              <a:gd name="connsiteY39" fmla="*/ 1329458 h 3759780"/>
              <a:gd name="connsiteX40" fmla="*/ 881158 w 4366182"/>
              <a:gd name="connsiteY40" fmla="*/ 1182493 h 3759780"/>
              <a:gd name="connsiteX41" fmla="*/ 1054723 w 4366182"/>
              <a:gd name="connsiteY41" fmla="*/ 1064945 h 3759780"/>
              <a:gd name="connsiteX42" fmla="*/ 1287558 w 4366182"/>
              <a:gd name="connsiteY42" fmla="*/ 911439 h 3759780"/>
              <a:gd name="connsiteX43" fmla="*/ 1554258 w 4366182"/>
              <a:gd name="connsiteY43" fmla="*/ 753105 h 3759780"/>
              <a:gd name="connsiteX44" fmla="*/ 1765924 w 4366182"/>
              <a:gd name="connsiteY44" fmla="*/ 647706 h 3759780"/>
              <a:gd name="connsiteX45" fmla="*/ 1969124 w 4366182"/>
              <a:gd name="connsiteY45" fmla="*/ 542451 h 3759780"/>
              <a:gd name="connsiteX46" fmla="*/ 2178937 w 4366182"/>
              <a:gd name="connsiteY46" fmla="*/ 450284 h 3759780"/>
              <a:gd name="connsiteX47" fmla="*/ 2396086 w 4366182"/>
              <a:gd name="connsiteY47" fmla="*/ 357707 h 3759780"/>
              <a:gd name="connsiteX48" fmla="*/ 2675290 w 4366182"/>
              <a:gd name="connsiteY48" fmla="*/ 272778 h 3759780"/>
              <a:gd name="connsiteX49" fmla="*/ 2872323 w 4366182"/>
              <a:gd name="connsiteY49" fmla="*/ 224104 h 3759780"/>
              <a:gd name="connsiteX50" fmla="*/ 3066208 w 4366182"/>
              <a:gd name="connsiteY50" fmla="*/ 173621 h 3759780"/>
              <a:gd name="connsiteX0" fmla="*/ 3066208 w 4366182"/>
              <a:gd name="connsiteY0" fmla="*/ 173621 h 3759780"/>
              <a:gd name="connsiteX1" fmla="*/ 3272192 w 4366182"/>
              <a:gd name="connsiteY1" fmla="*/ 136848 h 3759780"/>
              <a:gd name="connsiteX2" fmla="*/ 3462692 w 4366182"/>
              <a:gd name="connsiteY2" fmla="*/ 107008 h 3759780"/>
              <a:gd name="connsiteX3" fmla="*/ 3687057 w 4366182"/>
              <a:gd name="connsiteY3" fmla="*/ 70537 h 3759780"/>
              <a:gd name="connsiteX4" fmla="*/ 3915657 w 4366182"/>
              <a:gd name="connsiteY4" fmla="*/ 156739 h 3759780"/>
              <a:gd name="connsiteX5" fmla="*/ 4206191 w 4366182"/>
              <a:gd name="connsiteY5" fmla="*/ 10535 h 3759780"/>
              <a:gd name="connsiteX6" fmla="*/ 4364456 w 4366182"/>
              <a:gd name="connsiteY6" fmla="*/ 11689 h 3759780"/>
              <a:gd name="connsiteX7" fmla="*/ 4360157 w 4366182"/>
              <a:gd name="connsiteY7" fmla="*/ 845130 h 3759780"/>
              <a:gd name="connsiteX8" fmla="*/ 4360157 w 4366182"/>
              <a:gd name="connsiteY8" fmla="*/ 871256 h 3759780"/>
              <a:gd name="connsiteX9" fmla="*/ 4360157 w 4366182"/>
              <a:gd name="connsiteY9" fmla="*/ 919181 h 3759780"/>
              <a:gd name="connsiteX10" fmla="*/ 4360157 w 4366182"/>
              <a:gd name="connsiteY10" fmla="*/ 956505 h 3759780"/>
              <a:gd name="connsiteX11" fmla="*/ 4360157 w 4366182"/>
              <a:gd name="connsiteY11" fmla="*/ 984553 h 3759780"/>
              <a:gd name="connsiteX12" fmla="*/ 4360157 w 4366182"/>
              <a:gd name="connsiteY12" fmla="*/ 1004650 h 3759780"/>
              <a:gd name="connsiteX13" fmla="*/ 4360157 w 4366182"/>
              <a:gd name="connsiteY13" fmla="*/ 1018122 h 3759780"/>
              <a:gd name="connsiteX14" fmla="*/ 4360157 w 4366182"/>
              <a:gd name="connsiteY14" fmla="*/ 1030490 h 3759780"/>
              <a:gd name="connsiteX15" fmla="*/ 4360157 w 4366182"/>
              <a:gd name="connsiteY15" fmla="*/ 1032257 h 3759780"/>
              <a:gd name="connsiteX16" fmla="*/ 4360157 w 4366182"/>
              <a:gd name="connsiteY16" fmla="*/ 3759780 h 3759780"/>
              <a:gd name="connsiteX17" fmla="*/ 4093457 w 4366182"/>
              <a:gd name="connsiteY17" fmla="*/ 3750670 h 3759780"/>
              <a:gd name="connsiteX18" fmla="*/ 3835226 w 4366182"/>
              <a:gd name="connsiteY18" fmla="*/ 3727465 h 3759780"/>
              <a:gd name="connsiteX19" fmla="*/ 3593923 w 4366182"/>
              <a:gd name="connsiteY19" fmla="*/ 3697623 h 3759780"/>
              <a:gd name="connsiteX20" fmla="*/ 3399191 w 4366182"/>
              <a:gd name="connsiteY20" fmla="*/ 3667784 h 3759780"/>
              <a:gd name="connsiteX21" fmla="*/ 3179057 w 4366182"/>
              <a:gd name="connsiteY21" fmla="*/ 3621369 h 3759780"/>
              <a:gd name="connsiteX22" fmla="*/ 2967391 w 4366182"/>
              <a:gd name="connsiteY22" fmla="*/ 3571639 h 3759780"/>
              <a:gd name="connsiteX23" fmla="*/ 2692224 w 4366182"/>
              <a:gd name="connsiteY23" fmla="*/ 3495383 h 3759780"/>
              <a:gd name="connsiteX24" fmla="*/ 2463623 w 4366182"/>
              <a:gd name="connsiteY24" fmla="*/ 3422442 h 3759780"/>
              <a:gd name="connsiteX25" fmla="*/ 2222323 w 4366182"/>
              <a:gd name="connsiteY25" fmla="*/ 3336242 h 3759780"/>
              <a:gd name="connsiteX26" fmla="*/ 1981023 w 4366182"/>
              <a:gd name="connsiteY26" fmla="*/ 3233462 h 3759780"/>
              <a:gd name="connsiteX27" fmla="*/ 1718557 w 4366182"/>
              <a:gd name="connsiteY27" fmla="*/ 3100845 h 3759780"/>
              <a:gd name="connsiteX28" fmla="*/ 1481491 w 4366182"/>
              <a:gd name="connsiteY28" fmla="*/ 2971542 h 3759780"/>
              <a:gd name="connsiteX29" fmla="*/ 1235958 w 4366182"/>
              <a:gd name="connsiteY29" fmla="*/ 2819033 h 3759780"/>
              <a:gd name="connsiteX30" fmla="*/ 969257 w 4366182"/>
              <a:gd name="connsiteY30" fmla="*/ 2646630 h 3759780"/>
              <a:gd name="connsiteX31" fmla="*/ 804957 w 4366182"/>
              <a:gd name="connsiteY31" fmla="*/ 2536385 h 3759780"/>
              <a:gd name="connsiteX32" fmla="*/ 669490 w 4366182"/>
              <a:gd name="connsiteY32" fmla="*/ 2432302 h 3759780"/>
              <a:gd name="connsiteX33" fmla="*/ 474757 w 4366182"/>
              <a:gd name="connsiteY33" fmla="*/ 2285272 h 3759780"/>
              <a:gd name="connsiteX34" fmla="*/ 335057 w 4366182"/>
              <a:gd name="connsiteY34" fmla="*/ 2163295 h 3759780"/>
              <a:gd name="connsiteX35" fmla="*/ 148790 w 4366182"/>
              <a:gd name="connsiteY35" fmla="*/ 2011187 h 3759780"/>
              <a:gd name="connsiteX36" fmla="*/ 0 w 4366182"/>
              <a:gd name="connsiteY36" fmla="*/ 1887772 h 3759780"/>
              <a:gd name="connsiteX37" fmla="*/ 178599 w 4366182"/>
              <a:gd name="connsiteY37" fmla="*/ 1719560 h 3759780"/>
              <a:gd name="connsiteX38" fmla="*/ 395300 w 4366182"/>
              <a:gd name="connsiteY38" fmla="*/ 1525015 h 3759780"/>
              <a:gd name="connsiteX39" fmla="*/ 667572 w 4366182"/>
              <a:gd name="connsiteY39" fmla="*/ 1329458 h 3759780"/>
              <a:gd name="connsiteX40" fmla="*/ 881158 w 4366182"/>
              <a:gd name="connsiteY40" fmla="*/ 1182493 h 3759780"/>
              <a:gd name="connsiteX41" fmla="*/ 1054723 w 4366182"/>
              <a:gd name="connsiteY41" fmla="*/ 1064945 h 3759780"/>
              <a:gd name="connsiteX42" fmla="*/ 1287558 w 4366182"/>
              <a:gd name="connsiteY42" fmla="*/ 911439 h 3759780"/>
              <a:gd name="connsiteX43" fmla="*/ 1554258 w 4366182"/>
              <a:gd name="connsiteY43" fmla="*/ 753105 h 3759780"/>
              <a:gd name="connsiteX44" fmla="*/ 1765924 w 4366182"/>
              <a:gd name="connsiteY44" fmla="*/ 647706 h 3759780"/>
              <a:gd name="connsiteX45" fmla="*/ 1969124 w 4366182"/>
              <a:gd name="connsiteY45" fmla="*/ 542451 h 3759780"/>
              <a:gd name="connsiteX46" fmla="*/ 2178937 w 4366182"/>
              <a:gd name="connsiteY46" fmla="*/ 450284 h 3759780"/>
              <a:gd name="connsiteX47" fmla="*/ 2396086 w 4366182"/>
              <a:gd name="connsiteY47" fmla="*/ 357707 h 3759780"/>
              <a:gd name="connsiteX48" fmla="*/ 2675290 w 4366182"/>
              <a:gd name="connsiteY48" fmla="*/ 272778 h 3759780"/>
              <a:gd name="connsiteX49" fmla="*/ 2872323 w 4366182"/>
              <a:gd name="connsiteY49" fmla="*/ 224104 h 3759780"/>
              <a:gd name="connsiteX50" fmla="*/ 3066208 w 4366182"/>
              <a:gd name="connsiteY50" fmla="*/ 173621 h 3759780"/>
              <a:gd name="connsiteX0" fmla="*/ 3066208 w 4366182"/>
              <a:gd name="connsiteY0" fmla="*/ 163086 h 3749245"/>
              <a:gd name="connsiteX1" fmla="*/ 3272192 w 4366182"/>
              <a:gd name="connsiteY1" fmla="*/ 126313 h 3749245"/>
              <a:gd name="connsiteX2" fmla="*/ 3462692 w 4366182"/>
              <a:gd name="connsiteY2" fmla="*/ 96473 h 3749245"/>
              <a:gd name="connsiteX3" fmla="*/ 3687057 w 4366182"/>
              <a:gd name="connsiteY3" fmla="*/ 60002 h 3749245"/>
              <a:gd name="connsiteX4" fmla="*/ 3915657 w 4366182"/>
              <a:gd name="connsiteY4" fmla="*/ 146204 h 3749245"/>
              <a:gd name="connsiteX5" fmla="*/ 4206191 w 4366182"/>
              <a:gd name="connsiteY5" fmla="*/ 0 h 3749245"/>
              <a:gd name="connsiteX6" fmla="*/ 4364456 w 4366182"/>
              <a:gd name="connsiteY6" fmla="*/ 1154 h 3749245"/>
              <a:gd name="connsiteX7" fmla="*/ 4360157 w 4366182"/>
              <a:gd name="connsiteY7" fmla="*/ 834595 h 3749245"/>
              <a:gd name="connsiteX8" fmla="*/ 4360157 w 4366182"/>
              <a:gd name="connsiteY8" fmla="*/ 860721 h 3749245"/>
              <a:gd name="connsiteX9" fmla="*/ 4360157 w 4366182"/>
              <a:gd name="connsiteY9" fmla="*/ 908646 h 3749245"/>
              <a:gd name="connsiteX10" fmla="*/ 4360157 w 4366182"/>
              <a:gd name="connsiteY10" fmla="*/ 945970 h 3749245"/>
              <a:gd name="connsiteX11" fmla="*/ 4360157 w 4366182"/>
              <a:gd name="connsiteY11" fmla="*/ 974018 h 3749245"/>
              <a:gd name="connsiteX12" fmla="*/ 4360157 w 4366182"/>
              <a:gd name="connsiteY12" fmla="*/ 994115 h 3749245"/>
              <a:gd name="connsiteX13" fmla="*/ 4360157 w 4366182"/>
              <a:gd name="connsiteY13" fmla="*/ 1007587 h 3749245"/>
              <a:gd name="connsiteX14" fmla="*/ 4360157 w 4366182"/>
              <a:gd name="connsiteY14" fmla="*/ 1019955 h 3749245"/>
              <a:gd name="connsiteX15" fmla="*/ 4360157 w 4366182"/>
              <a:gd name="connsiteY15" fmla="*/ 1021722 h 3749245"/>
              <a:gd name="connsiteX16" fmla="*/ 4360157 w 4366182"/>
              <a:gd name="connsiteY16" fmla="*/ 3749245 h 3749245"/>
              <a:gd name="connsiteX17" fmla="*/ 4093457 w 4366182"/>
              <a:gd name="connsiteY17" fmla="*/ 3740135 h 3749245"/>
              <a:gd name="connsiteX18" fmla="*/ 3835226 w 4366182"/>
              <a:gd name="connsiteY18" fmla="*/ 3716930 h 3749245"/>
              <a:gd name="connsiteX19" fmla="*/ 3593923 w 4366182"/>
              <a:gd name="connsiteY19" fmla="*/ 3687088 h 3749245"/>
              <a:gd name="connsiteX20" fmla="*/ 3399191 w 4366182"/>
              <a:gd name="connsiteY20" fmla="*/ 3657249 h 3749245"/>
              <a:gd name="connsiteX21" fmla="*/ 3179057 w 4366182"/>
              <a:gd name="connsiteY21" fmla="*/ 3610834 h 3749245"/>
              <a:gd name="connsiteX22" fmla="*/ 2967391 w 4366182"/>
              <a:gd name="connsiteY22" fmla="*/ 3561104 h 3749245"/>
              <a:gd name="connsiteX23" fmla="*/ 2692224 w 4366182"/>
              <a:gd name="connsiteY23" fmla="*/ 3484848 h 3749245"/>
              <a:gd name="connsiteX24" fmla="*/ 2463623 w 4366182"/>
              <a:gd name="connsiteY24" fmla="*/ 3411907 h 3749245"/>
              <a:gd name="connsiteX25" fmla="*/ 2222323 w 4366182"/>
              <a:gd name="connsiteY25" fmla="*/ 3325707 h 3749245"/>
              <a:gd name="connsiteX26" fmla="*/ 1981023 w 4366182"/>
              <a:gd name="connsiteY26" fmla="*/ 3222927 h 3749245"/>
              <a:gd name="connsiteX27" fmla="*/ 1718557 w 4366182"/>
              <a:gd name="connsiteY27" fmla="*/ 3090310 h 3749245"/>
              <a:gd name="connsiteX28" fmla="*/ 1481491 w 4366182"/>
              <a:gd name="connsiteY28" fmla="*/ 2961007 h 3749245"/>
              <a:gd name="connsiteX29" fmla="*/ 1235958 w 4366182"/>
              <a:gd name="connsiteY29" fmla="*/ 2808498 h 3749245"/>
              <a:gd name="connsiteX30" fmla="*/ 969257 w 4366182"/>
              <a:gd name="connsiteY30" fmla="*/ 2636095 h 3749245"/>
              <a:gd name="connsiteX31" fmla="*/ 804957 w 4366182"/>
              <a:gd name="connsiteY31" fmla="*/ 2525850 h 3749245"/>
              <a:gd name="connsiteX32" fmla="*/ 669490 w 4366182"/>
              <a:gd name="connsiteY32" fmla="*/ 2421767 h 3749245"/>
              <a:gd name="connsiteX33" fmla="*/ 474757 w 4366182"/>
              <a:gd name="connsiteY33" fmla="*/ 2274737 h 3749245"/>
              <a:gd name="connsiteX34" fmla="*/ 335057 w 4366182"/>
              <a:gd name="connsiteY34" fmla="*/ 2152760 h 3749245"/>
              <a:gd name="connsiteX35" fmla="*/ 148790 w 4366182"/>
              <a:gd name="connsiteY35" fmla="*/ 2000652 h 3749245"/>
              <a:gd name="connsiteX36" fmla="*/ 0 w 4366182"/>
              <a:gd name="connsiteY36" fmla="*/ 1877237 h 3749245"/>
              <a:gd name="connsiteX37" fmla="*/ 178599 w 4366182"/>
              <a:gd name="connsiteY37" fmla="*/ 1709025 h 3749245"/>
              <a:gd name="connsiteX38" fmla="*/ 395300 w 4366182"/>
              <a:gd name="connsiteY38" fmla="*/ 1514480 h 3749245"/>
              <a:gd name="connsiteX39" fmla="*/ 667572 w 4366182"/>
              <a:gd name="connsiteY39" fmla="*/ 1318923 h 3749245"/>
              <a:gd name="connsiteX40" fmla="*/ 881158 w 4366182"/>
              <a:gd name="connsiteY40" fmla="*/ 1171958 h 3749245"/>
              <a:gd name="connsiteX41" fmla="*/ 1054723 w 4366182"/>
              <a:gd name="connsiteY41" fmla="*/ 1054410 h 3749245"/>
              <a:gd name="connsiteX42" fmla="*/ 1287558 w 4366182"/>
              <a:gd name="connsiteY42" fmla="*/ 900904 h 3749245"/>
              <a:gd name="connsiteX43" fmla="*/ 1554258 w 4366182"/>
              <a:gd name="connsiteY43" fmla="*/ 742570 h 3749245"/>
              <a:gd name="connsiteX44" fmla="*/ 1765924 w 4366182"/>
              <a:gd name="connsiteY44" fmla="*/ 637171 h 3749245"/>
              <a:gd name="connsiteX45" fmla="*/ 1969124 w 4366182"/>
              <a:gd name="connsiteY45" fmla="*/ 531916 h 3749245"/>
              <a:gd name="connsiteX46" fmla="*/ 2178937 w 4366182"/>
              <a:gd name="connsiteY46" fmla="*/ 439749 h 3749245"/>
              <a:gd name="connsiteX47" fmla="*/ 2396086 w 4366182"/>
              <a:gd name="connsiteY47" fmla="*/ 347172 h 3749245"/>
              <a:gd name="connsiteX48" fmla="*/ 2675290 w 4366182"/>
              <a:gd name="connsiteY48" fmla="*/ 262243 h 3749245"/>
              <a:gd name="connsiteX49" fmla="*/ 2872323 w 4366182"/>
              <a:gd name="connsiteY49" fmla="*/ 213569 h 3749245"/>
              <a:gd name="connsiteX50" fmla="*/ 3066208 w 4366182"/>
              <a:gd name="connsiteY50" fmla="*/ 163086 h 3749245"/>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10737 h 3750957"/>
              <a:gd name="connsiteX38" fmla="*/ 395300 w 4366182"/>
              <a:gd name="connsiteY38" fmla="*/ 151619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54258 w 4366182"/>
              <a:gd name="connsiteY43" fmla="*/ 744282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1073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54258 w 4366182"/>
              <a:gd name="connsiteY43" fmla="*/ 744282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1073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401846 w 4366182"/>
              <a:gd name="connsiteY38" fmla="*/ 1541826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67572 w 4366182"/>
              <a:gd name="connsiteY39" fmla="*/ 1320635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3888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33756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2350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23503 h 3750957"/>
              <a:gd name="connsiteX45" fmla="*/ 1982217 w 4366182"/>
              <a:gd name="connsiteY45" fmla="*/ 523375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23503 h 3750957"/>
              <a:gd name="connsiteX45" fmla="*/ 1988764 w 4366182"/>
              <a:gd name="connsiteY45" fmla="*/ 513121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1953 h 3748112"/>
              <a:gd name="connsiteX1" fmla="*/ 3272192 w 4366182"/>
              <a:gd name="connsiteY1" fmla="*/ 125180 h 3748112"/>
              <a:gd name="connsiteX2" fmla="*/ 3462692 w 4366182"/>
              <a:gd name="connsiteY2" fmla="*/ 95340 h 3748112"/>
              <a:gd name="connsiteX3" fmla="*/ 3687057 w 4366182"/>
              <a:gd name="connsiteY3" fmla="*/ 58869 h 3748112"/>
              <a:gd name="connsiteX4" fmla="*/ 394105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2192 w 4366182"/>
              <a:gd name="connsiteY1" fmla="*/ 125180 h 3748112"/>
              <a:gd name="connsiteX2" fmla="*/ 3462692 w 4366182"/>
              <a:gd name="connsiteY2" fmla="*/ 95340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2192 w 4366182"/>
              <a:gd name="connsiteY1" fmla="*/ 114926 h 3748112"/>
              <a:gd name="connsiteX2" fmla="*/ 3462692 w 4366182"/>
              <a:gd name="connsiteY2" fmla="*/ 95340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2192 w 4366182"/>
              <a:gd name="connsiteY1" fmla="*/ 114926 h 3748112"/>
              <a:gd name="connsiteX2" fmla="*/ 3462692 w 4366182"/>
              <a:gd name="connsiteY2" fmla="*/ 85086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8738 w 4366182"/>
              <a:gd name="connsiteY1" fmla="*/ 120054 h 3748112"/>
              <a:gd name="connsiteX2" fmla="*/ 3462692 w 4366182"/>
              <a:gd name="connsiteY2" fmla="*/ 85086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8738 w 4366182"/>
              <a:gd name="connsiteY1" fmla="*/ 120054 h 3748112"/>
              <a:gd name="connsiteX2" fmla="*/ 3462692 w 4366182"/>
              <a:gd name="connsiteY2" fmla="*/ 85086 h 3748112"/>
              <a:gd name="connsiteX3" fmla="*/ 3693603 w 4366182"/>
              <a:gd name="connsiteY3" fmla="*/ 48615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8738 w 4366182"/>
              <a:gd name="connsiteY1" fmla="*/ 120054 h 3748112"/>
              <a:gd name="connsiteX2" fmla="*/ 3462692 w 4366182"/>
              <a:gd name="connsiteY2" fmla="*/ 85086 h 3748112"/>
              <a:gd name="connsiteX3" fmla="*/ 3706696 w 4366182"/>
              <a:gd name="connsiteY3" fmla="*/ 48615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4366182" h="3748112">
                <a:moveTo>
                  <a:pt x="3066208" y="161953"/>
                </a:moveTo>
                <a:cubicBezTo>
                  <a:pt x="3134869" y="146277"/>
                  <a:pt x="3212657" y="132865"/>
                  <a:pt x="3278738" y="120054"/>
                </a:cubicBezTo>
                <a:cubicBezTo>
                  <a:pt x="3344819" y="107243"/>
                  <a:pt x="3399192" y="95033"/>
                  <a:pt x="3462692" y="85086"/>
                </a:cubicBezTo>
                <a:lnTo>
                  <a:pt x="3706696" y="48615"/>
                </a:lnTo>
                <a:lnTo>
                  <a:pt x="3960697" y="25715"/>
                </a:lnTo>
                <a:cubicBezTo>
                  <a:pt x="4049075" y="16766"/>
                  <a:pt x="4145445" y="13403"/>
                  <a:pt x="4212738" y="9121"/>
                </a:cubicBezTo>
                <a:cubicBezTo>
                  <a:pt x="4280031" y="4839"/>
                  <a:pt x="4311701" y="-364"/>
                  <a:pt x="4364456" y="21"/>
                </a:cubicBezTo>
                <a:cubicBezTo>
                  <a:pt x="4369656" y="144093"/>
                  <a:pt x="4361590" y="555648"/>
                  <a:pt x="4360157" y="833462"/>
                </a:cubicBezTo>
                <a:lnTo>
                  <a:pt x="4360157" y="859588"/>
                </a:lnTo>
                <a:lnTo>
                  <a:pt x="4360157" y="907513"/>
                </a:lnTo>
                <a:lnTo>
                  <a:pt x="4360157" y="944837"/>
                </a:lnTo>
                <a:lnTo>
                  <a:pt x="4360157" y="972885"/>
                </a:lnTo>
                <a:lnTo>
                  <a:pt x="4360157" y="992982"/>
                </a:lnTo>
                <a:lnTo>
                  <a:pt x="4360157" y="1006454"/>
                </a:lnTo>
                <a:lnTo>
                  <a:pt x="4360157" y="1018822"/>
                </a:lnTo>
                <a:lnTo>
                  <a:pt x="4360157" y="1020589"/>
                </a:lnTo>
                <a:lnTo>
                  <a:pt x="4360157" y="3748112"/>
                </a:lnTo>
                <a:lnTo>
                  <a:pt x="4093457" y="3739002"/>
                </a:lnTo>
                <a:lnTo>
                  <a:pt x="3835226" y="3715797"/>
                </a:lnTo>
                <a:lnTo>
                  <a:pt x="3593923" y="3685955"/>
                </a:lnTo>
                <a:lnTo>
                  <a:pt x="3399191" y="3656116"/>
                </a:lnTo>
                <a:lnTo>
                  <a:pt x="3179057" y="3609701"/>
                </a:lnTo>
                <a:lnTo>
                  <a:pt x="2967391" y="3559971"/>
                </a:lnTo>
                <a:lnTo>
                  <a:pt x="2692224" y="3483715"/>
                </a:lnTo>
                <a:lnTo>
                  <a:pt x="2463623" y="3410774"/>
                </a:lnTo>
                <a:lnTo>
                  <a:pt x="2222323" y="3324574"/>
                </a:lnTo>
                <a:lnTo>
                  <a:pt x="1981023" y="3221794"/>
                </a:lnTo>
                <a:lnTo>
                  <a:pt x="1718557" y="3089177"/>
                </a:lnTo>
                <a:lnTo>
                  <a:pt x="1481491" y="2959874"/>
                </a:lnTo>
                <a:lnTo>
                  <a:pt x="1235958" y="2807365"/>
                </a:lnTo>
                <a:lnTo>
                  <a:pt x="969257" y="2634962"/>
                </a:lnTo>
                <a:lnTo>
                  <a:pt x="804957" y="2524717"/>
                </a:lnTo>
                <a:lnTo>
                  <a:pt x="669490" y="2420634"/>
                </a:lnTo>
                <a:lnTo>
                  <a:pt x="474757" y="2273604"/>
                </a:lnTo>
                <a:lnTo>
                  <a:pt x="335057" y="2151627"/>
                </a:lnTo>
                <a:lnTo>
                  <a:pt x="148790" y="1999519"/>
                </a:lnTo>
                <a:lnTo>
                  <a:pt x="0" y="1876104"/>
                </a:lnTo>
                <a:lnTo>
                  <a:pt x="178599" y="1723272"/>
                </a:lnTo>
                <a:lnTo>
                  <a:pt x="395299" y="1538981"/>
                </a:lnTo>
                <a:lnTo>
                  <a:pt x="634838" y="1353678"/>
                </a:lnTo>
                <a:lnTo>
                  <a:pt x="887705" y="1170825"/>
                </a:lnTo>
                <a:lnTo>
                  <a:pt x="1054723" y="1053277"/>
                </a:lnTo>
                <a:lnTo>
                  <a:pt x="1287558" y="899771"/>
                </a:lnTo>
                <a:lnTo>
                  <a:pt x="1521525" y="756817"/>
                </a:lnTo>
                <a:lnTo>
                  <a:pt x="1765924" y="620658"/>
                </a:lnTo>
                <a:cubicBezTo>
                  <a:pt x="1833657" y="590700"/>
                  <a:pt x="1919929" y="542325"/>
                  <a:pt x="1988764" y="510276"/>
                </a:cubicBezTo>
                <a:cubicBezTo>
                  <a:pt x="2057600" y="478227"/>
                  <a:pt x="2108999" y="459085"/>
                  <a:pt x="2178937" y="428363"/>
                </a:cubicBezTo>
                <a:lnTo>
                  <a:pt x="2396086" y="346039"/>
                </a:lnTo>
                <a:lnTo>
                  <a:pt x="2675290" y="261110"/>
                </a:lnTo>
                <a:lnTo>
                  <a:pt x="2872323" y="207309"/>
                </a:lnTo>
                <a:lnTo>
                  <a:pt x="3066208" y="161953"/>
                </a:lnTo>
                <a:close/>
              </a:path>
            </a:pathLst>
          </a:custGeom>
          <a:noFill/>
        </p:spPr>
        <p:txBody>
          <a:bodyPr anchor="ctr" anchorCtr="0"/>
          <a:lstStyle>
            <a:lvl1pPr algn="ctr">
              <a:defRPr sz="1733"/>
            </a:lvl1pPr>
          </a:lstStyle>
          <a:p>
            <a:r>
              <a:rPr lang="nl-NL" noProof="0"/>
              <a:t>Klik op het pictogram als u een afbeelding wilt toevoegen</a:t>
            </a:r>
            <a:endParaRPr lang="en-GB" noProof="0"/>
          </a:p>
        </p:txBody>
      </p:sp>
      <p:pic>
        <p:nvPicPr>
          <p:cNvPr id="15" name="Image 14" descr="VE_RGB_C.jpg"/>
          <p:cNvPicPr>
            <a:picLocks noChangeAspect="1"/>
          </p:cNvPicPr>
          <p:nvPr userDrawn="1"/>
        </p:nvPicPr>
        <p:blipFill>
          <a:blip r:embed="rId2" cstate="print">
            <a:alphaModFix/>
            <a:extLst>
              <a:ext uri="{28A0092B-C50C-407E-A947-70E740481C1C}">
                <a14:useLocalDpi xmlns:a14="http://schemas.microsoft.com/office/drawing/2010/main"/>
              </a:ext>
            </a:extLst>
          </a:blip>
          <a:stretch>
            <a:fillRect/>
          </a:stretch>
        </p:blipFill>
        <p:spPr>
          <a:xfrm>
            <a:off x="9855203" y="5992155"/>
            <a:ext cx="2064077" cy="798109"/>
          </a:xfrm>
          <a:prstGeom prst="rect">
            <a:avLst/>
          </a:prstGeom>
        </p:spPr>
      </p:pic>
      <p:pic>
        <p:nvPicPr>
          <p:cNvPr id="9" name="Image 8"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Tree>
    <p:extLst>
      <p:ext uri="{BB962C8B-B14F-4D97-AF65-F5344CB8AC3E}">
        <p14:creationId xmlns:p14="http://schemas.microsoft.com/office/powerpoint/2010/main" val="2997498199"/>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28 pt head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US" dirty="0"/>
          </a:p>
        </p:txBody>
      </p:sp>
    </p:spTree>
    <p:extLst>
      <p:ext uri="{BB962C8B-B14F-4D97-AF65-F5344CB8AC3E}">
        <p14:creationId xmlns:p14="http://schemas.microsoft.com/office/powerpoint/2010/main" val="390480137"/>
      </p:ext>
    </p:extLst>
  </p:cSld>
  <p:clrMapOvr>
    <a:masterClrMapping/>
  </p:clrMapOvr>
  <p:transition>
    <p:fade/>
  </p:transition>
  <p:hf sldNum="0" hdr="0" dt="0"/>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3_28 pt headlin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a:lstStyle>
            <a:lvl1pPr>
              <a:defRPr sz="2800"/>
            </a:lvl1pPr>
          </a:lstStyle>
          <a:p>
            <a:r>
              <a:rPr lang="en-US"/>
              <a:t>Click to edit Master title style</a:t>
            </a:r>
            <a:endParaRPr lang="en-US" dirty="0"/>
          </a:p>
        </p:txBody>
      </p:sp>
      <p:sp>
        <p:nvSpPr>
          <p:cNvPr id="6" name="Text Placeholder 5"/>
          <p:cNvSpPr>
            <a:spLocks noGrp="1"/>
          </p:cNvSpPr>
          <p:nvPr>
            <p:ph type="body" sz="quarter" idx="10"/>
          </p:nvPr>
        </p:nvSpPr>
        <p:spPr>
          <a:xfrm>
            <a:off x="5761038" y="1905001"/>
            <a:ext cx="6164042" cy="1323196"/>
          </a:xfrm>
        </p:spPr>
        <p:txBody>
          <a:bodyPr/>
          <a:lstStyle>
            <a:lvl1pPr marL="0" indent="0">
              <a:spcBef>
                <a:spcPts val="1200"/>
              </a:spcBef>
              <a:buNone/>
              <a:defRPr sz="1600">
                <a:solidFill>
                  <a:schemeClr val="tx1"/>
                </a:solidFill>
                <a:latin typeface="Segoe Semibold" panose="020B0702040504020203" pitchFamily="34" charset="0"/>
              </a:defRPr>
            </a:lvl1pPr>
            <a:lvl2pPr marL="0" indent="0">
              <a:spcBef>
                <a:spcPts val="600"/>
              </a:spcBef>
              <a:buNone/>
              <a:defRPr sz="1400">
                <a:solidFill>
                  <a:schemeClr val="tx1"/>
                </a:solidFill>
              </a:defRPr>
            </a:lvl2pPr>
            <a:lvl3pPr marL="344422" indent="-223795">
              <a:defRPr sz="1200">
                <a:solidFill>
                  <a:schemeClr val="tx1"/>
                </a:solidFill>
              </a:defRPr>
            </a:lvl3pPr>
            <a:lvl4pPr marL="509490" indent="-165068">
              <a:defRPr sz="1100">
                <a:solidFill>
                  <a:schemeClr val="tx1"/>
                </a:solidFill>
              </a:defRPr>
            </a:lvl4pPr>
            <a:lvl5pPr marL="974538" indent="-223795">
              <a:defRPr sz="11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1"/>
          </p:nvPr>
        </p:nvSpPr>
        <p:spPr>
          <a:xfrm>
            <a:off x="269241" y="1475440"/>
            <a:ext cx="5033554" cy="500715"/>
          </a:xfrm>
        </p:spPr>
        <p:txBody>
          <a:bodyPr vert="horz" wrap="square" lIns="146304" tIns="0" rIns="0" bIns="0" rtlCol="0" anchor="t" anchorCtr="0">
            <a:spAutoFit/>
          </a:bodyPr>
          <a:lstStyle>
            <a:lvl1pPr marL="0" indent="0">
              <a:spcBef>
                <a:spcPts val="0"/>
              </a:spcBef>
              <a:buNone/>
              <a:defRPr lang="en-US" sz="1600"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vl2pPr marL="0" indent="0">
              <a:buNone/>
              <a:defRPr sz="1400">
                <a:solidFill>
                  <a:schemeClr val="accent1"/>
                </a:solidFill>
                <a:latin typeface="+mn-lt"/>
              </a:defRPr>
            </a:lvl2pPr>
          </a:lstStyle>
          <a:p>
            <a:pPr lvl="0" fontAlgn="base">
              <a:spcBef>
                <a:spcPts val="600"/>
              </a:spcBef>
              <a:spcAft>
                <a:spcPct val="0"/>
              </a:spcAft>
            </a:pPr>
            <a:r>
              <a:rPr lang="en-US" dirty="0"/>
              <a:t>Click to edit Master text styles</a:t>
            </a:r>
          </a:p>
          <a:p>
            <a:pPr lvl="1" fontAlgn="base">
              <a:spcBef>
                <a:spcPts val="600"/>
              </a:spcBef>
              <a:spcAft>
                <a:spcPct val="0"/>
              </a:spcAft>
            </a:pPr>
            <a:r>
              <a:rPr lang="en-US" dirty="0"/>
              <a:t>VNVN</a:t>
            </a:r>
          </a:p>
        </p:txBody>
      </p:sp>
      <p:sp>
        <p:nvSpPr>
          <p:cNvPr id="12" name="Text Placeholder 8"/>
          <p:cNvSpPr>
            <a:spLocks noGrp="1"/>
          </p:cNvSpPr>
          <p:nvPr>
            <p:ph type="body" sz="quarter" idx="12"/>
          </p:nvPr>
        </p:nvSpPr>
        <p:spPr>
          <a:xfrm>
            <a:off x="5761037" y="1475439"/>
            <a:ext cx="6218237" cy="221599"/>
          </a:xfrm>
        </p:spPr>
        <p:txBody>
          <a:bodyPr vert="horz" wrap="square" lIns="146304" tIns="0" rIns="0" bIns="0" rtlCol="0" anchor="t" anchorCtr="0">
            <a:spAutoFit/>
          </a:bodyPr>
          <a:lstStyle>
            <a:lvl1pPr marL="0" indent="0">
              <a:spcBef>
                <a:spcPts val="0"/>
              </a:spcBef>
              <a:buNone/>
              <a:defRPr lang="en-US" sz="1600"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stStyle>
          <a:p>
            <a:pPr lvl="0" fontAlgn="base">
              <a:spcBef>
                <a:spcPts val="600"/>
              </a:spcBef>
              <a:spcAft>
                <a:spcPct val="0"/>
              </a:spcAft>
            </a:pPr>
            <a:r>
              <a:rPr lang="en-US" dirty="0"/>
              <a:t>Click to edit Master text styles</a:t>
            </a:r>
          </a:p>
        </p:txBody>
      </p:sp>
    </p:spTree>
    <p:extLst>
      <p:ext uri="{BB962C8B-B14F-4D97-AF65-F5344CB8AC3E}">
        <p14:creationId xmlns:p14="http://schemas.microsoft.com/office/powerpoint/2010/main" val="2704894538"/>
      </p:ext>
    </p:extLst>
  </p:cSld>
  <p:clrMapOvr>
    <a:masterClrMapping/>
  </p:clrMapOvr>
  <p:transition>
    <p:fade/>
  </p:transition>
  <p:hf sldNum="0" hdr="0" dt="0"/>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userDrawn="1">
  <p:cSld name="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pic>
        <p:nvPicPr>
          <p:cNvPr id="21" name="Image 2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2"/>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37532640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Cov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6" name="Rectangle 35"/>
          <p:cNvSpPr/>
          <p:nvPr userDrawn="1"/>
        </p:nvSpPr>
        <p:spPr>
          <a:xfrm>
            <a:off x="-2676" y="-3047"/>
            <a:ext cx="12192000" cy="6858000"/>
          </a:xfrm>
          <a:prstGeom prst="rect">
            <a:avLst/>
          </a:prstGeom>
          <a:gradFill>
            <a:gsLst>
              <a:gs pos="0">
                <a:srgbClr val="032145">
                  <a:lumMod val="75000"/>
                  <a:lumOff val="25000"/>
                  <a:alpha val="40000"/>
                </a:srgbClr>
              </a:gs>
              <a:gs pos="100000">
                <a:srgbClr val="032145">
                  <a:alpha val="86000"/>
                </a:srgbClr>
              </a:gs>
            </a:gsLst>
            <a:path path="circle">
              <a:fillToRect l="50000" t="50000" r="50000" b="50000"/>
            </a:path>
          </a:gradFill>
          <a:ln w="25400" cap="flat"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white"/>
              </a:solidFill>
              <a:effectLst/>
              <a:uLnTx/>
              <a:uFillTx/>
              <a:latin typeface="Segoe UI"/>
              <a:ea typeface="+mn-ea"/>
              <a:cs typeface="+mn-cs"/>
            </a:endParaRPr>
          </a:p>
        </p:txBody>
      </p:sp>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solidFill>
                <a:prstClr val="white"/>
              </a:solidFill>
            </a:endParaRPr>
          </a:p>
        </p:txBody>
      </p:sp>
      <p:grpSp>
        <p:nvGrpSpPr>
          <p:cNvPr id="9" name="Group 5"/>
          <p:cNvGrpSpPr>
            <a:grpSpLocks noChangeAspect="1"/>
          </p:cNvGrpSpPr>
          <p:nvPr userDrawn="1"/>
        </p:nvGrpSpPr>
        <p:grpSpPr bwMode="auto">
          <a:xfrm>
            <a:off x="10592180" y="6362050"/>
            <a:ext cx="1291715" cy="333661"/>
            <a:chOff x="4870" y="227"/>
            <a:chExt cx="662" cy="171"/>
          </a:xfrm>
        </p:grpSpPr>
        <p:sp>
          <p:nvSpPr>
            <p:cNvPr id="10" name="Freeform 6"/>
            <p:cNvSpPr>
              <a:spLocks noEditPoints="1"/>
            </p:cNvSpPr>
            <p:nvPr userDrawn="1"/>
          </p:nvSpPr>
          <p:spPr bwMode="auto">
            <a:xfrm>
              <a:off x="5359" y="227"/>
              <a:ext cx="173" cy="171"/>
            </a:xfrm>
            <a:custGeom>
              <a:avLst/>
              <a:gdLst>
                <a:gd name="T0" fmla="*/ 164 w 280"/>
                <a:gd name="T1" fmla="*/ 0 h 276"/>
                <a:gd name="T2" fmla="*/ 110 w 280"/>
                <a:gd name="T3" fmla="*/ 0 h 276"/>
                <a:gd name="T4" fmla="*/ 97 w 280"/>
                <a:gd name="T5" fmla="*/ 14 h 276"/>
                <a:gd name="T6" fmla="*/ 97 w 280"/>
                <a:gd name="T7" fmla="*/ 55 h 276"/>
                <a:gd name="T8" fmla="*/ 83 w 280"/>
                <a:gd name="T9" fmla="*/ 83 h 276"/>
                <a:gd name="T10" fmla="*/ 50 w 280"/>
                <a:gd name="T11" fmla="*/ 97 h 276"/>
                <a:gd name="T12" fmla="*/ 0 w 280"/>
                <a:gd name="T13" fmla="*/ 97 h 276"/>
                <a:gd name="T14" fmla="*/ 0 w 280"/>
                <a:gd name="T15" fmla="*/ 178 h 276"/>
                <a:gd name="T16" fmla="*/ 81 w 280"/>
                <a:gd name="T17" fmla="*/ 178 h 276"/>
                <a:gd name="T18" fmla="*/ 81 w 280"/>
                <a:gd name="T19" fmla="*/ 129 h 276"/>
                <a:gd name="T20" fmla="*/ 95 w 280"/>
                <a:gd name="T21" fmla="*/ 95 h 276"/>
                <a:gd name="T22" fmla="*/ 123 w 280"/>
                <a:gd name="T23" fmla="*/ 81 h 276"/>
                <a:gd name="T24" fmla="*/ 164 w 280"/>
                <a:gd name="T25" fmla="*/ 81 h 276"/>
                <a:gd name="T26" fmla="*/ 178 w 280"/>
                <a:gd name="T27" fmla="*/ 68 h 276"/>
                <a:gd name="T28" fmla="*/ 178 w 280"/>
                <a:gd name="T29" fmla="*/ 14 h 276"/>
                <a:gd name="T30" fmla="*/ 164 w 280"/>
                <a:gd name="T31" fmla="*/ 0 h 276"/>
                <a:gd name="T32" fmla="*/ 233 w 280"/>
                <a:gd name="T33" fmla="*/ 93 h 276"/>
                <a:gd name="T34" fmla="*/ 185 w 280"/>
                <a:gd name="T35" fmla="*/ 141 h 276"/>
                <a:gd name="T36" fmla="*/ 187 w 280"/>
                <a:gd name="T37" fmla="*/ 158 h 276"/>
                <a:gd name="T38" fmla="*/ 150 w 280"/>
                <a:gd name="T39" fmla="*/ 195 h 276"/>
                <a:gd name="T40" fmla="*/ 111 w 280"/>
                <a:gd name="T41" fmla="*/ 195 h 276"/>
                <a:gd name="T42" fmla="*/ 97 w 280"/>
                <a:gd name="T43" fmla="*/ 209 h 276"/>
                <a:gd name="T44" fmla="*/ 97 w 280"/>
                <a:gd name="T45" fmla="*/ 262 h 276"/>
                <a:gd name="T46" fmla="*/ 110 w 280"/>
                <a:gd name="T47" fmla="*/ 276 h 276"/>
                <a:gd name="T48" fmla="*/ 164 w 280"/>
                <a:gd name="T49" fmla="*/ 276 h 276"/>
                <a:gd name="T50" fmla="*/ 178 w 280"/>
                <a:gd name="T51" fmla="*/ 262 h 276"/>
                <a:gd name="T52" fmla="*/ 178 w 280"/>
                <a:gd name="T53" fmla="*/ 223 h 276"/>
                <a:gd name="T54" fmla="*/ 215 w 280"/>
                <a:gd name="T55" fmla="*/ 186 h 276"/>
                <a:gd name="T56" fmla="*/ 232 w 280"/>
                <a:gd name="T57" fmla="*/ 188 h 276"/>
                <a:gd name="T58" fmla="*/ 280 w 280"/>
                <a:gd name="T59" fmla="*/ 140 h 276"/>
                <a:gd name="T60" fmla="*/ 266 w 280"/>
                <a:gd name="T61" fmla="*/ 107 h 276"/>
                <a:gd name="T62" fmla="*/ 233 w 280"/>
                <a:gd name="T63" fmla="*/ 9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0" h="276">
                  <a:moveTo>
                    <a:pt x="164" y="0"/>
                  </a:moveTo>
                  <a:cubicBezTo>
                    <a:pt x="110" y="0"/>
                    <a:pt x="110" y="0"/>
                    <a:pt x="110" y="0"/>
                  </a:cubicBezTo>
                  <a:cubicBezTo>
                    <a:pt x="103" y="1"/>
                    <a:pt x="97" y="7"/>
                    <a:pt x="97" y="14"/>
                  </a:cubicBezTo>
                  <a:cubicBezTo>
                    <a:pt x="97" y="55"/>
                    <a:pt x="97" y="55"/>
                    <a:pt x="97" y="55"/>
                  </a:cubicBezTo>
                  <a:cubicBezTo>
                    <a:pt x="97" y="68"/>
                    <a:pt x="87" y="79"/>
                    <a:pt x="83" y="83"/>
                  </a:cubicBezTo>
                  <a:cubicBezTo>
                    <a:pt x="79" y="87"/>
                    <a:pt x="68" y="97"/>
                    <a:pt x="50" y="97"/>
                  </a:cubicBezTo>
                  <a:cubicBezTo>
                    <a:pt x="0" y="97"/>
                    <a:pt x="0" y="97"/>
                    <a:pt x="0" y="97"/>
                  </a:cubicBezTo>
                  <a:cubicBezTo>
                    <a:pt x="0" y="178"/>
                    <a:pt x="0" y="178"/>
                    <a:pt x="0" y="178"/>
                  </a:cubicBezTo>
                  <a:cubicBezTo>
                    <a:pt x="81" y="178"/>
                    <a:pt x="81" y="178"/>
                    <a:pt x="81" y="178"/>
                  </a:cubicBezTo>
                  <a:cubicBezTo>
                    <a:pt x="81" y="129"/>
                    <a:pt x="81" y="129"/>
                    <a:pt x="81" y="129"/>
                  </a:cubicBezTo>
                  <a:cubicBezTo>
                    <a:pt x="81" y="111"/>
                    <a:pt x="91" y="99"/>
                    <a:pt x="95" y="95"/>
                  </a:cubicBezTo>
                  <a:cubicBezTo>
                    <a:pt x="99" y="91"/>
                    <a:pt x="110" y="81"/>
                    <a:pt x="123" y="81"/>
                  </a:cubicBezTo>
                  <a:cubicBezTo>
                    <a:pt x="164" y="81"/>
                    <a:pt x="164" y="81"/>
                    <a:pt x="164" y="81"/>
                  </a:cubicBezTo>
                  <a:cubicBezTo>
                    <a:pt x="172" y="81"/>
                    <a:pt x="178" y="75"/>
                    <a:pt x="178" y="68"/>
                  </a:cubicBezTo>
                  <a:cubicBezTo>
                    <a:pt x="178" y="14"/>
                    <a:pt x="178" y="14"/>
                    <a:pt x="178" y="14"/>
                  </a:cubicBezTo>
                  <a:cubicBezTo>
                    <a:pt x="178" y="7"/>
                    <a:pt x="172" y="1"/>
                    <a:pt x="164" y="0"/>
                  </a:cubicBezTo>
                  <a:moveTo>
                    <a:pt x="233" y="93"/>
                  </a:moveTo>
                  <a:cubicBezTo>
                    <a:pt x="206" y="93"/>
                    <a:pt x="185" y="115"/>
                    <a:pt x="185" y="141"/>
                  </a:cubicBezTo>
                  <a:cubicBezTo>
                    <a:pt x="185" y="145"/>
                    <a:pt x="187" y="154"/>
                    <a:pt x="187" y="158"/>
                  </a:cubicBezTo>
                  <a:cubicBezTo>
                    <a:pt x="187" y="179"/>
                    <a:pt x="171" y="195"/>
                    <a:pt x="150" y="195"/>
                  </a:cubicBezTo>
                  <a:cubicBezTo>
                    <a:pt x="111" y="195"/>
                    <a:pt x="111" y="195"/>
                    <a:pt x="111" y="195"/>
                  </a:cubicBezTo>
                  <a:cubicBezTo>
                    <a:pt x="103" y="195"/>
                    <a:pt x="97" y="201"/>
                    <a:pt x="97" y="209"/>
                  </a:cubicBezTo>
                  <a:cubicBezTo>
                    <a:pt x="97" y="262"/>
                    <a:pt x="97" y="262"/>
                    <a:pt x="97" y="262"/>
                  </a:cubicBezTo>
                  <a:cubicBezTo>
                    <a:pt x="97" y="270"/>
                    <a:pt x="103" y="276"/>
                    <a:pt x="110" y="276"/>
                  </a:cubicBezTo>
                  <a:cubicBezTo>
                    <a:pt x="164" y="276"/>
                    <a:pt x="164" y="276"/>
                    <a:pt x="164" y="276"/>
                  </a:cubicBezTo>
                  <a:cubicBezTo>
                    <a:pt x="172" y="276"/>
                    <a:pt x="178" y="270"/>
                    <a:pt x="178" y="262"/>
                  </a:cubicBezTo>
                  <a:cubicBezTo>
                    <a:pt x="178" y="223"/>
                    <a:pt x="178" y="223"/>
                    <a:pt x="178" y="223"/>
                  </a:cubicBezTo>
                  <a:cubicBezTo>
                    <a:pt x="178" y="202"/>
                    <a:pt x="194" y="186"/>
                    <a:pt x="215" y="186"/>
                  </a:cubicBezTo>
                  <a:cubicBezTo>
                    <a:pt x="218" y="186"/>
                    <a:pt x="227" y="188"/>
                    <a:pt x="232" y="188"/>
                  </a:cubicBezTo>
                  <a:cubicBezTo>
                    <a:pt x="258" y="188"/>
                    <a:pt x="280" y="166"/>
                    <a:pt x="280" y="140"/>
                  </a:cubicBezTo>
                  <a:cubicBezTo>
                    <a:pt x="280" y="127"/>
                    <a:pt x="275" y="115"/>
                    <a:pt x="266" y="107"/>
                  </a:cubicBezTo>
                  <a:cubicBezTo>
                    <a:pt x="258" y="98"/>
                    <a:pt x="246" y="93"/>
                    <a:pt x="233" y="93"/>
                  </a:cubicBezTo>
                </a:path>
              </a:pathLst>
            </a:custGeom>
            <a:solidFill>
              <a:srgbClr val="E200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1" name="Freeform 7"/>
            <p:cNvSpPr>
              <a:spLocks noEditPoints="1"/>
            </p:cNvSpPr>
            <p:nvPr userDrawn="1"/>
          </p:nvSpPr>
          <p:spPr bwMode="auto">
            <a:xfrm>
              <a:off x="4870" y="286"/>
              <a:ext cx="439" cy="64"/>
            </a:xfrm>
            <a:custGeom>
              <a:avLst/>
              <a:gdLst>
                <a:gd name="T0" fmla="*/ 150 w 708"/>
                <a:gd name="T1" fmla="*/ 0 h 103"/>
                <a:gd name="T2" fmla="*/ 88 w 708"/>
                <a:gd name="T3" fmla="*/ 59 h 103"/>
                <a:gd name="T4" fmla="*/ 26 w 708"/>
                <a:gd name="T5" fmla="*/ 0 h 103"/>
                <a:gd name="T6" fmla="*/ 0 w 708"/>
                <a:gd name="T7" fmla="*/ 24 h 103"/>
                <a:gd name="T8" fmla="*/ 88 w 708"/>
                <a:gd name="T9" fmla="*/ 103 h 103"/>
                <a:gd name="T10" fmla="*/ 176 w 708"/>
                <a:gd name="T11" fmla="*/ 24 h 103"/>
                <a:gd name="T12" fmla="*/ 150 w 708"/>
                <a:gd name="T13" fmla="*/ 0 h 103"/>
                <a:gd name="T14" fmla="*/ 554 w 708"/>
                <a:gd name="T15" fmla="*/ 0 h 103"/>
                <a:gd name="T16" fmla="*/ 473 w 708"/>
                <a:gd name="T17" fmla="*/ 8 h 103"/>
                <a:gd name="T18" fmla="*/ 473 w 708"/>
                <a:gd name="T19" fmla="*/ 94 h 103"/>
                <a:gd name="T20" fmla="*/ 554 w 708"/>
                <a:gd name="T21" fmla="*/ 102 h 103"/>
                <a:gd name="T22" fmla="*/ 635 w 708"/>
                <a:gd name="T23" fmla="*/ 94 h 103"/>
                <a:gd name="T24" fmla="*/ 635 w 708"/>
                <a:gd name="T25" fmla="*/ 65 h 103"/>
                <a:gd name="T26" fmla="*/ 554 w 708"/>
                <a:gd name="T27" fmla="*/ 72 h 103"/>
                <a:gd name="T28" fmla="*/ 508 w 708"/>
                <a:gd name="T29" fmla="*/ 68 h 103"/>
                <a:gd name="T30" fmla="*/ 508 w 708"/>
                <a:gd name="T31" fmla="*/ 34 h 103"/>
                <a:gd name="T32" fmla="*/ 554 w 708"/>
                <a:gd name="T33" fmla="*/ 30 h 103"/>
                <a:gd name="T34" fmla="*/ 635 w 708"/>
                <a:gd name="T35" fmla="*/ 37 h 103"/>
                <a:gd name="T36" fmla="*/ 635 w 708"/>
                <a:gd name="T37" fmla="*/ 8 h 103"/>
                <a:gd name="T38" fmla="*/ 554 w 708"/>
                <a:gd name="T39" fmla="*/ 0 h 103"/>
                <a:gd name="T40" fmla="*/ 434 w 708"/>
                <a:gd name="T41" fmla="*/ 2 h 103"/>
                <a:gd name="T42" fmla="*/ 400 w 708"/>
                <a:gd name="T43" fmla="*/ 2 h 103"/>
                <a:gd name="T44" fmla="*/ 400 w 708"/>
                <a:gd name="T45" fmla="*/ 63 h 103"/>
                <a:gd name="T46" fmla="*/ 336 w 708"/>
                <a:gd name="T47" fmla="*/ 24 h 103"/>
                <a:gd name="T48" fmla="*/ 274 w 708"/>
                <a:gd name="T49" fmla="*/ 2 h 103"/>
                <a:gd name="T50" fmla="*/ 274 w 708"/>
                <a:gd name="T51" fmla="*/ 100 h 103"/>
                <a:gd name="T52" fmla="*/ 309 w 708"/>
                <a:gd name="T53" fmla="*/ 100 h 103"/>
                <a:gd name="T54" fmla="*/ 309 w 708"/>
                <a:gd name="T55" fmla="*/ 48 h 103"/>
                <a:gd name="T56" fmla="*/ 336 w 708"/>
                <a:gd name="T57" fmla="*/ 60 h 103"/>
                <a:gd name="T58" fmla="*/ 400 w 708"/>
                <a:gd name="T59" fmla="*/ 100 h 103"/>
                <a:gd name="T60" fmla="*/ 434 w 708"/>
                <a:gd name="T61" fmla="*/ 100 h 103"/>
                <a:gd name="T62" fmla="*/ 434 w 708"/>
                <a:gd name="T63" fmla="*/ 2 h 103"/>
                <a:gd name="T64" fmla="*/ 708 w 708"/>
                <a:gd name="T65" fmla="*/ 2 h 103"/>
                <a:gd name="T66" fmla="*/ 673 w 708"/>
                <a:gd name="T67" fmla="*/ 2 h 103"/>
                <a:gd name="T68" fmla="*/ 673 w 708"/>
                <a:gd name="T69" fmla="*/ 100 h 103"/>
                <a:gd name="T70" fmla="*/ 708 w 708"/>
                <a:gd name="T71" fmla="*/ 100 h 103"/>
                <a:gd name="T72" fmla="*/ 708 w 708"/>
                <a:gd name="T73" fmla="*/ 2 h 103"/>
                <a:gd name="T74" fmla="*/ 235 w 708"/>
                <a:gd name="T75" fmla="*/ 2 h 103"/>
                <a:gd name="T76" fmla="*/ 199 w 708"/>
                <a:gd name="T77" fmla="*/ 2 h 103"/>
                <a:gd name="T78" fmla="*/ 199 w 708"/>
                <a:gd name="T79" fmla="*/ 100 h 103"/>
                <a:gd name="T80" fmla="*/ 235 w 708"/>
                <a:gd name="T81" fmla="*/ 100 h 103"/>
                <a:gd name="T82" fmla="*/ 235 w 708"/>
                <a:gd name="T83" fmla="*/ 2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08" h="103">
                  <a:moveTo>
                    <a:pt x="150" y="0"/>
                  </a:moveTo>
                  <a:cubicBezTo>
                    <a:pt x="150" y="0"/>
                    <a:pt x="96" y="52"/>
                    <a:pt x="88" y="59"/>
                  </a:cubicBezTo>
                  <a:cubicBezTo>
                    <a:pt x="80" y="52"/>
                    <a:pt x="26" y="0"/>
                    <a:pt x="26" y="0"/>
                  </a:cubicBezTo>
                  <a:cubicBezTo>
                    <a:pt x="0" y="24"/>
                    <a:pt x="0" y="24"/>
                    <a:pt x="0" y="24"/>
                  </a:cubicBezTo>
                  <a:cubicBezTo>
                    <a:pt x="88" y="103"/>
                    <a:pt x="88" y="103"/>
                    <a:pt x="88" y="103"/>
                  </a:cubicBezTo>
                  <a:cubicBezTo>
                    <a:pt x="176" y="24"/>
                    <a:pt x="176" y="24"/>
                    <a:pt x="176" y="24"/>
                  </a:cubicBezTo>
                  <a:lnTo>
                    <a:pt x="150" y="0"/>
                  </a:lnTo>
                  <a:close/>
                  <a:moveTo>
                    <a:pt x="554" y="0"/>
                  </a:moveTo>
                  <a:cubicBezTo>
                    <a:pt x="504" y="0"/>
                    <a:pt x="473" y="8"/>
                    <a:pt x="473" y="8"/>
                  </a:cubicBezTo>
                  <a:cubicBezTo>
                    <a:pt x="473" y="94"/>
                    <a:pt x="473" y="94"/>
                    <a:pt x="473" y="94"/>
                  </a:cubicBezTo>
                  <a:cubicBezTo>
                    <a:pt x="473" y="94"/>
                    <a:pt x="505" y="102"/>
                    <a:pt x="554" y="102"/>
                  </a:cubicBezTo>
                  <a:cubicBezTo>
                    <a:pt x="603" y="102"/>
                    <a:pt x="635" y="94"/>
                    <a:pt x="635" y="94"/>
                  </a:cubicBezTo>
                  <a:cubicBezTo>
                    <a:pt x="635" y="65"/>
                    <a:pt x="635" y="65"/>
                    <a:pt x="635" y="65"/>
                  </a:cubicBezTo>
                  <a:cubicBezTo>
                    <a:pt x="635" y="65"/>
                    <a:pt x="600" y="72"/>
                    <a:pt x="554" y="72"/>
                  </a:cubicBezTo>
                  <a:cubicBezTo>
                    <a:pt x="531" y="72"/>
                    <a:pt x="516" y="69"/>
                    <a:pt x="508" y="68"/>
                  </a:cubicBezTo>
                  <a:cubicBezTo>
                    <a:pt x="508" y="61"/>
                    <a:pt x="508" y="41"/>
                    <a:pt x="508" y="34"/>
                  </a:cubicBezTo>
                  <a:cubicBezTo>
                    <a:pt x="517" y="33"/>
                    <a:pt x="532" y="30"/>
                    <a:pt x="554" y="30"/>
                  </a:cubicBezTo>
                  <a:cubicBezTo>
                    <a:pt x="600" y="30"/>
                    <a:pt x="635" y="37"/>
                    <a:pt x="635" y="37"/>
                  </a:cubicBezTo>
                  <a:cubicBezTo>
                    <a:pt x="635" y="8"/>
                    <a:pt x="635" y="8"/>
                    <a:pt x="635" y="8"/>
                  </a:cubicBezTo>
                  <a:cubicBezTo>
                    <a:pt x="635" y="8"/>
                    <a:pt x="603" y="0"/>
                    <a:pt x="554" y="0"/>
                  </a:cubicBezTo>
                  <a:moveTo>
                    <a:pt x="434" y="2"/>
                  </a:moveTo>
                  <a:cubicBezTo>
                    <a:pt x="400" y="2"/>
                    <a:pt x="400" y="2"/>
                    <a:pt x="400" y="2"/>
                  </a:cubicBezTo>
                  <a:cubicBezTo>
                    <a:pt x="400" y="63"/>
                    <a:pt x="400" y="63"/>
                    <a:pt x="400" y="63"/>
                  </a:cubicBezTo>
                  <a:cubicBezTo>
                    <a:pt x="400" y="63"/>
                    <a:pt x="374" y="44"/>
                    <a:pt x="336" y="24"/>
                  </a:cubicBezTo>
                  <a:cubicBezTo>
                    <a:pt x="303" y="7"/>
                    <a:pt x="274" y="2"/>
                    <a:pt x="274" y="2"/>
                  </a:cubicBezTo>
                  <a:cubicBezTo>
                    <a:pt x="274" y="100"/>
                    <a:pt x="274" y="100"/>
                    <a:pt x="274" y="100"/>
                  </a:cubicBezTo>
                  <a:cubicBezTo>
                    <a:pt x="309" y="100"/>
                    <a:pt x="309" y="100"/>
                    <a:pt x="309" y="100"/>
                  </a:cubicBezTo>
                  <a:cubicBezTo>
                    <a:pt x="309" y="48"/>
                    <a:pt x="309" y="48"/>
                    <a:pt x="309" y="48"/>
                  </a:cubicBezTo>
                  <a:cubicBezTo>
                    <a:pt x="317" y="51"/>
                    <a:pt x="326" y="54"/>
                    <a:pt x="336" y="60"/>
                  </a:cubicBezTo>
                  <a:cubicBezTo>
                    <a:pt x="374" y="79"/>
                    <a:pt x="400" y="100"/>
                    <a:pt x="400" y="100"/>
                  </a:cubicBezTo>
                  <a:cubicBezTo>
                    <a:pt x="434" y="100"/>
                    <a:pt x="434" y="100"/>
                    <a:pt x="434" y="100"/>
                  </a:cubicBezTo>
                  <a:lnTo>
                    <a:pt x="434" y="2"/>
                  </a:lnTo>
                  <a:close/>
                  <a:moveTo>
                    <a:pt x="708" y="2"/>
                  </a:moveTo>
                  <a:cubicBezTo>
                    <a:pt x="673" y="2"/>
                    <a:pt x="673" y="2"/>
                    <a:pt x="673" y="2"/>
                  </a:cubicBezTo>
                  <a:cubicBezTo>
                    <a:pt x="673" y="100"/>
                    <a:pt x="673" y="100"/>
                    <a:pt x="673" y="100"/>
                  </a:cubicBezTo>
                  <a:cubicBezTo>
                    <a:pt x="708" y="100"/>
                    <a:pt x="708" y="100"/>
                    <a:pt x="708" y="100"/>
                  </a:cubicBezTo>
                  <a:lnTo>
                    <a:pt x="708" y="2"/>
                  </a:lnTo>
                  <a:close/>
                  <a:moveTo>
                    <a:pt x="235" y="2"/>
                  </a:moveTo>
                  <a:cubicBezTo>
                    <a:pt x="199" y="2"/>
                    <a:pt x="199" y="2"/>
                    <a:pt x="199" y="2"/>
                  </a:cubicBezTo>
                  <a:cubicBezTo>
                    <a:pt x="199" y="100"/>
                    <a:pt x="199" y="100"/>
                    <a:pt x="199" y="100"/>
                  </a:cubicBezTo>
                  <a:cubicBezTo>
                    <a:pt x="235" y="100"/>
                    <a:pt x="235" y="100"/>
                    <a:pt x="235" y="100"/>
                  </a:cubicBezTo>
                  <a:lnTo>
                    <a:pt x="235" y="2"/>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2" name="Freeform 8"/>
            <p:cNvSpPr>
              <a:spLocks/>
            </p:cNvSpPr>
            <p:nvPr userDrawn="1"/>
          </p:nvSpPr>
          <p:spPr bwMode="auto">
            <a:xfrm>
              <a:off x="5179"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3" name="Freeform 9"/>
            <p:cNvSpPr>
              <a:spLocks/>
            </p:cNvSpPr>
            <p:nvPr userDrawn="1"/>
          </p:nvSpPr>
          <p:spPr bwMode="auto">
            <a:xfrm>
              <a:off x="5200" y="371"/>
              <a:ext cx="24" cy="26"/>
            </a:xfrm>
            <a:custGeom>
              <a:avLst/>
              <a:gdLst>
                <a:gd name="T0" fmla="*/ 39 w 39"/>
                <a:gd name="T1" fmla="*/ 0 h 43"/>
                <a:gd name="T2" fmla="*/ 31 w 39"/>
                <a:gd name="T3" fmla="*/ 0 h 43"/>
                <a:gd name="T4" fmla="*/ 31 w 39"/>
                <a:gd name="T5" fmla="*/ 26 h 43"/>
                <a:gd name="T6" fmla="*/ 31 w 39"/>
                <a:gd name="T7" fmla="*/ 30 h 43"/>
                <a:gd name="T8" fmla="*/ 31 w 39"/>
                <a:gd name="T9" fmla="*/ 30 h 43"/>
                <a:gd name="T10" fmla="*/ 28 w 39"/>
                <a:gd name="T11" fmla="*/ 26 h 43"/>
                <a:gd name="T12" fmla="*/ 10 w 39"/>
                <a:gd name="T13" fmla="*/ 0 h 43"/>
                <a:gd name="T14" fmla="*/ 0 w 39"/>
                <a:gd name="T15" fmla="*/ 0 h 43"/>
                <a:gd name="T16" fmla="*/ 0 w 39"/>
                <a:gd name="T17" fmla="*/ 43 h 43"/>
                <a:gd name="T18" fmla="*/ 9 w 39"/>
                <a:gd name="T19" fmla="*/ 43 h 43"/>
                <a:gd name="T20" fmla="*/ 9 w 39"/>
                <a:gd name="T21" fmla="*/ 16 h 43"/>
                <a:gd name="T22" fmla="*/ 8 w 39"/>
                <a:gd name="T23" fmla="*/ 11 h 43"/>
                <a:gd name="T24" fmla="*/ 8 w 39"/>
                <a:gd name="T25" fmla="*/ 11 h 43"/>
                <a:gd name="T26" fmla="*/ 12 w 39"/>
                <a:gd name="T27" fmla="*/ 15 h 43"/>
                <a:gd name="T28" fmla="*/ 31 w 39"/>
                <a:gd name="T29" fmla="*/ 43 h 43"/>
                <a:gd name="T30" fmla="*/ 39 w 39"/>
                <a:gd name="T31" fmla="*/ 43 h 43"/>
                <a:gd name="T32" fmla="*/ 39 w 39"/>
                <a:gd name="T3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 h="43">
                  <a:moveTo>
                    <a:pt x="39" y="0"/>
                  </a:moveTo>
                  <a:cubicBezTo>
                    <a:pt x="31" y="0"/>
                    <a:pt x="31" y="0"/>
                    <a:pt x="31" y="0"/>
                  </a:cubicBezTo>
                  <a:cubicBezTo>
                    <a:pt x="31" y="26"/>
                    <a:pt x="31" y="26"/>
                    <a:pt x="31" y="26"/>
                  </a:cubicBezTo>
                  <a:cubicBezTo>
                    <a:pt x="31" y="28"/>
                    <a:pt x="31" y="30"/>
                    <a:pt x="31" y="30"/>
                  </a:cubicBezTo>
                  <a:cubicBezTo>
                    <a:pt x="31" y="30"/>
                    <a:pt x="31" y="30"/>
                    <a:pt x="31" y="30"/>
                  </a:cubicBezTo>
                  <a:cubicBezTo>
                    <a:pt x="31" y="30"/>
                    <a:pt x="30" y="28"/>
                    <a:pt x="28" y="26"/>
                  </a:cubicBezTo>
                  <a:cubicBezTo>
                    <a:pt x="10" y="0"/>
                    <a:pt x="10" y="0"/>
                    <a:pt x="10" y="0"/>
                  </a:cubicBezTo>
                  <a:cubicBezTo>
                    <a:pt x="0" y="0"/>
                    <a:pt x="0" y="0"/>
                    <a:pt x="0" y="0"/>
                  </a:cubicBezTo>
                  <a:cubicBezTo>
                    <a:pt x="0" y="43"/>
                    <a:pt x="0" y="43"/>
                    <a:pt x="0" y="43"/>
                  </a:cubicBezTo>
                  <a:cubicBezTo>
                    <a:pt x="9" y="43"/>
                    <a:pt x="9" y="43"/>
                    <a:pt x="9" y="43"/>
                  </a:cubicBezTo>
                  <a:cubicBezTo>
                    <a:pt x="9" y="16"/>
                    <a:pt x="9" y="16"/>
                    <a:pt x="9" y="16"/>
                  </a:cubicBezTo>
                  <a:cubicBezTo>
                    <a:pt x="9" y="13"/>
                    <a:pt x="8" y="11"/>
                    <a:pt x="8" y="11"/>
                  </a:cubicBezTo>
                  <a:cubicBezTo>
                    <a:pt x="8" y="11"/>
                    <a:pt x="8" y="11"/>
                    <a:pt x="8" y="11"/>
                  </a:cubicBezTo>
                  <a:cubicBezTo>
                    <a:pt x="8" y="11"/>
                    <a:pt x="10" y="13"/>
                    <a:pt x="12" y="15"/>
                  </a:cubicBezTo>
                  <a:cubicBezTo>
                    <a:pt x="31" y="43"/>
                    <a:pt x="31" y="43"/>
                    <a:pt x="31" y="43"/>
                  </a:cubicBezTo>
                  <a:cubicBezTo>
                    <a:pt x="39" y="43"/>
                    <a:pt x="39" y="43"/>
                    <a:pt x="39" y="43"/>
                  </a:cubicBezTo>
                  <a:lnTo>
                    <a:pt x="39"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4" name="Freeform 10"/>
            <p:cNvSpPr>
              <a:spLocks/>
            </p:cNvSpPr>
            <p:nvPr userDrawn="1"/>
          </p:nvSpPr>
          <p:spPr bwMode="auto">
            <a:xfrm>
              <a:off x="5231"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5" name="Freeform 11"/>
            <p:cNvSpPr>
              <a:spLocks noEditPoints="1"/>
            </p:cNvSpPr>
            <p:nvPr userDrawn="1"/>
          </p:nvSpPr>
          <p:spPr bwMode="auto">
            <a:xfrm>
              <a:off x="5253" y="371"/>
              <a:ext cx="21" cy="26"/>
            </a:xfrm>
            <a:custGeom>
              <a:avLst/>
              <a:gdLst>
                <a:gd name="T0" fmla="*/ 14 w 35"/>
                <a:gd name="T1" fmla="*/ 0 h 43"/>
                <a:gd name="T2" fmla="*/ 0 w 35"/>
                <a:gd name="T3" fmla="*/ 2 h 43"/>
                <a:gd name="T4" fmla="*/ 0 w 35"/>
                <a:gd name="T5" fmla="*/ 43 h 43"/>
                <a:gd name="T6" fmla="*/ 9 w 35"/>
                <a:gd name="T7" fmla="*/ 43 h 43"/>
                <a:gd name="T8" fmla="*/ 9 w 35"/>
                <a:gd name="T9" fmla="*/ 23 h 43"/>
                <a:gd name="T10" fmla="*/ 9 w 35"/>
                <a:gd name="T11" fmla="*/ 23 h 43"/>
                <a:gd name="T12" fmla="*/ 24 w 35"/>
                <a:gd name="T13" fmla="*/ 43 h 43"/>
                <a:gd name="T14" fmla="*/ 35 w 35"/>
                <a:gd name="T15" fmla="*/ 43 h 43"/>
                <a:gd name="T16" fmla="*/ 19 w 35"/>
                <a:gd name="T17" fmla="*/ 24 h 43"/>
                <a:gd name="T18" fmla="*/ 19 w 35"/>
                <a:gd name="T19" fmla="*/ 24 h 43"/>
                <a:gd name="T20" fmla="*/ 33 w 35"/>
                <a:gd name="T21" fmla="*/ 13 h 43"/>
                <a:gd name="T22" fmla="*/ 14 w 35"/>
                <a:gd name="T23" fmla="*/ 0 h 43"/>
                <a:gd name="T24" fmla="*/ 13 w 35"/>
                <a:gd name="T25" fmla="*/ 22 h 43"/>
                <a:gd name="T26" fmla="*/ 9 w 35"/>
                <a:gd name="T27" fmla="*/ 22 h 43"/>
                <a:gd name="T28" fmla="*/ 9 w 35"/>
                <a:gd name="T29" fmla="*/ 5 h 43"/>
                <a:gd name="T30" fmla="*/ 14 w 35"/>
                <a:gd name="T31" fmla="*/ 4 h 43"/>
                <a:gd name="T32" fmla="*/ 24 w 35"/>
                <a:gd name="T33" fmla="*/ 13 h 43"/>
                <a:gd name="T34" fmla="*/ 13 w 35"/>
                <a:gd name="T3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43">
                  <a:moveTo>
                    <a:pt x="14" y="0"/>
                  </a:moveTo>
                  <a:cubicBezTo>
                    <a:pt x="8" y="0"/>
                    <a:pt x="3" y="1"/>
                    <a:pt x="0" y="2"/>
                  </a:cubicBezTo>
                  <a:cubicBezTo>
                    <a:pt x="0" y="43"/>
                    <a:pt x="0" y="43"/>
                    <a:pt x="0" y="43"/>
                  </a:cubicBezTo>
                  <a:cubicBezTo>
                    <a:pt x="9" y="43"/>
                    <a:pt x="9" y="43"/>
                    <a:pt x="9" y="43"/>
                  </a:cubicBezTo>
                  <a:cubicBezTo>
                    <a:pt x="9" y="23"/>
                    <a:pt x="9" y="23"/>
                    <a:pt x="9" y="23"/>
                  </a:cubicBezTo>
                  <a:cubicBezTo>
                    <a:pt x="9" y="23"/>
                    <a:pt x="9" y="23"/>
                    <a:pt x="9" y="23"/>
                  </a:cubicBezTo>
                  <a:cubicBezTo>
                    <a:pt x="24" y="43"/>
                    <a:pt x="24" y="43"/>
                    <a:pt x="24" y="43"/>
                  </a:cubicBezTo>
                  <a:cubicBezTo>
                    <a:pt x="35" y="43"/>
                    <a:pt x="35" y="43"/>
                    <a:pt x="35" y="43"/>
                  </a:cubicBezTo>
                  <a:cubicBezTo>
                    <a:pt x="19" y="24"/>
                    <a:pt x="19" y="24"/>
                    <a:pt x="19" y="24"/>
                  </a:cubicBezTo>
                  <a:cubicBezTo>
                    <a:pt x="19" y="24"/>
                    <a:pt x="19" y="24"/>
                    <a:pt x="19" y="24"/>
                  </a:cubicBezTo>
                  <a:cubicBezTo>
                    <a:pt x="28" y="23"/>
                    <a:pt x="33" y="19"/>
                    <a:pt x="33" y="13"/>
                  </a:cubicBezTo>
                  <a:cubicBezTo>
                    <a:pt x="33" y="5"/>
                    <a:pt x="27" y="0"/>
                    <a:pt x="14" y="0"/>
                  </a:cubicBezTo>
                  <a:moveTo>
                    <a:pt x="13" y="22"/>
                  </a:moveTo>
                  <a:cubicBezTo>
                    <a:pt x="11" y="22"/>
                    <a:pt x="10" y="22"/>
                    <a:pt x="9" y="22"/>
                  </a:cubicBezTo>
                  <a:cubicBezTo>
                    <a:pt x="9" y="5"/>
                    <a:pt x="9" y="5"/>
                    <a:pt x="9" y="5"/>
                  </a:cubicBezTo>
                  <a:cubicBezTo>
                    <a:pt x="10" y="5"/>
                    <a:pt x="12" y="4"/>
                    <a:pt x="14" y="4"/>
                  </a:cubicBezTo>
                  <a:cubicBezTo>
                    <a:pt x="21" y="4"/>
                    <a:pt x="24" y="7"/>
                    <a:pt x="24" y="13"/>
                  </a:cubicBezTo>
                  <a:cubicBezTo>
                    <a:pt x="24" y="19"/>
                    <a:pt x="20" y="22"/>
                    <a:pt x="13" y="22"/>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6" name="Freeform 12"/>
            <p:cNvSpPr>
              <a:spLocks/>
            </p:cNvSpPr>
            <p:nvPr userDrawn="1"/>
          </p:nvSpPr>
          <p:spPr bwMode="auto">
            <a:xfrm>
              <a:off x="5278" y="371"/>
              <a:ext cx="23" cy="26"/>
            </a:xfrm>
            <a:custGeom>
              <a:avLst/>
              <a:gdLst>
                <a:gd name="T0" fmla="*/ 23 w 37"/>
                <a:gd name="T1" fmla="*/ 0 h 43"/>
                <a:gd name="T2" fmla="*/ 0 w 37"/>
                <a:gd name="T3" fmla="*/ 21 h 43"/>
                <a:gd name="T4" fmla="*/ 23 w 37"/>
                <a:gd name="T5" fmla="*/ 43 h 43"/>
                <a:gd name="T6" fmla="*/ 37 w 37"/>
                <a:gd name="T7" fmla="*/ 41 h 43"/>
                <a:gd name="T8" fmla="*/ 37 w 37"/>
                <a:gd name="T9" fmla="*/ 18 h 43"/>
                <a:gd name="T10" fmla="*/ 20 w 37"/>
                <a:gd name="T11" fmla="*/ 18 h 43"/>
                <a:gd name="T12" fmla="*/ 20 w 37"/>
                <a:gd name="T13" fmla="*/ 23 h 43"/>
                <a:gd name="T14" fmla="*/ 27 w 37"/>
                <a:gd name="T15" fmla="*/ 23 h 43"/>
                <a:gd name="T16" fmla="*/ 27 w 37"/>
                <a:gd name="T17" fmla="*/ 37 h 43"/>
                <a:gd name="T18" fmla="*/ 22 w 37"/>
                <a:gd name="T19" fmla="*/ 38 h 43"/>
                <a:gd name="T20" fmla="*/ 9 w 37"/>
                <a:gd name="T21" fmla="*/ 22 h 43"/>
                <a:gd name="T22" fmla="*/ 24 w 37"/>
                <a:gd name="T23" fmla="*/ 5 h 43"/>
                <a:gd name="T24" fmla="*/ 33 w 37"/>
                <a:gd name="T25" fmla="*/ 7 h 43"/>
                <a:gd name="T26" fmla="*/ 36 w 37"/>
                <a:gd name="T27" fmla="*/ 2 h 43"/>
                <a:gd name="T28" fmla="*/ 23 w 37"/>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 h="43">
                  <a:moveTo>
                    <a:pt x="23" y="0"/>
                  </a:moveTo>
                  <a:cubicBezTo>
                    <a:pt x="9" y="0"/>
                    <a:pt x="0" y="8"/>
                    <a:pt x="0" y="21"/>
                  </a:cubicBezTo>
                  <a:cubicBezTo>
                    <a:pt x="0" y="35"/>
                    <a:pt x="9" y="43"/>
                    <a:pt x="23" y="43"/>
                  </a:cubicBezTo>
                  <a:cubicBezTo>
                    <a:pt x="30" y="43"/>
                    <a:pt x="33" y="42"/>
                    <a:pt x="37" y="41"/>
                  </a:cubicBezTo>
                  <a:cubicBezTo>
                    <a:pt x="37" y="18"/>
                    <a:pt x="37" y="18"/>
                    <a:pt x="37" y="18"/>
                  </a:cubicBezTo>
                  <a:cubicBezTo>
                    <a:pt x="20" y="18"/>
                    <a:pt x="20" y="18"/>
                    <a:pt x="20" y="18"/>
                  </a:cubicBezTo>
                  <a:cubicBezTo>
                    <a:pt x="20" y="23"/>
                    <a:pt x="20" y="23"/>
                    <a:pt x="20" y="23"/>
                  </a:cubicBezTo>
                  <a:cubicBezTo>
                    <a:pt x="27" y="23"/>
                    <a:pt x="27" y="23"/>
                    <a:pt x="27" y="23"/>
                  </a:cubicBezTo>
                  <a:cubicBezTo>
                    <a:pt x="27" y="37"/>
                    <a:pt x="27" y="37"/>
                    <a:pt x="27" y="37"/>
                  </a:cubicBezTo>
                  <a:cubicBezTo>
                    <a:pt x="27" y="37"/>
                    <a:pt x="25" y="38"/>
                    <a:pt x="22" y="38"/>
                  </a:cubicBezTo>
                  <a:cubicBezTo>
                    <a:pt x="15" y="38"/>
                    <a:pt x="9" y="32"/>
                    <a:pt x="9" y="22"/>
                  </a:cubicBezTo>
                  <a:cubicBezTo>
                    <a:pt x="9" y="10"/>
                    <a:pt x="15" y="5"/>
                    <a:pt x="24" y="5"/>
                  </a:cubicBezTo>
                  <a:cubicBezTo>
                    <a:pt x="28" y="5"/>
                    <a:pt x="31" y="6"/>
                    <a:pt x="33" y="7"/>
                  </a:cubicBezTo>
                  <a:cubicBezTo>
                    <a:pt x="36" y="2"/>
                    <a:pt x="36" y="2"/>
                    <a:pt x="36" y="2"/>
                  </a:cubicBezTo>
                  <a:cubicBezTo>
                    <a:pt x="33" y="1"/>
                    <a:pt x="29" y="0"/>
                    <a:pt x="23"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7" name="Rectangle 13"/>
            <p:cNvSpPr>
              <a:spLocks noChangeArrowheads="1"/>
            </p:cNvSpPr>
            <p:nvPr userDrawn="1"/>
          </p:nvSpPr>
          <p:spPr bwMode="auto">
            <a:xfrm>
              <a:off x="5307" y="371"/>
              <a:ext cx="7" cy="26"/>
            </a:xfrm>
            <a:prstGeom prst="rect">
              <a:avLst/>
            </a:prstGeom>
            <a:solidFill>
              <a:srgbClr val="00448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8" name="Freeform 14"/>
            <p:cNvSpPr>
              <a:spLocks/>
            </p:cNvSpPr>
            <p:nvPr userDrawn="1"/>
          </p:nvSpPr>
          <p:spPr bwMode="auto">
            <a:xfrm>
              <a:off x="5320"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7 w 16"/>
                <a:gd name="T11" fmla="*/ 22 h 26"/>
                <a:gd name="T12" fmla="*/ 7 w 16"/>
                <a:gd name="T13" fmla="*/ 14 h 26"/>
                <a:gd name="T14" fmla="*/ 15 w 16"/>
                <a:gd name="T15" fmla="*/ 14 h 26"/>
                <a:gd name="T16" fmla="*/ 15 w 16"/>
                <a:gd name="T17" fmla="*/ 11 h 26"/>
                <a:gd name="T18" fmla="*/ 7 w 16"/>
                <a:gd name="T19" fmla="*/ 11 h 26"/>
                <a:gd name="T20" fmla="*/ 7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7" y="22"/>
                  </a:lnTo>
                  <a:lnTo>
                    <a:pt x="7" y="14"/>
                  </a:lnTo>
                  <a:lnTo>
                    <a:pt x="15" y="14"/>
                  </a:lnTo>
                  <a:lnTo>
                    <a:pt x="15" y="11"/>
                  </a:lnTo>
                  <a:lnTo>
                    <a:pt x="7" y="11"/>
                  </a:lnTo>
                  <a:lnTo>
                    <a:pt x="7"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9" name="Freeform 15"/>
            <p:cNvSpPr>
              <a:spLocks/>
            </p:cNvSpPr>
            <p:nvPr userDrawn="1"/>
          </p:nvSpPr>
          <p:spPr bwMode="auto">
            <a:xfrm>
              <a:off x="5340" y="371"/>
              <a:ext cx="19" cy="26"/>
            </a:xfrm>
            <a:custGeom>
              <a:avLst/>
              <a:gdLst>
                <a:gd name="T0" fmla="*/ 16 w 30"/>
                <a:gd name="T1" fmla="*/ 0 h 43"/>
                <a:gd name="T2" fmla="*/ 0 w 30"/>
                <a:gd name="T3" fmla="*/ 12 h 43"/>
                <a:gd name="T4" fmla="*/ 11 w 30"/>
                <a:gd name="T5" fmla="*/ 24 h 43"/>
                <a:gd name="T6" fmla="*/ 19 w 30"/>
                <a:gd name="T7" fmla="*/ 31 h 43"/>
                <a:gd name="T8" fmla="*/ 11 w 30"/>
                <a:gd name="T9" fmla="*/ 37 h 43"/>
                <a:gd name="T10" fmla="*/ 2 w 30"/>
                <a:gd name="T11" fmla="*/ 35 h 43"/>
                <a:gd name="T12" fmla="*/ 0 w 30"/>
                <a:gd name="T13" fmla="*/ 41 h 43"/>
                <a:gd name="T14" fmla="*/ 13 w 30"/>
                <a:gd name="T15" fmla="*/ 43 h 43"/>
                <a:gd name="T16" fmla="*/ 30 w 30"/>
                <a:gd name="T17" fmla="*/ 30 h 43"/>
                <a:gd name="T18" fmla="*/ 18 w 30"/>
                <a:gd name="T19" fmla="*/ 18 h 43"/>
                <a:gd name="T20" fmla="*/ 10 w 30"/>
                <a:gd name="T21" fmla="*/ 11 h 43"/>
                <a:gd name="T22" fmla="*/ 17 w 30"/>
                <a:gd name="T23" fmla="*/ 5 h 43"/>
                <a:gd name="T24" fmla="*/ 25 w 30"/>
                <a:gd name="T25" fmla="*/ 7 h 43"/>
                <a:gd name="T26" fmla="*/ 28 w 30"/>
                <a:gd name="T27" fmla="*/ 2 h 43"/>
                <a:gd name="T28" fmla="*/ 16 w 30"/>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43">
                  <a:moveTo>
                    <a:pt x="16" y="0"/>
                  </a:moveTo>
                  <a:cubicBezTo>
                    <a:pt x="6" y="0"/>
                    <a:pt x="0" y="6"/>
                    <a:pt x="0" y="12"/>
                  </a:cubicBezTo>
                  <a:cubicBezTo>
                    <a:pt x="0" y="16"/>
                    <a:pt x="3" y="21"/>
                    <a:pt x="11" y="24"/>
                  </a:cubicBezTo>
                  <a:cubicBezTo>
                    <a:pt x="17" y="26"/>
                    <a:pt x="19" y="28"/>
                    <a:pt x="19" y="31"/>
                  </a:cubicBezTo>
                  <a:cubicBezTo>
                    <a:pt x="19" y="35"/>
                    <a:pt x="16" y="37"/>
                    <a:pt x="11" y="37"/>
                  </a:cubicBezTo>
                  <a:cubicBezTo>
                    <a:pt x="7" y="37"/>
                    <a:pt x="4" y="36"/>
                    <a:pt x="2" y="35"/>
                  </a:cubicBezTo>
                  <a:cubicBezTo>
                    <a:pt x="0" y="41"/>
                    <a:pt x="0" y="41"/>
                    <a:pt x="0" y="41"/>
                  </a:cubicBezTo>
                  <a:cubicBezTo>
                    <a:pt x="3" y="42"/>
                    <a:pt x="7" y="43"/>
                    <a:pt x="13" y="43"/>
                  </a:cubicBezTo>
                  <a:cubicBezTo>
                    <a:pt x="23" y="43"/>
                    <a:pt x="30" y="38"/>
                    <a:pt x="30" y="30"/>
                  </a:cubicBezTo>
                  <a:cubicBezTo>
                    <a:pt x="30" y="26"/>
                    <a:pt x="28" y="22"/>
                    <a:pt x="18" y="18"/>
                  </a:cubicBezTo>
                  <a:cubicBezTo>
                    <a:pt x="13" y="17"/>
                    <a:pt x="10" y="15"/>
                    <a:pt x="10" y="11"/>
                  </a:cubicBezTo>
                  <a:cubicBezTo>
                    <a:pt x="10" y="7"/>
                    <a:pt x="13" y="5"/>
                    <a:pt x="17" y="5"/>
                  </a:cubicBezTo>
                  <a:cubicBezTo>
                    <a:pt x="21" y="5"/>
                    <a:pt x="24" y="6"/>
                    <a:pt x="25" y="7"/>
                  </a:cubicBezTo>
                  <a:cubicBezTo>
                    <a:pt x="28" y="2"/>
                    <a:pt x="28" y="2"/>
                    <a:pt x="28" y="2"/>
                  </a:cubicBezTo>
                  <a:cubicBezTo>
                    <a:pt x="25" y="1"/>
                    <a:pt x="21" y="0"/>
                    <a:pt x="16"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grpSp>
      <p:pic>
        <p:nvPicPr>
          <p:cNvPr id="23" name="Image 2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813243" y="375126"/>
            <a:ext cx="4565515" cy="1044997"/>
          </a:xfrm>
          <a:prstGeom prst="rect">
            <a:avLst/>
          </a:prstGeom>
        </p:spPr>
      </p:pic>
      <p:sp>
        <p:nvSpPr>
          <p:cNvPr id="28" name="Forme libre 27"/>
          <p:cNvSpPr/>
          <p:nvPr userDrawn="1"/>
        </p:nvSpPr>
        <p:spPr>
          <a:xfrm>
            <a:off x="2" y="3072651"/>
            <a:ext cx="7728180" cy="2609987"/>
          </a:xfrm>
          <a:custGeom>
            <a:avLst/>
            <a:gdLst>
              <a:gd name="connsiteX0" fmla="*/ 0 w 5299780"/>
              <a:gd name="connsiteY0" fmla="*/ 0 h 1789859"/>
              <a:gd name="connsiteX1" fmla="*/ 4404851 w 5299780"/>
              <a:gd name="connsiteY1" fmla="*/ 0 h 1789859"/>
              <a:gd name="connsiteX2" fmla="*/ 5299780 w 5299780"/>
              <a:gd name="connsiteY2" fmla="*/ 894930 h 1789859"/>
              <a:gd name="connsiteX3" fmla="*/ 4404851 w 5299780"/>
              <a:gd name="connsiteY3" fmla="*/ 1789859 h 1789859"/>
              <a:gd name="connsiteX4" fmla="*/ 0 w 5299780"/>
              <a:gd name="connsiteY4" fmla="*/ 1789859 h 1789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9780" h="1789859">
                <a:moveTo>
                  <a:pt x="0" y="0"/>
                </a:moveTo>
                <a:lnTo>
                  <a:pt x="4404851" y="0"/>
                </a:lnTo>
                <a:cubicBezTo>
                  <a:pt x="4899107" y="0"/>
                  <a:pt x="5299780" y="400673"/>
                  <a:pt x="5299780" y="894930"/>
                </a:cubicBezTo>
                <a:cubicBezTo>
                  <a:pt x="5299780" y="1389186"/>
                  <a:pt x="4899107" y="1789859"/>
                  <a:pt x="4404851" y="1789859"/>
                </a:cubicBezTo>
                <a:lnTo>
                  <a:pt x="0" y="1789859"/>
                </a:lnTo>
                <a:close/>
              </a:path>
            </a:pathLst>
          </a:custGeom>
          <a:gradFill flip="none" rotWithShape="1">
            <a:gsLst>
              <a:gs pos="0">
                <a:schemeClr val="tx2">
                  <a:lumMod val="90000"/>
                  <a:lumOff val="10000"/>
                  <a:alpha val="57000"/>
                </a:schemeClr>
              </a:gs>
              <a:gs pos="100000">
                <a:schemeClr val="accent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25" name="Forme libre 24"/>
          <p:cNvSpPr/>
          <p:nvPr userDrawn="1"/>
        </p:nvSpPr>
        <p:spPr>
          <a:xfrm>
            <a:off x="1" y="3525011"/>
            <a:ext cx="7424216" cy="2016224"/>
          </a:xfrm>
          <a:custGeom>
            <a:avLst/>
            <a:gdLst>
              <a:gd name="connsiteX0" fmla="*/ 0 w 5177583"/>
              <a:gd name="connsiteY0" fmla="*/ 0 h 1512168"/>
              <a:gd name="connsiteX1" fmla="*/ 4421499 w 5177583"/>
              <a:gd name="connsiteY1" fmla="*/ 0 h 1512168"/>
              <a:gd name="connsiteX2" fmla="*/ 5177583 w 5177583"/>
              <a:gd name="connsiteY2" fmla="*/ 756084 h 1512168"/>
              <a:gd name="connsiteX3" fmla="*/ 4421499 w 5177583"/>
              <a:gd name="connsiteY3" fmla="*/ 1512168 h 1512168"/>
              <a:gd name="connsiteX4" fmla="*/ 0 w 5177583"/>
              <a:gd name="connsiteY4" fmla="*/ 1512168 h 15121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7583" h="1512168">
                <a:moveTo>
                  <a:pt x="0" y="0"/>
                </a:moveTo>
                <a:lnTo>
                  <a:pt x="4421499" y="0"/>
                </a:lnTo>
                <a:cubicBezTo>
                  <a:pt x="4839073" y="0"/>
                  <a:pt x="5177583" y="338510"/>
                  <a:pt x="5177583" y="756084"/>
                </a:cubicBezTo>
                <a:cubicBezTo>
                  <a:pt x="5177583" y="1173658"/>
                  <a:pt x="4839073" y="1512168"/>
                  <a:pt x="4421499" y="1512168"/>
                </a:cubicBezTo>
                <a:lnTo>
                  <a:pt x="0" y="151216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5" name="Titre 4"/>
          <p:cNvSpPr>
            <a:spLocks noGrp="1"/>
          </p:cNvSpPr>
          <p:nvPr>
            <p:ph type="title"/>
          </p:nvPr>
        </p:nvSpPr>
        <p:spPr>
          <a:xfrm>
            <a:off x="214768" y="3621477"/>
            <a:ext cx="6694032" cy="1022580"/>
          </a:xfrm>
          <a:prstGeom prst="rect">
            <a:avLst/>
          </a:prstGeom>
        </p:spPr>
        <p:txBody>
          <a:bodyPr anchor="b">
            <a:noAutofit/>
          </a:bodyPr>
          <a:lstStyle>
            <a:lvl1pPr>
              <a:defRPr sz="3733">
                <a:solidFill>
                  <a:schemeClr val="accent1"/>
                </a:solidFill>
              </a:defRPr>
            </a:lvl1pPr>
          </a:lstStyle>
          <a:p>
            <a:r>
              <a:rPr lang="en-GB" dirty="0"/>
              <a:t>Modifiez le style du titre</a:t>
            </a:r>
          </a:p>
        </p:txBody>
      </p:sp>
      <p:sp>
        <p:nvSpPr>
          <p:cNvPr id="26" name="Ellipse 25"/>
          <p:cNvSpPr/>
          <p:nvPr/>
        </p:nvSpPr>
        <p:spPr>
          <a:xfrm rot="20057793">
            <a:off x="6283262" y="2986485"/>
            <a:ext cx="1340429" cy="134043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fr-FR" sz="2400" dirty="0"/>
          </a:p>
        </p:txBody>
      </p:sp>
      <p:sp>
        <p:nvSpPr>
          <p:cNvPr id="29" name="Oval 5"/>
          <p:cNvSpPr>
            <a:spLocks noChangeArrowheads="1"/>
          </p:cNvSpPr>
          <p:nvPr userDrawn="1"/>
        </p:nvSpPr>
        <p:spPr bwMode="auto">
          <a:xfrm rot="20057793">
            <a:off x="6803877" y="3506199"/>
            <a:ext cx="297547" cy="297548"/>
          </a:xfrm>
          <a:prstGeom prst="ellipse">
            <a:avLst/>
          </a:pr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dirty="0"/>
          </a:p>
        </p:txBody>
      </p:sp>
      <p:sp>
        <p:nvSpPr>
          <p:cNvPr id="32" name="Freeform 6"/>
          <p:cNvSpPr>
            <a:spLocks noEditPoints="1"/>
          </p:cNvSpPr>
          <p:nvPr userDrawn="1"/>
        </p:nvSpPr>
        <p:spPr bwMode="auto">
          <a:xfrm rot="20057793">
            <a:off x="6492041" y="3211173"/>
            <a:ext cx="921219" cy="887600"/>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dirty="0"/>
          </a:p>
        </p:txBody>
      </p:sp>
      <p:sp>
        <p:nvSpPr>
          <p:cNvPr id="33" name="Freeform 7"/>
          <p:cNvSpPr>
            <a:spLocks noEditPoints="1"/>
          </p:cNvSpPr>
          <p:nvPr userDrawn="1"/>
        </p:nvSpPr>
        <p:spPr bwMode="auto">
          <a:xfrm rot="20057793">
            <a:off x="6599629" y="3301110"/>
            <a:ext cx="706043" cy="707727"/>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4" name="Freeform 8"/>
          <p:cNvSpPr>
            <a:spLocks noEditPoints="1"/>
          </p:cNvSpPr>
          <p:nvPr userDrawn="1"/>
        </p:nvSpPr>
        <p:spPr bwMode="auto">
          <a:xfrm rot="20057793">
            <a:off x="6680810" y="3384786"/>
            <a:ext cx="542140" cy="542983"/>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5" name="Freeform 9"/>
          <p:cNvSpPr>
            <a:spLocks noEditPoints="1"/>
          </p:cNvSpPr>
          <p:nvPr userDrawn="1"/>
        </p:nvSpPr>
        <p:spPr bwMode="auto">
          <a:xfrm rot="20057793">
            <a:off x="6412557" y="3113589"/>
            <a:ext cx="1080919" cy="1084284"/>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4" name="Espace réservé du texte 3"/>
          <p:cNvSpPr>
            <a:spLocks noGrp="1"/>
          </p:cNvSpPr>
          <p:nvPr>
            <p:ph type="body" sz="quarter" idx="10"/>
          </p:nvPr>
        </p:nvSpPr>
        <p:spPr>
          <a:xfrm>
            <a:off x="213784" y="4593698"/>
            <a:ext cx="6695152" cy="912381"/>
          </a:xfrm>
        </p:spPr>
        <p:txBody>
          <a:bodyPr>
            <a:normAutofit/>
          </a:bodyPr>
          <a:lstStyle>
            <a:lvl1pPr marL="0" indent="0" algn="ctr">
              <a:buFontTx/>
              <a:buNone/>
              <a:defRPr sz="2667" b="0">
                <a:solidFill>
                  <a:schemeClr val="tx1"/>
                </a:solidFill>
              </a:defRPr>
            </a:lvl1pPr>
          </a:lstStyle>
          <a:p>
            <a:pPr lvl="0"/>
            <a:endParaRPr lang="en-GB" dirty="0"/>
          </a:p>
        </p:txBody>
      </p:sp>
      <p:sp>
        <p:nvSpPr>
          <p:cNvPr id="6" name="Espace réservé du numéro de diapositive 5"/>
          <p:cNvSpPr>
            <a:spLocks noGrp="1"/>
          </p:cNvSpPr>
          <p:nvPr>
            <p:ph type="sldNum" sz="quarter" idx="12"/>
          </p:nvPr>
        </p:nvSpPr>
        <p:spPr/>
        <p:txBody>
          <a:bodyPr/>
          <a:lstStyle/>
          <a:p>
            <a:fld id="{88A6B057-71F2-43BA-98BD-164F4E914A39}" type="slidenum">
              <a:rPr lang="en-GB" smtClean="0"/>
              <a:pPr/>
              <a:t>‹#›</a:t>
            </a:fld>
            <a:endParaRPr lang="en-GB" dirty="0"/>
          </a:p>
        </p:txBody>
      </p:sp>
    </p:spTree>
    <p:extLst>
      <p:ext uri="{BB962C8B-B14F-4D97-AF65-F5344CB8AC3E}">
        <p14:creationId xmlns:p14="http://schemas.microsoft.com/office/powerpoint/2010/main" val="2409184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par>
                                <p:cTn id="8" presetID="6" presetClass="emph" presetSubtype="0" fill="hold" nodeType="withEffect">
                                  <p:stCondLst>
                                    <p:cond delay="0"/>
                                  </p:stCondLst>
                                  <p:childTnLst>
                                    <p:animScale>
                                      <p:cBhvr>
                                        <p:cTn id="9" dur="10" fill="hold"/>
                                        <p:tgtEl>
                                          <p:spTgt spid="23"/>
                                        </p:tgtEl>
                                      </p:cBhvr>
                                      <p:by x="50000" y="50000"/>
                                    </p:animScale>
                                  </p:childTnLst>
                                </p:cTn>
                              </p:par>
                              <p:par>
                                <p:cTn id="10" presetID="6" presetClass="emph" presetSubtype="0" decel="100000" fill="hold" nodeType="withEffect">
                                  <p:stCondLst>
                                    <p:cond delay="0"/>
                                  </p:stCondLst>
                                  <p:childTnLst>
                                    <p:animScale>
                                      <p:cBhvr>
                                        <p:cTn id="11" dur="1000" fill="hold"/>
                                        <p:tgtEl>
                                          <p:spTgt spid="23"/>
                                        </p:tgtEl>
                                      </p:cBhvr>
                                      <p:by x="200000" y="200000"/>
                                    </p:animScale>
                                  </p:childTnLst>
                                </p:cTn>
                              </p:par>
                              <p:par>
                                <p:cTn id="12" presetID="2" presetClass="entr" presetSubtype="8" decel="100000" fill="hold" grpId="0" nodeType="withEffect">
                                  <p:stCondLst>
                                    <p:cond delay="0"/>
                                  </p:stCondLst>
                                  <p:childTnLst>
                                    <p:set>
                                      <p:cBhvr>
                                        <p:cTn id="13" dur="1" fill="hold">
                                          <p:stCondLst>
                                            <p:cond delay="0"/>
                                          </p:stCondLst>
                                        </p:cTn>
                                        <p:tgtEl>
                                          <p:spTgt spid="25"/>
                                        </p:tgtEl>
                                        <p:attrNameLst>
                                          <p:attrName>style.visibility</p:attrName>
                                        </p:attrNameLst>
                                      </p:cBhvr>
                                      <p:to>
                                        <p:strVal val="visible"/>
                                      </p:to>
                                    </p:set>
                                    <p:anim calcmode="lin" valueType="num">
                                      <p:cBhvr additive="base">
                                        <p:cTn id="14" dur="500" fill="hold"/>
                                        <p:tgtEl>
                                          <p:spTgt spid="25"/>
                                        </p:tgtEl>
                                        <p:attrNameLst>
                                          <p:attrName>ppt_x</p:attrName>
                                        </p:attrNameLst>
                                      </p:cBhvr>
                                      <p:tavLst>
                                        <p:tav tm="0">
                                          <p:val>
                                            <p:strVal val="0-#ppt_w/2"/>
                                          </p:val>
                                        </p:tav>
                                        <p:tav tm="100000">
                                          <p:val>
                                            <p:strVal val="#ppt_x"/>
                                          </p:val>
                                        </p:tav>
                                      </p:tavLst>
                                    </p:anim>
                                    <p:anim calcmode="lin" valueType="num">
                                      <p:cBhvr additive="base">
                                        <p:cTn id="15" dur="500" fill="hold"/>
                                        <p:tgtEl>
                                          <p:spTgt spid="25"/>
                                        </p:tgtEl>
                                        <p:attrNameLst>
                                          <p:attrName>ppt_y</p:attrName>
                                        </p:attrNameLst>
                                      </p:cBhvr>
                                      <p:tavLst>
                                        <p:tav tm="0">
                                          <p:val>
                                            <p:strVal val="#ppt_y"/>
                                          </p:val>
                                        </p:tav>
                                        <p:tav tm="100000">
                                          <p:val>
                                            <p:strVal val="#ppt_y"/>
                                          </p:val>
                                        </p:tav>
                                      </p:tavLst>
                                    </p:anim>
                                  </p:childTnLst>
                                </p:cTn>
                              </p:par>
                              <p:par>
                                <p:cTn id="16" presetID="2" presetClass="entr" presetSubtype="8" decel="100000" fill="hold" grpId="0" nodeType="withEffect">
                                  <p:stCondLst>
                                    <p:cond delay="100"/>
                                  </p:stCondLst>
                                  <p:childTnLst>
                                    <p:set>
                                      <p:cBhvr>
                                        <p:cTn id="17" dur="1" fill="hold">
                                          <p:stCondLst>
                                            <p:cond delay="0"/>
                                          </p:stCondLst>
                                        </p:cTn>
                                        <p:tgtEl>
                                          <p:spTgt spid="28"/>
                                        </p:tgtEl>
                                        <p:attrNameLst>
                                          <p:attrName>style.visibility</p:attrName>
                                        </p:attrNameLst>
                                      </p:cBhvr>
                                      <p:to>
                                        <p:strVal val="visible"/>
                                      </p:to>
                                    </p:set>
                                    <p:anim calcmode="lin" valueType="num">
                                      <p:cBhvr additive="base">
                                        <p:cTn id="18" dur="500" fill="hold"/>
                                        <p:tgtEl>
                                          <p:spTgt spid="28"/>
                                        </p:tgtEl>
                                        <p:attrNameLst>
                                          <p:attrName>ppt_x</p:attrName>
                                        </p:attrNameLst>
                                      </p:cBhvr>
                                      <p:tavLst>
                                        <p:tav tm="0">
                                          <p:val>
                                            <p:strVal val="0-#ppt_w/2"/>
                                          </p:val>
                                        </p:tav>
                                        <p:tav tm="100000">
                                          <p:val>
                                            <p:strVal val="#ppt_x"/>
                                          </p:val>
                                        </p:tav>
                                      </p:tavLst>
                                    </p:anim>
                                    <p:anim calcmode="lin" valueType="num">
                                      <p:cBhvr additive="base">
                                        <p:cTn id="19" dur="500" fill="hold"/>
                                        <p:tgtEl>
                                          <p:spTgt spid="28"/>
                                        </p:tgtEl>
                                        <p:attrNameLst>
                                          <p:attrName>ppt_y</p:attrName>
                                        </p:attrNameLst>
                                      </p:cBhvr>
                                      <p:tavLst>
                                        <p:tav tm="0">
                                          <p:val>
                                            <p:strVal val="#ppt_y"/>
                                          </p:val>
                                        </p:tav>
                                        <p:tav tm="100000">
                                          <p:val>
                                            <p:strVal val="#ppt_y"/>
                                          </p:val>
                                        </p:tav>
                                      </p:tavLst>
                                    </p:anim>
                                  </p:childTnLst>
                                </p:cTn>
                              </p:par>
                              <p:par>
                                <p:cTn id="20" presetID="10" presetClass="entr" presetSubtype="0" fill="hold" grpId="0" nodeType="withEffect">
                                  <p:stCondLst>
                                    <p:cond delay="25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childTnLst>
                                </p:cTn>
                              </p:par>
                              <p:par>
                                <p:cTn id="23" presetID="10" presetClass="entr" presetSubtype="0" fill="hold" grpId="0" nodeType="withEffect">
                                  <p:stCondLst>
                                    <p:cond delay="500"/>
                                  </p:stCondLst>
                                  <p:childTnLst>
                                    <p:set>
                                      <p:cBhvr>
                                        <p:cTn id="24" dur="1" fill="hold">
                                          <p:stCondLst>
                                            <p:cond delay="0"/>
                                          </p:stCondLst>
                                        </p:cTn>
                                        <p:tgtEl>
                                          <p:spTgt spid="26"/>
                                        </p:tgtEl>
                                        <p:attrNameLst>
                                          <p:attrName>style.visibility</p:attrName>
                                        </p:attrNameLst>
                                      </p:cBhvr>
                                      <p:to>
                                        <p:strVal val="visible"/>
                                      </p:to>
                                    </p:set>
                                    <p:animEffect transition="in" filter="fade">
                                      <p:cBhvr>
                                        <p:cTn id="25" dur="500"/>
                                        <p:tgtEl>
                                          <p:spTgt spid="26"/>
                                        </p:tgtEl>
                                      </p:cBhvr>
                                    </p:animEffect>
                                  </p:childTnLst>
                                </p:cTn>
                              </p:par>
                              <p:par>
                                <p:cTn id="26" presetID="10" presetClass="entr" presetSubtype="0" fill="hold" grpId="0" nodeType="withEffect">
                                  <p:stCondLst>
                                    <p:cond delay="500"/>
                                  </p:stCondLst>
                                  <p:childTnLst>
                                    <p:set>
                                      <p:cBhvr>
                                        <p:cTn id="27" dur="1" fill="hold">
                                          <p:stCondLst>
                                            <p:cond delay="0"/>
                                          </p:stCondLst>
                                        </p:cTn>
                                        <p:tgtEl>
                                          <p:spTgt spid="29"/>
                                        </p:tgtEl>
                                        <p:attrNameLst>
                                          <p:attrName>style.visibility</p:attrName>
                                        </p:attrNameLst>
                                      </p:cBhvr>
                                      <p:to>
                                        <p:strVal val="visible"/>
                                      </p:to>
                                    </p:set>
                                    <p:animEffect transition="in" filter="fade">
                                      <p:cBhvr>
                                        <p:cTn id="28" dur="500"/>
                                        <p:tgtEl>
                                          <p:spTgt spid="29"/>
                                        </p:tgtEl>
                                      </p:cBhvr>
                                    </p:animEffect>
                                  </p:childTnLst>
                                </p:cTn>
                              </p:par>
                              <p:par>
                                <p:cTn id="29" presetID="6" presetClass="emph" presetSubtype="0" fill="hold" grpId="1" nodeType="withEffect">
                                  <p:stCondLst>
                                    <p:cond delay="500"/>
                                  </p:stCondLst>
                                  <p:childTnLst>
                                    <p:animScale>
                                      <p:cBhvr>
                                        <p:cTn id="30" dur="10" fill="hold"/>
                                        <p:tgtEl>
                                          <p:spTgt spid="29"/>
                                        </p:tgtEl>
                                      </p:cBhvr>
                                      <p:by x="50000" y="50000"/>
                                    </p:animScale>
                                  </p:childTnLst>
                                </p:cTn>
                              </p:par>
                              <p:par>
                                <p:cTn id="31" presetID="6" presetClass="emph" presetSubtype="0" decel="100000" fill="hold" grpId="2" nodeType="withEffect">
                                  <p:stCondLst>
                                    <p:cond delay="500"/>
                                  </p:stCondLst>
                                  <p:childTnLst>
                                    <p:animScale>
                                      <p:cBhvr>
                                        <p:cTn id="32" dur="1000" fill="hold"/>
                                        <p:tgtEl>
                                          <p:spTgt spid="29"/>
                                        </p:tgtEl>
                                      </p:cBhvr>
                                      <p:by x="200000" y="200000"/>
                                    </p:animScale>
                                  </p:childTnLst>
                                </p:cTn>
                              </p:par>
                              <p:par>
                                <p:cTn id="33" presetID="10" presetClass="entr" presetSubtype="0" fill="hold" grpId="0" nodeType="withEffect">
                                  <p:stCondLst>
                                    <p:cond delay="500"/>
                                  </p:stCondLst>
                                  <p:childTnLst>
                                    <p:set>
                                      <p:cBhvr>
                                        <p:cTn id="34" dur="1" fill="hold">
                                          <p:stCondLst>
                                            <p:cond delay="0"/>
                                          </p:stCondLst>
                                        </p:cTn>
                                        <p:tgtEl>
                                          <p:spTgt spid="33"/>
                                        </p:tgtEl>
                                        <p:attrNameLst>
                                          <p:attrName>style.visibility</p:attrName>
                                        </p:attrNameLst>
                                      </p:cBhvr>
                                      <p:to>
                                        <p:strVal val="visible"/>
                                      </p:to>
                                    </p:set>
                                    <p:animEffect transition="in" filter="fade">
                                      <p:cBhvr>
                                        <p:cTn id="35" dur="500"/>
                                        <p:tgtEl>
                                          <p:spTgt spid="33"/>
                                        </p:tgtEl>
                                      </p:cBhvr>
                                    </p:animEffect>
                                  </p:childTnLst>
                                </p:cTn>
                              </p:par>
                              <p:par>
                                <p:cTn id="36" presetID="8" presetClass="emph" presetSubtype="0" repeatCount="indefinite" fill="hold" grpId="1" nodeType="withEffect">
                                  <p:stCondLst>
                                    <p:cond delay="500"/>
                                  </p:stCondLst>
                                  <p:childTnLst>
                                    <p:animRot by="-21600000">
                                      <p:cBhvr>
                                        <p:cTn id="37" dur="2000" fill="hold"/>
                                        <p:tgtEl>
                                          <p:spTgt spid="33"/>
                                        </p:tgtEl>
                                        <p:attrNameLst>
                                          <p:attrName>r</p:attrName>
                                        </p:attrNameLst>
                                      </p:cBhvr>
                                    </p:animRot>
                                  </p:childTnLst>
                                </p:cTn>
                              </p:par>
                              <p:par>
                                <p:cTn id="38" presetID="10" presetClass="entr" presetSubtype="0" fill="hold" grpId="0" nodeType="withEffect">
                                  <p:stCondLst>
                                    <p:cond delay="500"/>
                                  </p:stCondLst>
                                  <p:childTnLst>
                                    <p:set>
                                      <p:cBhvr>
                                        <p:cTn id="39" dur="1" fill="hold">
                                          <p:stCondLst>
                                            <p:cond delay="0"/>
                                          </p:stCondLst>
                                        </p:cTn>
                                        <p:tgtEl>
                                          <p:spTgt spid="35"/>
                                        </p:tgtEl>
                                        <p:attrNameLst>
                                          <p:attrName>style.visibility</p:attrName>
                                        </p:attrNameLst>
                                      </p:cBhvr>
                                      <p:to>
                                        <p:strVal val="visible"/>
                                      </p:to>
                                    </p:set>
                                    <p:animEffect transition="in" filter="fade">
                                      <p:cBhvr>
                                        <p:cTn id="40" dur="500"/>
                                        <p:tgtEl>
                                          <p:spTgt spid="35"/>
                                        </p:tgtEl>
                                      </p:cBhvr>
                                    </p:animEffect>
                                  </p:childTnLst>
                                </p:cTn>
                              </p:par>
                              <p:par>
                                <p:cTn id="41" presetID="8" presetClass="emph" presetSubtype="0" repeatCount="indefinite" fill="hold" grpId="1" nodeType="withEffect">
                                  <p:stCondLst>
                                    <p:cond delay="500"/>
                                  </p:stCondLst>
                                  <p:childTnLst>
                                    <p:animRot by="-21600000">
                                      <p:cBhvr>
                                        <p:cTn id="42" dur="2000" fill="hold"/>
                                        <p:tgtEl>
                                          <p:spTgt spid="35"/>
                                        </p:tgtEl>
                                        <p:attrNameLst>
                                          <p:attrName>r</p:attrName>
                                        </p:attrNameLst>
                                      </p:cBhvr>
                                    </p:animRot>
                                  </p:childTnLst>
                                </p:cTn>
                              </p:par>
                              <p:par>
                                <p:cTn id="43" presetID="10" presetClass="entr" presetSubtype="0" fill="hold" grpId="0" nodeType="withEffect">
                                  <p:stCondLst>
                                    <p:cond delay="500"/>
                                  </p:stCondLst>
                                  <p:childTnLst>
                                    <p:set>
                                      <p:cBhvr>
                                        <p:cTn id="44" dur="1" fill="hold">
                                          <p:stCondLst>
                                            <p:cond delay="0"/>
                                          </p:stCondLst>
                                        </p:cTn>
                                        <p:tgtEl>
                                          <p:spTgt spid="32"/>
                                        </p:tgtEl>
                                        <p:attrNameLst>
                                          <p:attrName>style.visibility</p:attrName>
                                        </p:attrNameLst>
                                      </p:cBhvr>
                                      <p:to>
                                        <p:strVal val="visible"/>
                                      </p:to>
                                    </p:set>
                                    <p:animEffect transition="in" filter="fade">
                                      <p:cBhvr>
                                        <p:cTn id="45" dur="500"/>
                                        <p:tgtEl>
                                          <p:spTgt spid="32"/>
                                        </p:tgtEl>
                                      </p:cBhvr>
                                    </p:animEffect>
                                  </p:childTnLst>
                                </p:cTn>
                              </p:par>
                              <p:par>
                                <p:cTn id="46" presetID="8" presetClass="emph" presetSubtype="0" repeatCount="indefinite" fill="hold" grpId="1" nodeType="withEffect">
                                  <p:stCondLst>
                                    <p:cond delay="500"/>
                                  </p:stCondLst>
                                  <p:childTnLst>
                                    <p:animRot by="21600000">
                                      <p:cBhvr>
                                        <p:cTn id="47" dur="2000" fill="hold"/>
                                        <p:tgtEl>
                                          <p:spTgt spid="32"/>
                                        </p:tgtEl>
                                        <p:attrNameLst>
                                          <p:attrName>r</p:attrName>
                                        </p:attrNameLst>
                                      </p:cBhvr>
                                    </p:animRot>
                                  </p:childTnLst>
                                </p:cTn>
                              </p:par>
                              <p:par>
                                <p:cTn id="48" presetID="10" presetClass="entr" presetSubtype="0" fill="hold" grpId="0" nodeType="withEffect">
                                  <p:stCondLst>
                                    <p:cond delay="500"/>
                                  </p:stCondLst>
                                  <p:childTnLst>
                                    <p:set>
                                      <p:cBhvr>
                                        <p:cTn id="49" dur="1" fill="hold">
                                          <p:stCondLst>
                                            <p:cond delay="0"/>
                                          </p:stCondLst>
                                        </p:cTn>
                                        <p:tgtEl>
                                          <p:spTgt spid="34"/>
                                        </p:tgtEl>
                                        <p:attrNameLst>
                                          <p:attrName>style.visibility</p:attrName>
                                        </p:attrNameLst>
                                      </p:cBhvr>
                                      <p:to>
                                        <p:strVal val="visible"/>
                                      </p:to>
                                    </p:set>
                                    <p:animEffect transition="in" filter="fade">
                                      <p:cBhvr>
                                        <p:cTn id="50" dur="500"/>
                                        <p:tgtEl>
                                          <p:spTgt spid="34"/>
                                        </p:tgtEl>
                                      </p:cBhvr>
                                    </p:animEffect>
                                  </p:childTnLst>
                                </p:cTn>
                              </p:par>
                              <p:par>
                                <p:cTn id="51" presetID="8" presetClass="emph" presetSubtype="0" repeatCount="indefinite" fill="hold" grpId="1" nodeType="withEffect">
                                  <p:stCondLst>
                                    <p:cond delay="500"/>
                                  </p:stCondLst>
                                  <p:childTnLst>
                                    <p:animRot by="21600000">
                                      <p:cBhvr>
                                        <p:cTn id="52" dur="2000" fill="hold"/>
                                        <p:tgtEl>
                                          <p:spTgt spid="34"/>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5" grpId="0" animBg="1"/>
      <p:bldP spid="5" grpId="0"/>
      <p:bldP spid="26" grpId="0" animBg="1"/>
      <p:bldP spid="29" grpId="0" animBg="1"/>
      <p:bldP spid="29" grpId="1" animBg="1"/>
      <p:bldP spid="29" grpId="2" animBg="1"/>
      <p:bldP spid="32" grpId="0" animBg="1"/>
      <p:bldP spid="32" grpId="1" animBg="1"/>
      <p:bldP spid="33" grpId="0" animBg="1"/>
      <p:bldP spid="33" grpId="1" animBg="1"/>
      <p:bldP spid="34" grpId="0" animBg="1"/>
      <p:bldP spid="34" grpId="1" animBg="1"/>
      <p:bldP spid="35" grpId="0" animBg="1"/>
      <p:bldP spid="35" grpId="1" animBg="1"/>
    </p:bld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Chapter">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solidFill>
                <a:prstClr val="white"/>
              </a:solidFill>
            </a:endParaRPr>
          </a:p>
        </p:txBody>
      </p:sp>
      <p:sp>
        <p:nvSpPr>
          <p:cNvPr id="6" name="Titre 5"/>
          <p:cNvSpPr>
            <a:spLocks noGrp="1"/>
          </p:cNvSpPr>
          <p:nvPr>
            <p:ph type="title"/>
          </p:nvPr>
        </p:nvSpPr>
        <p:spPr>
          <a:xfrm>
            <a:off x="838200" y="3653220"/>
            <a:ext cx="10515600" cy="1187457"/>
          </a:xfrm>
          <a:prstGeom prst="rect">
            <a:avLst/>
          </a:prstGeom>
        </p:spPr>
        <p:txBody>
          <a:bodyPr anchor="b">
            <a:normAutofit/>
          </a:bodyPr>
          <a:lstStyle>
            <a:lvl1pPr>
              <a:defRPr sz="3200">
                <a:solidFill>
                  <a:schemeClr val="accent1"/>
                </a:solidFill>
              </a:defRPr>
            </a:lvl1pPr>
          </a:lstStyle>
          <a:p>
            <a:r>
              <a:rPr lang="en-GB" dirty="0"/>
              <a:t>Modifiez le style du titre</a:t>
            </a:r>
          </a:p>
        </p:txBody>
      </p:sp>
      <p:sp>
        <p:nvSpPr>
          <p:cNvPr id="7" name="Rectangle 6"/>
          <p:cNvSpPr/>
          <p:nvPr userDrawn="1"/>
        </p:nvSpPr>
        <p:spPr>
          <a:xfrm>
            <a:off x="-2225" y="606634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grpSp>
        <p:nvGrpSpPr>
          <p:cNvPr id="20" name="Group 5"/>
          <p:cNvGrpSpPr>
            <a:grpSpLocks noChangeAspect="1"/>
          </p:cNvGrpSpPr>
          <p:nvPr userDrawn="1"/>
        </p:nvGrpSpPr>
        <p:grpSpPr bwMode="auto">
          <a:xfrm>
            <a:off x="10592180" y="6362050"/>
            <a:ext cx="1291715" cy="333661"/>
            <a:chOff x="4870" y="227"/>
            <a:chExt cx="662" cy="171"/>
          </a:xfrm>
        </p:grpSpPr>
        <p:sp>
          <p:nvSpPr>
            <p:cNvPr id="21" name="Freeform 6"/>
            <p:cNvSpPr>
              <a:spLocks noEditPoints="1"/>
            </p:cNvSpPr>
            <p:nvPr userDrawn="1"/>
          </p:nvSpPr>
          <p:spPr bwMode="auto">
            <a:xfrm>
              <a:off x="5359" y="227"/>
              <a:ext cx="173" cy="171"/>
            </a:xfrm>
            <a:custGeom>
              <a:avLst/>
              <a:gdLst>
                <a:gd name="T0" fmla="*/ 164 w 280"/>
                <a:gd name="T1" fmla="*/ 0 h 276"/>
                <a:gd name="T2" fmla="*/ 110 w 280"/>
                <a:gd name="T3" fmla="*/ 0 h 276"/>
                <a:gd name="T4" fmla="*/ 97 w 280"/>
                <a:gd name="T5" fmla="*/ 14 h 276"/>
                <a:gd name="T6" fmla="*/ 97 w 280"/>
                <a:gd name="T7" fmla="*/ 55 h 276"/>
                <a:gd name="T8" fmla="*/ 83 w 280"/>
                <a:gd name="T9" fmla="*/ 83 h 276"/>
                <a:gd name="T10" fmla="*/ 50 w 280"/>
                <a:gd name="T11" fmla="*/ 97 h 276"/>
                <a:gd name="T12" fmla="*/ 0 w 280"/>
                <a:gd name="T13" fmla="*/ 97 h 276"/>
                <a:gd name="T14" fmla="*/ 0 w 280"/>
                <a:gd name="T15" fmla="*/ 178 h 276"/>
                <a:gd name="T16" fmla="*/ 81 w 280"/>
                <a:gd name="T17" fmla="*/ 178 h 276"/>
                <a:gd name="T18" fmla="*/ 81 w 280"/>
                <a:gd name="T19" fmla="*/ 129 h 276"/>
                <a:gd name="T20" fmla="*/ 95 w 280"/>
                <a:gd name="T21" fmla="*/ 95 h 276"/>
                <a:gd name="T22" fmla="*/ 123 w 280"/>
                <a:gd name="T23" fmla="*/ 81 h 276"/>
                <a:gd name="T24" fmla="*/ 164 w 280"/>
                <a:gd name="T25" fmla="*/ 81 h 276"/>
                <a:gd name="T26" fmla="*/ 178 w 280"/>
                <a:gd name="T27" fmla="*/ 68 h 276"/>
                <a:gd name="T28" fmla="*/ 178 w 280"/>
                <a:gd name="T29" fmla="*/ 14 h 276"/>
                <a:gd name="T30" fmla="*/ 164 w 280"/>
                <a:gd name="T31" fmla="*/ 0 h 276"/>
                <a:gd name="T32" fmla="*/ 233 w 280"/>
                <a:gd name="T33" fmla="*/ 93 h 276"/>
                <a:gd name="T34" fmla="*/ 185 w 280"/>
                <a:gd name="T35" fmla="*/ 141 h 276"/>
                <a:gd name="T36" fmla="*/ 187 w 280"/>
                <a:gd name="T37" fmla="*/ 158 h 276"/>
                <a:gd name="T38" fmla="*/ 150 w 280"/>
                <a:gd name="T39" fmla="*/ 195 h 276"/>
                <a:gd name="T40" fmla="*/ 111 w 280"/>
                <a:gd name="T41" fmla="*/ 195 h 276"/>
                <a:gd name="T42" fmla="*/ 97 w 280"/>
                <a:gd name="T43" fmla="*/ 209 h 276"/>
                <a:gd name="T44" fmla="*/ 97 w 280"/>
                <a:gd name="T45" fmla="*/ 262 h 276"/>
                <a:gd name="T46" fmla="*/ 110 w 280"/>
                <a:gd name="T47" fmla="*/ 276 h 276"/>
                <a:gd name="T48" fmla="*/ 164 w 280"/>
                <a:gd name="T49" fmla="*/ 276 h 276"/>
                <a:gd name="T50" fmla="*/ 178 w 280"/>
                <a:gd name="T51" fmla="*/ 262 h 276"/>
                <a:gd name="T52" fmla="*/ 178 w 280"/>
                <a:gd name="T53" fmla="*/ 223 h 276"/>
                <a:gd name="T54" fmla="*/ 215 w 280"/>
                <a:gd name="T55" fmla="*/ 186 h 276"/>
                <a:gd name="T56" fmla="*/ 232 w 280"/>
                <a:gd name="T57" fmla="*/ 188 h 276"/>
                <a:gd name="T58" fmla="*/ 280 w 280"/>
                <a:gd name="T59" fmla="*/ 140 h 276"/>
                <a:gd name="T60" fmla="*/ 266 w 280"/>
                <a:gd name="T61" fmla="*/ 107 h 276"/>
                <a:gd name="T62" fmla="*/ 233 w 280"/>
                <a:gd name="T63" fmla="*/ 9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0" h="276">
                  <a:moveTo>
                    <a:pt x="164" y="0"/>
                  </a:moveTo>
                  <a:cubicBezTo>
                    <a:pt x="110" y="0"/>
                    <a:pt x="110" y="0"/>
                    <a:pt x="110" y="0"/>
                  </a:cubicBezTo>
                  <a:cubicBezTo>
                    <a:pt x="103" y="1"/>
                    <a:pt x="97" y="7"/>
                    <a:pt x="97" y="14"/>
                  </a:cubicBezTo>
                  <a:cubicBezTo>
                    <a:pt x="97" y="55"/>
                    <a:pt x="97" y="55"/>
                    <a:pt x="97" y="55"/>
                  </a:cubicBezTo>
                  <a:cubicBezTo>
                    <a:pt x="97" y="68"/>
                    <a:pt x="87" y="79"/>
                    <a:pt x="83" y="83"/>
                  </a:cubicBezTo>
                  <a:cubicBezTo>
                    <a:pt x="79" y="87"/>
                    <a:pt x="68" y="97"/>
                    <a:pt x="50" y="97"/>
                  </a:cubicBezTo>
                  <a:cubicBezTo>
                    <a:pt x="0" y="97"/>
                    <a:pt x="0" y="97"/>
                    <a:pt x="0" y="97"/>
                  </a:cubicBezTo>
                  <a:cubicBezTo>
                    <a:pt x="0" y="178"/>
                    <a:pt x="0" y="178"/>
                    <a:pt x="0" y="178"/>
                  </a:cubicBezTo>
                  <a:cubicBezTo>
                    <a:pt x="81" y="178"/>
                    <a:pt x="81" y="178"/>
                    <a:pt x="81" y="178"/>
                  </a:cubicBezTo>
                  <a:cubicBezTo>
                    <a:pt x="81" y="129"/>
                    <a:pt x="81" y="129"/>
                    <a:pt x="81" y="129"/>
                  </a:cubicBezTo>
                  <a:cubicBezTo>
                    <a:pt x="81" y="111"/>
                    <a:pt x="91" y="99"/>
                    <a:pt x="95" y="95"/>
                  </a:cubicBezTo>
                  <a:cubicBezTo>
                    <a:pt x="99" y="91"/>
                    <a:pt x="110" y="81"/>
                    <a:pt x="123" y="81"/>
                  </a:cubicBezTo>
                  <a:cubicBezTo>
                    <a:pt x="164" y="81"/>
                    <a:pt x="164" y="81"/>
                    <a:pt x="164" y="81"/>
                  </a:cubicBezTo>
                  <a:cubicBezTo>
                    <a:pt x="172" y="81"/>
                    <a:pt x="178" y="75"/>
                    <a:pt x="178" y="68"/>
                  </a:cubicBezTo>
                  <a:cubicBezTo>
                    <a:pt x="178" y="14"/>
                    <a:pt x="178" y="14"/>
                    <a:pt x="178" y="14"/>
                  </a:cubicBezTo>
                  <a:cubicBezTo>
                    <a:pt x="178" y="7"/>
                    <a:pt x="172" y="1"/>
                    <a:pt x="164" y="0"/>
                  </a:cubicBezTo>
                  <a:moveTo>
                    <a:pt x="233" y="93"/>
                  </a:moveTo>
                  <a:cubicBezTo>
                    <a:pt x="206" y="93"/>
                    <a:pt x="185" y="115"/>
                    <a:pt x="185" y="141"/>
                  </a:cubicBezTo>
                  <a:cubicBezTo>
                    <a:pt x="185" y="145"/>
                    <a:pt x="187" y="154"/>
                    <a:pt x="187" y="158"/>
                  </a:cubicBezTo>
                  <a:cubicBezTo>
                    <a:pt x="187" y="179"/>
                    <a:pt x="171" y="195"/>
                    <a:pt x="150" y="195"/>
                  </a:cubicBezTo>
                  <a:cubicBezTo>
                    <a:pt x="111" y="195"/>
                    <a:pt x="111" y="195"/>
                    <a:pt x="111" y="195"/>
                  </a:cubicBezTo>
                  <a:cubicBezTo>
                    <a:pt x="103" y="195"/>
                    <a:pt x="97" y="201"/>
                    <a:pt x="97" y="209"/>
                  </a:cubicBezTo>
                  <a:cubicBezTo>
                    <a:pt x="97" y="262"/>
                    <a:pt x="97" y="262"/>
                    <a:pt x="97" y="262"/>
                  </a:cubicBezTo>
                  <a:cubicBezTo>
                    <a:pt x="97" y="270"/>
                    <a:pt x="103" y="276"/>
                    <a:pt x="110" y="276"/>
                  </a:cubicBezTo>
                  <a:cubicBezTo>
                    <a:pt x="164" y="276"/>
                    <a:pt x="164" y="276"/>
                    <a:pt x="164" y="276"/>
                  </a:cubicBezTo>
                  <a:cubicBezTo>
                    <a:pt x="172" y="276"/>
                    <a:pt x="178" y="270"/>
                    <a:pt x="178" y="262"/>
                  </a:cubicBezTo>
                  <a:cubicBezTo>
                    <a:pt x="178" y="223"/>
                    <a:pt x="178" y="223"/>
                    <a:pt x="178" y="223"/>
                  </a:cubicBezTo>
                  <a:cubicBezTo>
                    <a:pt x="178" y="202"/>
                    <a:pt x="194" y="186"/>
                    <a:pt x="215" y="186"/>
                  </a:cubicBezTo>
                  <a:cubicBezTo>
                    <a:pt x="218" y="186"/>
                    <a:pt x="227" y="188"/>
                    <a:pt x="232" y="188"/>
                  </a:cubicBezTo>
                  <a:cubicBezTo>
                    <a:pt x="258" y="188"/>
                    <a:pt x="280" y="166"/>
                    <a:pt x="280" y="140"/>
                  </a:cubicBezTo>
                  <a:cubicBezTo>
                    <a:pt x="280" y="127"/>
                    <a:pt x="275" y="115"/>
                    <a:pt x="266" y="107"/>
                  </a:cubicBezTo>
                  <a:cubicBezTo>
                    <a:pt x="258" y="98"/>
                    <a:pt x="246" y="93"/>
                    <a:pt x="233" y="93"/>
                  </a:cubicBezTo>
                </a:path>
              </a:pathLst>
            </a:custGeom>
            <a:solidFill>
              <a:srgbClr val="E200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2" name="Freeform 7"/>
            <p:cNvSpPr>
              <a:spLocks noEditPoints="1"/>
            </p:cNvSpPr>
            <p:nvPr userDrawn="1"/>
          </p:nvSpPr>
          <p:spPr bwMode="auto">
            <a:xfrm>
              <a:off x="4870" y="286"/>
              <a:ext cx="439" cy="64"/>
            </a:xfrm>
            <a:custGeom>
              <a:avLst/>
              <a:gdLst>
                <a:gd name="T0" fmla="*/ 150 w 708"/>
                <a:gd name="T1" fmla="*/ 0 h 103"/>
                <a:gd name="T2" fmla="*/ 88 w 708"/>
                <a:gd name="T3" fmla="*/ 59 h 103"/>
                <a:gd name="T4" fmla="*/ 26 w 708"/>
                <a:gd name="T5" fmla="*/ 0 h 103"/>
                <a:gd name="T6" fmla="*/ 0 w 708"/>
                <a:gd name="T7" fmla="*/ 24 h 103"/>
                <a:gd name="T8" fmla="*/ 88 w 708"/>
                <a:gd name="T9" fmla="*/ 103 h 103"/>
                <a:gd name="T10" fmla="*/ 176 w 708"/>
                <a:gd name="T11" fmla="*/ 24 h 103"/>
                <a:gd name="T12" fmla="*/ 150 w 708"/>
                <a:gd name="T13" fmla="*/ 0 h 103"/>
                <a:gd name="T14" fmla="*/ 554 w 708"/>
                <a:gd name="T15" fmla="*/ 0 h 103"/>
                <a:gd name="T16" fmla="*/ 473 w 708"/>
                <a:gd name="T17" fmla="*/ 8 h 103"/>
                <a:gd name="T18" fmla="*/ 473 w 708"/>
                <a:gd name="T19" fmla="*/ 94 h 103"/>
                <a:gd name="T20" fmla="*/ 554 w 708"/>
                <a:gd name="T21" fmla="*/ 102 h 103"/>
                <a:gd name="T22" fmla="*/ 635 w 708"/>
                <a:gd name="T23" fmla="*/ 94 h 103"/>
                <a:gd name="T24" fmla="*/ 635 w 708"/>
                <a:gd name="T25" fmla="*/ 65 h 103"/>
                <a:gd name="T26" fmla="*/ 554 w 708"/>
                <a:gd name="T27" fmla="*/ 72 h 103"/>
                <a:gd name="T28" fmla="*/ 508 w 708"/>
                <a:gd name="T29" fmla="*/ 68 h 103"/>
                <a:gd name="T30" fmla="*/ 508 w 708"/>
                <a:gd name="T31" fmla="*/ 34 h 103"/>
                <a:gd name="T32" fmla="*/ 554 w 708"/>
                <a:gd name="T33" fmla="*/ 30 h 103"/>
                <a:gd name="T34" fmla="*/ 635 w 708"/>
                <a:gd name="T35" fmla="*/ 37 h 103"/>
                <a:gd name="T36" fmla="*/ 635 w 708"/>
                <a:gd name="T37" fmla="*/ 8 h 103"/>
                <a:gd name="T38" fmla="*/ 554 w 708"/>
                <a:gd name="T39" fmla="*/ 0 h 103"/>
                <a:gd name="T40" fmla="*/ 434 w 708"/>
                <a:gd name="T41" fmla="*/ 2 h 103"/>
                <a:gd name="T42" fmla="*/ 400 w 708"/>
                <a:gd name="T43" fmla="*/ 2 h 103"/>
                <a:gd name="T44" fmla="*/ 400 w 708"/>
                <a:gd name="T45" fmla="*/ 63 h 103"/>
                <a:gd name="T46" fmla="*/ 336 w 708"/>
                <a:gd name="T47" fmla="*/ 24 h 103"/>
                <a:gd name="T48" fmla="*/ 274 w 708"/>
                <a:gd name="T49" fmla="*/ 2 h 103"/>
                <a:gd name="T50" fmla="*/ 274 w 708"/>
                <a:gd name="T51" fmla="*/ 100 h 103"/>
                <a:gd name="T52" fmla="*/ 309 w 708"/>
                <a:gd name="T53" fmla="*/ 100 h 103"/>
                <a:gd name="T54" fmla="*/ 309 w 708"/>
                <a:gd name="T55" fmla="*/ 48 h 103"/>
                <a:gd name="T56" fmla="*/ 336 w 708"/>
                <a:gd name="T57" fmla="*/ 60 h 103"/>
                <a:gd name="T58" fmla="*/ 400 w 708"/>
                <a:gd name="T59" fmla="*/ 100 h 103"/>
                <a:gd name="T60" fmla="*/ 434 w 708"/>
                <a:gd name="T61" fmla="*/ 100 h 103"/>
                <a:gd name="T62" fmla="*/ 434 w 708"/>
                <a:gd name="T63" fmla="*/ 2 h 103"/>
                <a:gd name="T64" fmla="*/ 708 w 708"/>
                <a:gd name="T65" fmla="*/ 2 h 103"/>
                <a:gd name="T66" fmla="*/ 673 w 708"/>
                <a:gd name="T67" fmla="*/ 2 h 103"/>
                <a:gd name="T68" fmla="*/ 673 w 708"/>
                <a:gd name="T69" fmla="*/ 100 h 103"/>
                <a:gd name="T70" fmla="*/ 708 w 708"/>
                <a:gd name="T71" fmla="*/ 100 h 103"/>
                <a:gd name="T72" fmla="*/ 708 w 708"/>
                <a:gd name="T73" fmla="*/ 2 h 103"/>
                <a:gd name="T74" fmla="*/ 235 w 708"/>
                <a:gd name="T75" fmla="*/ 2 h 103"/>
                <a:gd name="T76" fmla="*/ 199 w 708"/>
                <a:gd name="T77" fmla="*/ 2 h 103"/>
                <a:gd name="T78" fmla="*/ 199 w 708"/>
                <a:gd name="T79" fmla="*/ 100 h 103"/>
                <a:gd name="T80" fmla="*/ 235 w 708"/>
                <a:gd name="T81" fmla="*/ 100 h 103"/>
                <a:gd name="T82" fmla="*/ 235 w 708"/>
                <a:gd name="T83" fmla="*/ 2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08" h="103">
                  <a:moveTo>
                    <a:pt x="150" y="0"/>
                  </a:moveTo>
                  <a:cubicBezTo>
                    <a:pt x="150" y="0"/>
                    <a:pt x="96" y="52"/>
                    <a:pt x="88" y="59"/>
                  </a:cubicBezTo>
                  <a:cubicBezTo>
                    <a:pt x="80" y="52"/>
                    <a:pt x="26" y="0"/>
                    <a:pt x="26" y="0"/>
                  </a:cubicBezTo>
                  <a:cubicBezTo>
                    <a:pt x="0" y="24"/>
                    <a:pt x="0" y="24"/>
                    <a:pt x="0" y="24"/>
                  </a:cubicBezTo>
                  <a:cubicBezTo>
                    <a:pt x="88" y="103"/>
                    <a:pt x="88" y="103"/>
                    <a:pt x="88" y="103"/>
                  </a:cubicBezTo>
                  <a:cubicBezTo>
                    <a:pt x="176" y="24"/>
                    <a:pt x="176" y="24"/>
                    <a:pt x="176" y="24"/>
                  </a:cubicBezTo>
                  <a:lnTo>
                    <a:pt x="150" y="0"/>
                  </a:lnTo>
                  <a:close/>
                  <a:moveTo>
                    <a:pt x="554" y="0"/>
                  </a:moveTo>
                  <a:cubicBezTo>
                    <a:pt x="504" y="0"/>
                    <a:pt x="473" y="8"/>
                    <a:pt x="473" y="8"/>
                  </a:cubicBezTo>
                  <a:cubicBezTo>
                    <a:pt x="473" y="94"/>
                    <a:pt x="473" y="94"/>
                    <a:pt x="473" y="94"/>
                  </a:cubicBezTo>
                  <a:cubicBezTo>
                    <a:pt x="473" y="94"/>
                    <a:pt x="505" y="102"/>
                    <a:pt x="554" y="102"/>
                  </a:cubicBezTo>
                  <a:cubicBezTo>
                    <a:pt x="603" y="102"/>
                    <a:pt x="635" y="94"/>
                    <a:pt x="635" y="94"/>
                  </a:cubicBezTo>
                  <a:cubicBezTo>
                    <a:pt x="635" y="65"/>
                    <a:pt x="635" y="65"/>
                    <a:pt x="635" y="65"/>
                  </a:cubicBezTo>
                  <a:cubicBezTo>
                    <a:pt x="635" y="65"/>
                    <a:pt x="600" y="72"/>
                    <a:pt x="554" y="72"/>
                  </a:cubicBezTo>
                  <a:cubicBezTo>
                    <a:pt x="531" y="72"/>
                    <a:pt x="516" y="69"/>
                    <a:pt x="508" y="68"/>
                  </a:cubicBezTo>
                  <a:cubicBezTo>
                    <a:pt x="508" y="61"/>
                    <a:pt x="508" y="41"/>
                    <a:pt x="508" y="34"/>
                  </a:cubicBezTo>
                  <a:cubicBezTo>
                    <a:pt x="517" y="33"/>
                    <a:pt x="532" y="30"/>
                    <a:pt x="554" y="30"/>
                  </a:cubicBezTo>
                  <a:cubicBezTo>
                    <a:pt x="600" y="30"/>
                    <a:pt x="635" y="37"/>
                    <a:pt x="635" y="37"/>
                  </a:cubicBezTo>
                  <a:cubicBezTo>
                    <a:pt x="635" y="8"/>
                    <a:pt x="635" y="8"/>
                    <a:pt x="635" y="8"/>
                  </a:cubicBezTo>
                  <a:cubicBezTo>
                    <a:pt x="635" y="8"/>
                    <a:pt x="603" y="0"/>
                    <a:pt x="554" y="0"/>
                  </a:cubicBezTo>
                  <a:moveTo>
                    <a:pt x="434" y="2"/>
                  </a:moveTo>
                  <a:cubicBezTo>
                    <a:pt x="400" y="2"/>
                    <a:pt x="400" y="2"/>
                    <a:pt x="400" y="2"/>
                  </a:cubicBezTo>
                  <a:cubicBezTo>
                    <a:pt x="400" y="63"/>
                    <a:pt x="400" y="63"/>
                    <a:pt x="400" y="63"/>
                  </a:cubicBezTo>
                  <a:cubicBezTo>
                    <a:pt x="400" y="63"/>
                    <a:pt x="374" y="44"/>
                    <a:pt x="336" y="24"/>
                  </a:cubicBezTo>
                  <a:cubicBezTo>
                    <a:pt x="303" y="7"/>
                    <a:pt x="274" y="2"/>
                    <a:pt x="274" y="2"/>
                  </a:cubicBezTo>
                  <a:cubicBezTo>
                    <a:pt x="274" y="100"/>
                    <a:pt x="274" y="100"/>
                    <a:pt x="274" y="100"/>
                  </a:cubicBezTo>
                  <a:cubicBezTo>
                    <a:pt x="309" y="100"/>
                    <a:pt x="309" y="100"/>
                    <a:pt x="309" y="100"/>
                  </a:cubicBezTo>
                  <a:cubicBezTo>
                    <a:pt x="309" y="48"/>
                    <a:pt x="309" y="48"/>
                    <a:pt x="309" y="48"/>
                  </a:cubicBezTo>
                  <a:cubicBezTo>
                    <a:pt x="317" y="51"/>
                    <a:pt x="326" y="54"/>
                    <a:pt x="336" y="60"/>
                  </a:cubicBezTo>
                  <a:cubicBezTo>
                    <a:pt x="374" y="79"/>
                    <a:pt x="400" y="100"/>
                    <a:pt x="400" y="100"/>
                  </a:cubicBezTo>
                  <a:cubicBezTo>
                    <a:pt x="434" y="100"/>
                    <a:pt x="434" y="100"/>
                    <a:pt x="434" y="100"/>
                  </a:cubicBezTo>
                  <a:lnTo>
                    <a:pt x="434" y="2"/>
                  </a:lnTo>
                  <a:close/>
                  <a:moveTo>
                    <a:pt x="708" y="2"/>
                  </a:moveTo>
                  <a:cubicBezTo>
                    <a:pt x="673" y="2"/>
                    <a:pt x="673" y="2"/>
                    <a:pt x="673" y="2"/>
                  </a:cubicBezTo>
                  <a:cubicBezTo>
                    <a:pt x="673" y="100"/>
                    <a:pt x="673" y="100"/>
                    <a:pt x="673" y="100"/>
                  </a:cubicBezTo>
                  <a:cubicBezTo>
                    <a:pt x="708" y="100"/>
                    <a:pt x="708" y="100"/>
                    <a:pt x="708" y="100"/>
                  </a:cubicBezTo>
                  <a:lnTo>
                    <a:pt x="708" y="2"/>
                  </a:lnTo>
                  <a:close/>
                  <a:moveTo>
                    <a:pt x="235" y="2"/>
                  </a:moveTo>
                  <a:cubicBezTo>
                    <a:pt x="199" y="2"/>
                    <a:pt x="199" y="2"/>
                    <a:pt x="199" y="2"/>
                  </a:cubicBezTo>
                  <a:cubicBezTo>
                    <a:pt x="199" y="100"/>
                    <a:pt x="199" y="100"/>
                    <a:pt x="199" y="100"/>
                  </a:cubicBezTo>
                  <a:cubicBezTo>
                    <a:pt x="235" y="100"/>
                    <a:pt x="235" y="100"/>
                    <a:pt x="235" y="100"/>
                  </a:cubicBezTo>
                  <a:lnTo>
                    <a:pt x="235" y="2"/>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3" name="Freeform 8"/>
            <p:cNvSpPr>
              <a:spLocks/>
            </p:cNvSpPr>
            <p:nvPr userDrawn="1"/>
          </p:nvSpPr>
          <p:spPr bwMode="auto">
            <a:xfrm>
              <a:off x="5179"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4" name="Freeform 9"/>
            <p:cNvSpPr>
              <a:spLocks/>
            </p:cNvSpPr>
            <p:nvPr userDrawn="1"/>
          </p:nvSpPr>
          <p:spPr bwMode="auto">
            <a:xfrm>
              <a:off x="5200" y="371"/>
              <a:ext cx="24" cy="26"/>
            </a:xfrm>
            <a:custGeom>
              <a:avLst/>
              <a:gdLst>
                <a:gd name="T0" fmla="*/ 39 w 39"/>
                <a:gd name="T1" fmla="*/ 0 h 43"/>
                <a:gd name="T2" fmla="*/ 31 w 39"/>
                <a:gd name="T3" fmla="*/ 0 h 43"/>
                <a:gd name="T4" fmla="*/ 31 w 39"/>
                <a:gd name="T5" fmla="*/ 26 h 43"/>
                <a:gd name="T6" fmla="*/ 31 w 39"/>
                <a:gd name="T7" fmla="*/ 30 h 43"/>
                <a:gd name="T8" fmla="*/ 31 w 39"/>
                <a:gd name="T9" fmla="*/ 30 h 43"/>
                <a:gd name="T10" fmla="*/ 28 w 39"/>
                <a:gd name="T11" fmla="*/ 26 h 43"/>
                <a:gd name="T12" fmla="*/ 10 w 39"/>
                <a:gd name="T13" fmla="*/ 0 h 43"/>
                <a:gd name="T14" fmla="*/ 0 w 39"/>
                <a:gd name="T15" fmla="*/ 0 h 43"/>
                <a:gd name="T16" fmla="*/ 0 w 39"/>
                <a:gd name="T17" fmla="*/ 43 h 43"/>
                <a:gd name="T18" fmla="*/ 9 w 39"/>
                <a:gd name="T19" fmla="*/ 43 h 43"/>
                <a:gd name="T20" fmla="*/ 9 w 39"/>
                <a:gd name="T21" fmla="*/ 16 h 43"/>
                <a:gd name="T22" fmla="*/ 8 w 39"/>
                <a:gd name="T23" fmla="*/ 11 h 43"/>
                <a:gd name="T24" fmla="*/ 8 w 39"/>
                <a:gd name="T25" fmla="*/ 11 h 43"/>
                <a:gd name="T26" fmla="*/ 12 w 39"/>
                <a:gd name="T27" fmla="*/ 15 h 43"/>
                <a:gd name="T28" fmla="*/ 31 w 39"/>
                <a:gd name="T29" fmla="*/ 43 h 43"/>
                <a:gd name="T30" fmla="*/ 39 w 39"/>
                <a:gd name="T31" fmla="*/ 43 h 43"/>
                <a:gd name="T32" fmla="*/ 39 w 39"/>
                <a:gd name="T3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 h="43">
                  <a:moveTo>
                    <a:pt x="39" y="0"/>
                  </a:moveTo>
                  <a:cubicBezTo>
                    <a:pt x="31" y="0"/>
                    <a:pt x="31" y="0"/>
                    <a:pt x="31" y="0"/>
                  </a:cubicBezTo>
                  <a:cubicBezTo>
                    <a:pt x="31" y="26"/>
                    <a:pt x="31" y="26"/>
                    <a:pt x="31" y="26"/>
                  </a:cubicBezTo>
                  <a:cubicBezTo>
                    <a:pt x="31" y="28"/>
                    <a:pt x="31" y="30"/>
                    <a:pt x="31" y="30"/>
                  </a:cubicBezTo>
                  <a:cubicBezTo>
                    <a:pt x="31" y="30"/>
                    <a:pt x="31" y="30"/>
                    <a:pt x="31" y="30"/>
                  </a:cubicBezTo>
                  <a:cubicBezTo>
                    <a:pt x="31" y="30"/>
                    <a:pt x="30" y="28"/>
                    <a:pt x="28" y="26"/>
                  </a:cubicBezTo>
                  <a:cubicBezTo>
                    <a:pt x="10" y="0"/>
                    <a:pt x="10" y="0"/>
                    <a:pt x="10" y="0"/>
                  </a:cubicBezTo>
                  <a:cubicBezTo>
                    <a:pt x="0" y="0"/>
                    <a:pt x="0" y="0"/>
                    <a:pt x="0" y="0"/>
                  </a:cubicBezTo>
                  <a:cubicBezTo>
                    <a:pt x="0" y="43"/>
                    <a:pt x="0" y="43"/>
                    <a:pt x="0" y="43"/>
                  </a:cubicBezTo>
                  <a:cubicBezTo>
                    <a:pt x="9" y="43"/>
                    <a:pt x="9" y="43"/>
                    <a:pt x="9" y="43"/>
                  </a:cubicBezTo>
                  <a:cubicBezTo>
                    <a:pt x="9" y="16"/>
                    <a:pt x="9" y="16"/>
                    <a:pt x="9" y="16"/>
                  </a:cubicBezTo>
                  <a:cubicBezTo>
                    <a:pt x="9" y="13"/>
                    <a:pt x="8" y="11"/>
                    <a:pt x="8" y="11"/>
                  </a:cubicBezTo>
                  <a:cubicBezTo>
                    <a:pt x="8" y="11"/>
                    <a:pt x="8" y="11"/>
                    <a:pt x="8" y="11"/>
                  </a:cubicBezTo>
                  <a:cubicBezTo>
                    <a:pt x="8" y="11"/>
                    <a:pt x="10" y="13"/>
                    <a:pt x="12" y="15"/>
                  </a:cubicBezTo>
                  <a:cubicBezTo>
                    <a:pt x="31" y="43"/>
                    <a:pt x="31" y="43"/>
                    <a:pt x="31" y="43"/>
                  </a:cubicBezTo>
                  <a:cubicBezTo>
                    <a:pt x="39" y="43"/>
                    <a:pt x="39" y="43"/>
                    <a:pt x="39" y="43"/>
                  </a:cubicBezTo>
                  <a:lnTo>
                    <a:pt x="39"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5" name="Freeform 10"/>
            <p:cNvSpPr>
              <a:spLocks/>
            </p:cNvSpPr>
            <p:nvPr userDrawn="1"/>
          </p:nvSpPr>
          <p:spPr bwMode="auto">
            <a:xfrm>
              <a:off x="5231"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6" name="Freeform 11"/>
            <p:cNvSpPr>
              <a:spLocks noEditPoints="1"/>
            </p:cNvSpPr>
            <p:nvPr userDrawn="1"/>
          </p:nvSpPr>
          <p:spPr bwMode="auto">
            <a:xfrm>
              <a:off x="5253" y="371"/>
              <a:ext cx="21" cy="26"/>
            </a:xfrm>
            <a:custGeom>
              <a:avLst/>
              <a:gdLst>
                <a:gd name="T0" fmla="*/ 14 w 35"/>
                <a:gd name="T1" fmla="*/ 0 h 43"/>
                <a:gd name="T2" fmla="*/ 0 w 35"/>
                <a:gd name="T3" fmla="*/ 2 h 43"/>
                <a:gd name="T4" fmla="*/ 0 w 35"/>
                <a:gd name="T5" fmla="*/ 43 h 43"/>
                <a:gd name="T6" fmla="*/ 9 w 35"/>
                <a:gd name="T7" fmla="*/ 43 h 43"/>
                <a:gd name="T8" fmla="*/ 9 w 35"/>
                <a:gd name="T9" fmla="*/ 23 h 43"/>
                <a:gd name="T10" fmla="*/ 9 w 35"/>
                <a:gd name="T11" fmla="*/ 23 h 43"/>
                <a:gd name="T12" fmla="*/ 24 w 35"/>
                <a:gd name="T13" fmla="*/ 43 h 43"/>
                <a:gd name="T14" fmla="*/ 35 w 35"/>
                <a:gd name="T15" fmla="*/ 43 h 43"/>
                <a:gd name="T16" fmla="*/ 19 w 35"/>
                <a:gd name="T17" fmla="*/ 24 h 43"/>
                <a:gd name="T18" fmla="*/ 19 w 35"/>
                <a:gd name="T19" fmla="*/ 24 h 43"/>
                <a:gd name="T20" fmla="*/ 33 w 35"/>
                <a:gd name="T21" fmla="*/ 13 h 43"/>
                <a:gd name="T22" fmla="*/ 14 w 35"/>
                <a:gd name="T23" fmla="*/ 0 h 43"/>
                <a:gd name="T24" fmla="*/ 13 w 35"/>
                <a:gd name="T25" fmla="*/ 22 h 43"/>
                <a:gd name="T26" fmla="*/ 9 w 35"/>
                <a:gd name="T27" fmla="*/ 22 h 43"/>
                <a:gd name="T28" fmla="*/ 9 w 35"/>
                <a:gd name="T29" fmla="*/ 5 h 43"/>
                <a:gd name="T30" fmla="*/ 14 w 35"/>
                <a:gd name="T31" fmla="*/ 4 h 43"/>
                <a:gd name="T32" fmla="*/ 24 w 35"/>
                <a:gd name="T33" fmla="*/ 13 h 43"/>
                <a:gd name="T34" fmla="*/ 13 w 35"/>
                <a:gd name="T3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43">
                  <a:moveTo>
                    <a:pt x="14" y="0"/>
                  </a:moveTo>
                  <a:cubicBezTo>
                    <a:pt x="8" y="0"/>
                    <a:pt x="3" y="1"/>
                    <a:pt x="0" y="2"/>
                  </a:cubicBezTo>
                  <a:cubicBezTo>
                    <a:pt x="0" y="43"/>
                    <a:pt x="0" y="43"/>
                    <a:pt x="0" y="43"/>
                  </a:cubicBezTo>
                  <a:cubicBezTo>
                    <a:pt x="9" y="43"/>
                    <a:pt x="9" y="43"/>
                    <a:pt x="9" y="43"/>
                  </a:cubicBezTo>
                  <a:cubicBezTo>
                    <a:pt x="9" y="23"/>
                    <a:pt x="9" y="23"/>
                    <a:pt x="9" y="23"/>
                  </a:cubicBezTo>
                  <a:cubicBezTo>
                    <a:pt x="9" y="23"/>
                    <a:pt x="9" y="23"/>
                    <a:pt x="9" y="23"/>
                  </a:cubicBezTo>
                  <a:cubicBezTo>
                    <a:pt x="24" y="43"/>
                    <a:pt x="24" y="43"/>
                    <a:pt x="24" y="43"/>
                  </a:cubicBezTo>
                  <a:cubicBezTo>
                    <a:pt x="35" y="43"/>
                    <a:pt x="35" y="43"/>
                    <a:pt x="35" y="43"/>
                  </a:cubicBezTo>
                  <a:cubicBezTo>
                    <a:pt x="19" y="24"/>
                    <a:pt x="19" y="24"/>
                    <a:pt x="19" y="24"/>
                  </a:cubicBezTo>
                  <a:cubicBezTo>
                    <a:pt x="19" y="24"/>
                    <a:pt x="19" y="24"/>
                    <a:pt x="19" y="24"/>
                  </a:cubicBezTo>
                  <a:cubicBezTo>
                    <a:pt x="28" y="23"/>
                    <a:pt x="33" y="19"/>
                    <a:pt x="33" y="13"/>
                  </a:cubicBezTo>
                  <a:cubicBezTo>
                    <a:pt x="33" y="5"/>
                    <a:pt x="27" y="0"/>
                    <a:pt x="14" y="0"/>
                  </a:cubicBezTo>
                  <a:moveTo>
                    <a:pt x="13" y="22"/>
                  </a:moveTo>
                  <a:cubicBezTo>
                    <a:pt x="11" y="22"/>
                    <a:pt x="10" y="22"/>
                    <a:pt x="9" y="22"/>
                  </a:cubicBezTo>
                  <a:cubicBezTo>
                    <a:pt x="9" y="5"/>
                    <a:pt x="9" y="5"/>
                    <a:pt x="9" y="5"/>
                  </a:cubicBezTo>
                  <a:cubicBezTo>
                    <a:pt x="10" y="5"/>
                    <a:pt x="12" y="4"/>
                    <a:pt x="14" y="4"/>
                  </a:cubicBezTo>
                  <a:cubicBezTo>
                    <a:pt x="21" y="4"/>
                    <a:pt x="24" y="7"/>
                    <a:pt x="24" y="13"/>
                  </a:cubicBezTo>
                  <a:cubicBezTo>
                    <a:pt x="24" y="19"/>
                    <a:pt x="20" y="22"/>
                    <a:pt x="13" y="22"/>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7" name="Freeform 12"/>
            <p:cNvSpPr>
              <a:spLocks/>
            </p:cNvSpPr>
            <p:nvPr userDrawn="1"/>
          </p:nvSpPr>
          <p:spPr bwMode="auto">
            <a:xfrm>
              <a:off x="5278" y="371"/>
              <a:ext cx="23" cy="26"/>
            </a:xfrm>
            <a:custGeom>
              <a:avLst/>
              <a:gdLst>
                <a:gd name="T0" fmla="*/ 23 w 37"/>
                <a:gd name="T1" fmla="*/ 0 h 43"/>
                <a:gd name="T2" fmla="*/ 0 w 37"/>
                <a:gd name="T3" fmla="*/ 21 h 43"/>
                <a:gd name="T4" fmla="*/ 23 w 37"/>
                <a:gd name="T5" fmla="*/ 43 h 43"/>
                <a:gd name="T6" fmla="*/ 37 w 37"/>
                <a:gd name="T7" fmla="*/ 41 h 43"/>
                <a:gd name="T8" fmla="*/ 37 w 37"/>
                <a:gd name="T9" fmla="*/ 18 h 43"/>
                <a:gd name="T10" fmla="*/ 20 w 37"/>
                <a:gd name="T11" fmla="*/ 18 h 43"/>
                <a:gd name="T12" fmla="*/ 20 w 37"/>
                <a:gd name="T13" fmla="*/ 23 h 43"/>
                <a:gd name="T14" fmla="*/ 27 w 37"/>
                <a:gd name="T15" fmla="*/ 23 h 43"/>
                <a:gd name="T16" fmla="*/ 27 w 37"/>
                <a:gd name="T17" fmla="*/ 37 h 43"/>
                <a:gd name="T18" fmla="*/ 22 w 37"/>
                <a:gd name="T19" fmla="*/ 38 h 43"/>
                <a:gd name="T20" fmla="*/ 9 w 37"/>
                <a:gd name="T21" fmla="*/ 22 h 43"/>
                <a:gd name="T22" fmla="*/ 24 w 37"/>
                <a:gd name="T23" fmla="*/ 5 h 43"/>
                <a:gd name="T24" fmla="*/ 33 w 37"/>
                <a:gd name="T25" fmla="*/ 7 h 43"/>
                <a:gd name="T26" fmla="*/ 36 w 37"/>
                <a:gd name="T27" fmla="*/ 2 h 43"/>
                <a:gd name="T28" fmla="*/ 23 w 37"/>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 h="43">
                  <a:moveTo>
                    <a:pt x="23" y="0"/>
                  </a:moveTo>
                  <a:cubicBezTo>
                    <a:pt x="9" y="0"/>
                    <a:pt x="0" y="8"/>
                    <a:pt x="0" y="21"/>
                  </a:cubicBezTo>
                  <a:cubicBezTo>
                    <a:pt x="0" y="35"/>
                    <a:pt x="9" y="43"/>
                    <a:pt x="23" y="43"/>
                  </a:cubicBezTo>
                  <a:cubicBezTo>
                    <a:pt x="30" y="43"/>
                    <a:pt x="33" y="42"/>
                    <a:pt x="37" y="41"/>
                  </a:cubicBezTo>
                  <a:cubicBezTo>
                    <a:pt x="37" y="18"/>
                    <a:pt x="37" y="18"/>
                    <a:pt x="37" y="18"/>
                  </a:cubicBezTo>
                  <a:cubicBezTo>
                    <a:pt x="20" y="18"/>
                    <a:pt x="20" y="18"/>
                    <a:pt x="20" y="18"/>
                  </a:cubicBezTo>
                  <a:cubicBezTo>
                    <a:pt x="20" y="23"/>
                    <a:pt x="20" y="23"/>
                    <a:pt x="20" y="23"/>
                  </a:cubicBezTo>
                  <a:cubicBezTo>
                    <a:pt x="27" y="23"/>
                    <a:pt x="27" y="23"/>
                    <a:pt x="27" y="23"/>
                  </a:cubicBezTo>
                  <a:cubicBezTo>
                    <a:pt x="27" y="37"/>
                    <a:pt x="27" y="37"/>
                    <a:pt x="27" y="37"/>
                  </a:cubicBezTo>
                  <a:cubicBezTo>
                    <a:pt x="27" y="37"/>
                    <a:pt x="25" y="38"/>
                    <a:pt x="22" y="38"/>
                  </a:cubicBezTo>
                  <a:cubicBezTo>
                    <a:pt x="15" y="38"/>
                    <a:pt x="9" y="32"/>
                    <a:pt x="9" y="22"/>
                  </a:cubicBezTo>
                  <a:cubicBezTo>
                    <a:pt x="9" y="10"/>
                    <a:pt x="15" y="5"/>
                    <a:pt x="24" y="5"/>
                  </a:cubicBezTo>
                  <a:cubicBezTo>
                    <a:pt x="28" y="5"/>
                    <a:pt x="31" y="6"/>
                    <a:pt x="33" y="7"/>
                  </a:cubicBezTo>
                  <a:cubicBezTo>
                    <a:pt x="36" y="2"/>
                    <a:pt x="36" y="2"/>
                    <a:pt x="36" y="2"/>
                  </a:cubicBezTo>
                  <a:cubicBezTo>
                    <a:pt x="33" y="1"/>
                    <a:pt x="29" y="0"/>
                    <a:pt x="23"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8" name="Rectangle 13"/>
            <p:cNvSpPr>
              <a:spLocks noChangeArrowheads="1"/>
            </p:cNvSpPr>
            <p:nvPr userDrawn="1"/>
          </p:nvSpPr>
          <p:spPr bwMode="auto">
            <a:xfrm>
              <a:off x="5307" y="371"/>
              <a:ext cx="7" cy="26"/>
            </a:xfrm>
            <a:prstGeom prst="rect">
              <a:avLst/>
            </a:prstGeom>
            <a:solidFill>
              <a:srgbClr val="00448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9" name="Freeform 14"/>
            <p:cNvSpPr>
              <a:spLocks/>
            </p:cNvSpPr>
            <p:nvPr userDrawn="1"/>
          </p:nvSpPr>
          <p:spPr bwMode="auto">
            <a:xfrm>
              <a:off x="5320"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7 w 16"/>
                <a:gd name="T11" fmla="*/ 22 h 26"/>
                <a:gd name="T12" fmla="*/ 7 w 16"/>
                <a:gd name="T13" fmla="*/ 14 h 26"/>
                <a:gd name="T14" fmla="*/ 15 w 16"/>
                <a:gd name="T15" fmla="*/ 14 h 26"/>
                <a:gd name="T16" fmla="*/ 15 w 16"/>
                <a:gd name="T17" fmla="*/ 11 h 26"/>
                <a:gd name="T18" fmla="*/ 7 w 16"/>
                <a:gd name="T19" fmla="*/ 11 h 26"/>
                <a:gd name="T20" fmla="*/ 7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7" y="22"/>
                  </a:lnTo>
                  <a:lnTo>
                    <a:pt x="7" y="14"/>
                  </a:lnTo>
                  <a:lnTo>
                    <a:pt x="15" y="14"/>
                  </a:lnTo>
                  <a:lnTo>
                    <a:pt x="15" y="11"/>
                  </a:lnTo>
                  <a:lnTo>
                    <a:pt x="7" y="11"/>
                  </a:lnTo>
                  <a:lnTo>
                    <a:pt x="7"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30" name="Freeform 15"/>
            <p:cNvSpPr>
              <a:spLocks/>
            </p:cNvSpPr>
            <p:nvPr userDrawn="1"/>
          </p:nvSpPr>
          <p:spPr bwMode="auto">
            <a:xfrm>
              <a:off x="5340" y="371"/>
              <a:ext cx="19" cy="26"/>
            </a:xfrm>
            <a:custGeom>
              <a:avLst/>
              <a:gdLst>
                <a:gd name="T0" fmla="*/ 16 w 30"/>
                <a:gd name="T1" fmla="*/ 0 h 43"/>
                <a:gd name="T2" fmla="*/ 0 w 30"/>
                <a:gd name="T3" fmla="*/ 12 h 43"/>
                <a:gd name="T4" fmla="*/ 11 w 30"/>
                <a:gd name="T5" fmla="*/ 24 h 43"/>
                <a:gd name="T6" fmla="*/ 19 w 30"/>
                <a:gd name="T7" fmla="*/ 31 h 43"/>
                <a:gd name="T8" fmla="*/ 11 w 30"/>
                <a:gd name="T9" fmla="*/ 37 h 43"/>
                <a:gd name="T10" fmla="*/ 2 w 30"/>
                <a:gd name="T11" fmla="*/ 35 h 43"/>
                <a:gd name="T12" fmla="*/ 0 w 30"/>
                <a:gd name="T13" fmla="*/ 41 h 43"/>
                <a:gd name="T14" fmla="*/ 13 w 30"/>
                <a:gd name="T15" fmla="*/ 43 h 43"/>
                <a:gd name="T16" fmla="*/ 30 w 30"/>
                <a:gd name="T17" fmla="*/ 30 h 43"/>
                <a:gd name="T18" fmla="*/ 18 w 30"/>
                <a:gd name="T19" fmla="*/ 18 h 43"/>
                <a:gd name="T20" fmla="*/ 10 w 30"/>
                <a:gd name="T21" fmla="*/ 11 h 43"/>
                <a:gd name="T22" fmla="*/ 17 w 30"/>
                <a:gd name="T23" fmla="*/ 5 h 43"/>
                <a:gd name="T24" fmla="*/ 25 w 30"/>
                <a:gd name="T25" fmla="*/ 7 h 43"/>
                <a:gd name="T26" fmla="*/ 28 w 30"/>
                <a:gd name="T27" fmla="*/ 2 h 43"/>
                <a:gd name="T28" fmla="*/ 16 w 30"/>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43">
                  <a:moveTo>
                    <a:pt x="16" y="0"/>
                  </a:moveTo>
                  <a:cubicBezTo>
                    <a:pt x="6" y="0"/>
                    <a:pt x="0" y="6"/>
                    <a:pt x="0" y="12"/>
                  </a:cubicBezTo>
                  <a:cubicBezTo>
                    <a:pt x="0" y="16"/>
                    <a:pt x="3" y="21"/>
                    <a:pt x="11" y="24"/>
                  </a:cubicBezTo>
                  <a:cubicBezTo>
                    <a:pt x="17" y="26"/>
                    <a:pt x="19" y="28"/>
                    <a:pt x="19" y="31"/>
                  </a:cubicBezTo>
                  <a:cubicBezTo>
                    <a:pt x="19" y="35"/>
                    <a:pt x="16" y="37"/>
                    <a:pt x="11" y="37"/>
                  </a:cubicBezTo>
                  <a:cubicBezTo>
                    <a:pt x="7" y="37"/>
                    <a:pt x="4" y="36"/>
                    <a:pt x="2" y="35"/>
                  </a:cubicBezTo>
                  <a:cubicBezTo>
                    <a:pt x="0" y="41"/>
                    <a:pt x="0" y="41"/>
                    <a:pt x="0" y="41"/>
                  </a:cubicBezTo>
                  <a:cubicBezTo>
                    <a:pt x="3" y="42"/>
                    <a:pt x="7" y="43"/>
                    <a:pt x="13" y="43"/>
                  </a:cubicBezTo>
                  <a:cubicBezTo>
                    <a:pt x="23" y="43"/>
                    <a:pt x="30" y="38"/>
                    <a:pt x="30" y="30"/>
                  </a:cubicBezTo>
                  <a:cubicBezTo>
                    <a:pt x="30" y="26"/>
                    <a:pt x="28" y="22"/>
                    <a:pt x="18" y="18"/>
                  </a:cubicBezTo>
                  <a:cubicBezTo>
                    <a:pt x="13" y="17"/>
                    <a:pt x="10" y="15"/>
                    <a:pt x="10" y="11"/>
                  </a:cubicBezTo>
                  <a:cubicBezTo>
                    <a:pt x="10" y="7"/>
                    <a:pt x="13" y="5"/>
                    <a:pt x="17" y="5"/>
                  </a:cubicBezTo>
                  <a:cubicBezTo>
                    <a:pt x="21" y="5"/>
                    <a:pt x="24" y="6"/>
                    <a:pt x="25" y="7"/>
                  </a:cubicBezTo>
                  <a:cubicBezTo>
                    <a:pt x="28" y="2"/>
                    <a:pt x="28" y="2"/>
                    <a:pt x="28" y="2"/>
                  </a:cubicBezTo>
                  <a:cubicBezTo>
                    <a:pt x="25" y="1"/>
                    <a:pt x="21" y="0"/>
                    <a:pt x="16"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grpSp>
      <p:pic>
        <p:nvPicPr>
          <p:cNvPr id="31" name="Image 3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3" name="Espace réservé du texte 2"/>
          <p:cNvSpPr>
            <a:spLocks noGrp="1"/>
          </p:cNvSpPr>
          <p:nvPr>
            <p:ph type="body" sz="quarter" idx="11"/>
          </p:nvPr>
        </p:nvSpPr>
        <p:spPr>
          <a:xfrm>
            <a:off x="838200" y="4813583"/>
            <a:ext cx="10543117" cy="983968"/>
          </a:xfrm>
        </p:spPr>
        <p:txBody>
          <a:bodyPr/>
          <a:lstStyle>
            <a:lvl1pPr marL="0" indent="0" algn="ctr">
              <a:buFontTx/>
              <a:buNone/>
              <a:defRPr sz="2400">
                <a:solidFill>
                  <a:schemeClr val="accent2"/>
                </a:solidFill>
              </a:defRPr>
            </a:lvl1pPr>
          </a:lstStyle>
          <a:p>
            <a:pPr lvl="0"/>
            <a:endParaRPr lang="en-GB" dirty="0"/>
          </a:p>
        </p:txBody>
      </p:sp>
      <p:grpSp>
        <p:nvGrpSpPr>
          <p:cNvPr id="19" name="Groupe 18" hidden="1"/>
          <p:cNvGrpSpPr/>
          <p:nvPr userDrawn="1"/>
        </p:nvGrpSpPr>
        <p:grpSpPr>
          <a:xfrm rot="20057793">
            <a:off x="-613277" y="1966879"/>
            <a:ext cx="1226557" cy="1226557"/>
            <a:chOff x="4580002" y="2570126"/>
            <a:chExt cx="439952" cy="439952"/>
          </a:xfrm>
        </p:grpSpPr>
        <p:sp>
          <p:nvSpPr>
            <p:cNvPr id="32" name="Ellipse 31"/>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dirty="0"/>
            </a:p>
          </p:txBody>
        </p:sp>
        <p:grpSp>
          <p:nvGrpSpPr>
            <p:cNvPr id="33"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34"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p>
            </p:txBody>
          </p:sp>
          <p:sp>
            <p:nvSpPr>
              <p:cNvPr id="35"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6"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7"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8"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sp>
        <p:nvSpPr>
          <p:cNvPr id="111" name="Espace réservé pour une image  110"/>
          <p:cNvSpPr>
            <a:spLocks noGrp="1"/>
          </p:cNvSpPr>
          <p:nvPr>
            <p:ph type="pic" sz="quarter" idx="10"/>
          </p:nvPr>
        </p:nvSpPr>
        <p:spPr>
          <a:xfrm>
            <a:off x="0" y="2"/>
            <a:ext cx="12188317" cy="3343148"/>
          </a:xfrm>
          <a:custGeom>
            <a:avLst/>
            <a:gdLst>
              <a:gd name="connsiteX0" fmla="*/ 0 w 9141238"/>
              <a:gd name="connsiteY0" fmla="*/ 0 h 2507361"/>
              <a:gd name="connsiteX1" fmla="*/ 9141238 w 9141238"/>
              <a:gd name="connsiteY1" fmla="*/ 10160 h 2507361"/>
              <a:gd name="connsiteX2" fmla="*/ 9133840 w 9141238"/>
              <a:gd name="connsiteY2" fmla="*/ 2170430 h 2507361"/>
              <a:gd name="connsiteX3" fmla="*/ 2762782 w 9141238"/>
              <a:gd name="connsiteY3" fmla="*/ 2507361 h 2507361"/>
              <a:gd name="connsiteX4" fmla="*/ 2746139 w 9141238"/>
              <a:gd name="connsiteY4" fmla="*/ 2442020 h 2507361"/>
              <a:gd name="connsiteX5" fmla="*/ 2416736 w 9141238"/>
              <a:gd name="connsiteY5" fmla="*/ 2326687 h 2507361"/>
              <a:gd name="connsiteX6" fmla="*/ 2338592 w 9141238"/>
              <a:gd name="connsiteY6" fmla="*/ 2385825 h 2507361"/>
              <a:gd name="connsiteX7" fmla="*/ 2292338 w 9141238"/>
              <a:gd name="connsiteY7" fmla="*/ 2464954 h 2507361"/>
              <a:gd name="connsiteX8" fmla="*/ 454666 w 9141238"/>
              <a:gd name="connsiteY8" fmla="*/ 2041515 h 2507361"/>
              <a:gd name="connsiteX9" fmla="*/ 469157 w 9141238"/>
              <a:gd name="connsiteY9" fmla="*/ 1942001 h 2507361"/>
              <a:gd name="connsiteX10" fmla="*/ 424076 w 9141238"/>
              <a:gd name="connsiteY10" fmla="*/ 1765003 h 2507361"/>
              <a:gd name="connsiteX11" fmla="*/ 75929 w 9141238"/>
              <a:gd name="connsiteY11" fmla="*/ 1509291 h 2507361"/>
              <a:gd name="connsiteX12" fmla="*/ 0 w 9141238"/>
              <a:gd name="connsiteY12" fmla="*/ 1505592 h 2507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1238" h="2507361">
                <a:moveTo>
                  <a:pt x="0" y="0"/>
                </a:moveTo>
                <a:lnTo>
                  <a:pt x="9141238" y="10160"/>
                </a:lnTo>
                <a:lnTo>
                  <a:pt x="9133840" y="2170430"/>
                </a:lnTo>
                <a:lnTo>
                  <a:pt x="2762782" y="2507361"/>
                </a:lnTo>
                <a:lnTo>
                  <a:pt x="2746139" y="2442020"/>
                </a:lnTo>
                <a:cubicBezTo>
                  <a:pt x="2687025" y="2319210"/>
                  <a:pt x="2539547" y="2267574"/>
                  <a:pt x="2416736" y="2326687"/>
                </a:cubicBezTo>
                <a:cubicBezTo>
                  <a:pt x="2386034" y="2341466"/>
                  <a:pt x="2359780" y="2361767"/>
                  <a:pt x="2338592" y="2385825"/>
                </a:cubicBezTo>
                <a:lnTo>
                  <a:pt x="2292338" y="2464954"/>
                </a:lnTo>
                <a:lnTo>
                  <a:pt x="454666" y="2041515"/>
                </a:lnTo>
                <a:lnTo>
                  <a:pt x="469157" y="1942001"/>
                </a:lnTo>
                <a:cubicBezTo>
                  <a:pt x="466262" y="1882322"/>
                  <a:pt x="451619" y="1822226"/>
                  <a:pt x="424076" y="1765003"/>
                </a:cubicBezTo>
                <a:cubicBezTo>
                  <a:pt x="355216" y="1621945"/>
                  <a:pt x="222023" y="1530705"/>
                  <a:pt x="75929" y="1509291"/>
                </a:cubicBezTo>
                <a:lnTo>
                  <a:pt x="0" y="1505592"/>
                </a:lnTo>
                <a:close/>
              </a:path>
            </a:pathLst>
          </a:custGeom>
          <a:solidFill>
            <a:schemeClr val="bg1">
              <a:lumMod val="95000"/>
            </a:schemeClr>
          </a:solidFill>
        </p:spPr>
        <p:txBody>
          <a:bodyPr wrap="square">
            <a:noAutofit/>
          </a:bodyPr>
          <a:lstStyle>
            <a:lvl1pPr>
              <a:defRPr>
                <a:noFill/>
              </a:defRPr>
            </a:lvl1pPr>
          </a:lstStyle>
          <a:p>
            <a:endParaRPr lang="en-GB"/>
          </a:p>
        </p:txBody>
      </p:sp>
      <p:grpSp>
        <p:nvGrpSpPr>
          <p:cNvPr id="94" name="Groupe 93"/>
          <p:cNvGrpSpPr/>
          <p:nvPr userDrawn="1"/>
        </p:nvGrpSpPr>
        <p:grpSpPr>
          <a:xfrm rot="20057793">
            <a:off x="3035980" y="3068823"/>
            <a:ext cx="658099" cy="658099"/>
            <a:chOff x="4580002" y="2570126"/>
            <a:chExt cx="439952" cy="439952"/>
          </a:xfrm>
        </p:grpSpPr>
        <p:sp>
          <p:nvSpPr>
            <p:cNvPr id="95" name="Ellipse 94"/>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dirty="0"/>
            </a:p>
          </p:txBody>
        </p:sp>
        <p:grpSp>
          <p:nvGrpSpPr>
            <p:cNvPr id="96"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97"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p>
            </p:txBody>
          </p:sp>
          <p:sp>
            <p:nvSpPr>
              <p:cNvPr id="98"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9"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0"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1"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102" name="Groupe 101"/>
          <p:cNvGrpSpPr/>
          <p:nvPr userDrawn="1"/>
        </p:nvGrpSpPr>
        <p:grpSpPr>
          <a:xfrm rot="20057793">
            <a:off x="-600439" y="2005178"/>
            <a:ext cx="1226557" cy="1226557"/>
            <a:chOff x="4580002" y="2570126"/>
            <a:chExt cx="439952" cy="439952"/>
          </a:xfrm>
        </p:grpSpPr>
        <p:sp>
          <p:nvSpPr>
            <p:cNvPr id="103" name="Ellipse 102"/>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dirty="0"/>
            </a:p>
          </p:txBody>
        </p:sp>
        <p:grpSp>
          <p:nvGrpSpPr>
            <p:cNvPr id="104"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105"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p>
            </p:txBody>
          </p:sp>
          <p:sp>
            <p:nvSpPr>
              <p:cNvPr id="106"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7"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8"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9"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spTree>
    <p:extLst>
      <p:ext uri="{BB962C8B-B14F-4D97-AF65-F5344CB8AC3E}">
        <p14:creationId xmlns:p14="http://schemas.microsoft.com/office/powerpoint/2010/main" val="2739613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12"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3"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4"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15" name="Rectangle 14"/>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16"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3" name="Espace réservé du contenu 2"/>
          <p:cNvSpPr>
            <a:spLocks noGrp="1"/>
          </p:cNvSpPr>
          <p:nvPr>
            <p:ph idx="1" hasCustomPrompt="1"/>
          </p:nvPr>
        </p:nvSpPr>
        <p:spPr/>
        <p:txBody>
          <a:body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p:txBody>
      </p:sp>
      <p:sp>
        <p:nvSpPr>
          <p:cNvPr id="4" name="Titre 3"/>
          <p:cNvSpPr>
            <a:spLocks noGrp="1"/>
          </p:cNvSpPr>
          <p:nvPr>
            <p:ph type="title"/>
          </p:nvPr>
        </p:nvSpPr>
        <p:spPr/>
        <p:txBody>
          <a:bodyPr/>
          <a:lstStyle>
            <a:lvl1pPr>
              <a:defRPr>
                <a:solidFill>
                  <a:schemeClr val="accent1"/>
                </a:solidFill>
              </a:defRPr>
            </a:lvl1pPr>
          </a:lstStyle>
          <a:p>
            <a:r>
              <a:rPr lang="en-GB" dirty="0"/>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dirty="0"/>
              <a:t>| </a:t>
            </a:r>
            <a:r>
              <a:rPr lang="fr-FR" dirty="0" err="1"/>
              <a:t>Improving</a:t>
            </a:r>
            <a:r>
              <a:rPr lang="fr-FR" dirty="0"/>
              <a:t> </a:t>
            </a:r>
            <a:r>
              <a:rPr lang="fr-FR" dirty="0" err="1"/>
              <a:t>industrial</a:t>
            </a:r>
            <a:r>
              <a:rPr lang="fr-FR" dirty="0"/>
              <a:t> performance</a:t>
            </a:r>
          </a:p>
        </p:txBody>
      </p:sp>
    </p:spTree>
    <p:extLst>
      <p:ext uri="{BB962C8B-B14F-4D97-AF65-F5344CB8AC3E}">
        <p14:creationId xmlns:p14="http://schemas.microsoft.com/office/powerpoint/2010/main" val="10863487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grpId="0" nodeType="withEffect">
                                  <p:stCondLst>
                                    <p:cond delay="0"/>
                                  </p:stCondLst>
                                  <p:childTnLst>
                                    <p:animRot by="21600000">
                                      <p:cBhvr>
                                        <p:cTn id="6" dur="4000" fill="hold"/>
                                        <p:tgtEl>
                                          <p:spTgt spid="14"/>
                                        </p:tgtEl>
                                        <p:attrNameLst>
                                          <p:attrName>r</p:attrName>
                                        </p:attrNameLst>
                                      </p:cBhvr>
                                    </p:animRot>
                                  </p:childTnLst>
                                </p:cTn>
                              </p:par>
                              <p:par>
                                <p:cTn id="7" presetID="8" presetClass="emph" presetSubtype="0" repeatCount="indefinite" fill="hold" grpId="0" nodeType="withEffect">
                                  <p:stCondLst>
                                    <p:cond delay="0"/>
                                  </p:stCondLst>
                                  <p:childTnLst>
                                    <p:animRot by="-21600000">
                                      <p:cBhvr>
                                        <p:cTn id="8" dur="4000" fill="hold"/>
                                        <p:tgtEl>
                                          <p:spTgt spid="12"/>
                                        </p:tgtEl>
                                        <p:attrNameLst>
                                          <p:attrName>r</p:attrName>
                                        </p:attrNameLst>
                                      </p:cBhvr>
                                    </p:animRot>
                                  </p:childTnLst>
                                </p:cTn>
                              </p:par>
                              <p:par>
                                <p:cTn id="9" presetID="8" presetClass="emph" presetSubtype="0" repeatCount="indefinite" fill="hold" grpId="0" nodeType="withEffect">
                                  <p:stCondLst>
                                    <p:cond delay="0"/>
                                  </p:stCondLst>
                                  <p:childTnLst>
                                    <p:animRot by="21600000">
                                      <p:cBhvr>
                                        <p:cTn id="10" dur="4000" fill="hold"/>
                                        <p:tgtEl>
                                          <p:spTgt spid="16"/>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 grpId="0" animBg="1"/>
      <p:bldP spid="16" grpId="0" animBg="1"/>
    </p:bld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content &amp; image">
    <p:spTree>
      <p:nvGrpSpPr>
        <p:cNvPr id="1" name=""/>
        <p:cNvGrpSpPr/>
        <p:nvPr/>
      </p:nvGrpSpPr>
      <p:grpSpPr>
        <a:xfrm>
          <a:off x="0" y="0"/>
          <a:ext cx="0" cy="0"/>
          <a:chOff x="0" y="0"/>
          <a:chExt cx="0" cy="0"/>
        </a:xfrm>
      </p:grpSpPr>
      <p:sp>
        <p:nvSpPr>
          <p:cNvPr id="13"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4"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6"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17" name="Rectangle 16"/>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18"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3" name="Content Placeholder 2"/>
          <p:cNvSpPr>
            <a:spLocks noGrp="1"/>
          </p:cNvSpPr>
          <p:nvPr>
            <p:ph idx="1" hasCustomPrompt="1"/>
          </p:nvPr>
        </p:nvSpPr>
        <p:spPr>
          <a:xfrm>
            <a:off x="363166" y="1600202"/>
            <a:ext cx="5556725" cy="4325076"/>
          </a:xfrm>
        </p:spPr>
        <p:txBody>
          <a:body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p:txBody>
      </p:sp>
      <p:sp>
        <p:nvSpPr>
          <p:cNvPr id="4" name="Titre 3"/>
          <p:cNvSpPr>
            <a:spLocks noGrp="1"/>
          </p:cNvSpPr>
          <p:nvPr>
            <p:ph type="title"/>
          </p:nvPr>
        </p:nvSpPr>
        <p:spPr/>
        <p:txBody>
          <a:bodyPr/>
          <a:lstStyle>
            <a:lvl1pPr>
              <a:defRPr>
                <a:solidFill>
                  <a:schemeClr val="accent1"/>
                </a:solidFill>
              </a:defRPr>
            </a:lvl1pPr>
          </a:lstStyle>
          <a:p>
            <a:r>
              <a:rPr lang="en-GB" dirty="0"/>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15" name="Picture Placeholder 6"/>
          <p:cNvSpPr>
            <a:spLocks noGrp="1"/>
          </p:cNvSpPr>
          <p:nvPr>
            <p:ph type="pic" sz="quarter" idx="10"/>
          </p:nvPr>
        </p:nvSpPr>
        <p:spPr>
          <a:xfrm>
            <a:off x="6286364" y="1600202"/>
            <a:ext cx="5556725" cy="4325076"/>
          </a:xfrm>
          <a:prstGeom prst="roundRect">
            <a:avLst>
              <a:gd name="adj" fmla="val 14526"/>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GB" sz="2400">
                <a:solidFill>
                  <a:schemeClr val="lt1"/>
                </a:solidFill>
                <a:latin typeface="+mn-lt"/>
              </a:defRPr>
            </a:lvl1pPr>
          </a:lstStyle>
          <a:p>
            <a:pPr marL="0" lvl="0" algn="ctr"/>
            <a:endParaRPr lang="en-GB"/>
          </a:p>
        </p:txBody>
      </p:sp>
      <p:sp>
        <p:nvSpPr>
          <p:cNvPr id="5" name="Espace réservé du pied de page 4"/>
          <p:cNvSpPr>
            <a:spLocks noGrp="1"/>
          </p:cNvSpPr>
          <p:nvPr>
            <p:ph type="ftr" sz="quarter" idx="11"/>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3171865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Blue background">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pic>
        <p:nvPicPr>
          <p:cNvPr id="21" name="Image 2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4" name="Titre 3"/>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2" name="Espace réservé du contenu 2"/>
          <p:cNvSpPr>
            <a:spLocks noGrp="1"/>
          </p:cNvSpPr>
          <p:nvPr>
            <p:ph idx="1" hasCustomPrompt="1"/>
          </p:nvPr>
        </p:nvSpPr>
        <p:spPr>
          <a:xfrm>
            <a:off x="363166" y="1600202"/>
            <a:ext cx="11465668" cy="432507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p:txBody>
      </p:sp>
      <p:sp>
        <p:nvSpPr>
          <p:cNvPr id="13"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4" name="Rectangle 13"/>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3" name="Espace réservé du pied de page 2"/>
          <p:cNvSpPr>
            <a:spLocks noGrp="1"/>
          </p:cNvSpPr>
          <p:nvPr>
            <p:ph type="ftr" sz="quarter" idx="10"/>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1582364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Infographic">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pic>
        <p:nvPicPr>
          <p:cNvPr id="21" name="Image 2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4" name="Titre 3"/>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3"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4" name="Rectangle 13"/>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cxnSp>
        <p:nvCxnSpPr>
          <p:cNvPr id="42" name="Connecteur droit 41"/>
          <p:cNvCxnSpPr/>
          <p:nvPr/>
        </p:nvCxnSpPr>
        <p:spPr>
          <a:xfrm flipV="1">
            <a:off x="6607132" y="2956097"/>
            <a:ext cx="451565" cy="187894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43" name="Connecteur droit 42"/>
          <p:cNvCxnSpPr/>
          <p:nvPr/>
        </p:nvCxnSpPr>
        <p:spPr>
          <a:xfrm flipV="1">
            <a:off x="7363676" y="2773681"/>
            <a:ext cx="1374235" cy="213608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44" name="Connecteur droit 43"/>
          <p:cNvCxnSpPr/>
          <p:nvPr/>
        </p:nvCxnSpPr>
        <p:spPr>
          <a:xfrm flipV="1">
            <a:off x="8188961" y="4535620"/>
            <a:ext cx="514476" cy="381821"/>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45" name="Groupe 44"/>
          <p:cNvGrpSpPr/>
          <p:nvPr/>
        </p:nvGrpSpPr>
        <p:grpSpPr>
          <a:xfrm>
            <a:off x="6851684" y="2303473"/>
            <a:ext cx="611509" cy="611507"/>
            <a:chOff x="129161" y="1153251"/>
            <a:chExt cx="458632" cy="458630"/>
          </a:xfrm>
        </p:grpSpPr>
        <p:grpSp>
          <p:nvGrpSpPr>
            <p:cNvPr id="58" name="Groupe 57"/>
            <p:cNvGrpSpPr/>
            <p:nvPr/>
          </p:nvGrpSpPr>
          <p:grpSpPr>
            <a:xfrm>
              <a:off x="129161" y="1153251"/>
              <a:ext cx="458632" cy="458630"/>
              <a:chOff x="2984203" y="2099374"/>
              <a:chExt cx="313070" cy="313070"/>
            </a:xfrm>
          </p:grpSpPr>
          <p:sp>
            <p:nvSpPr>
              <p:cNvPr id="60" name="Ellipse 59"/>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61" name="Ellipse 60"/>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62" name="Ellipse 61"/>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9"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46" name="Groupe 45"/>
          <p:cNvGrpSpPr/>
          <p:nvPr/>
        </p:nvGrpSpPr>
        <p:grpSpPr>
          <a:xfrm>
            <a:off x="8617758" y="2162173"/>
            <a:ext cx="611509" cy="611507"/>
            <a:chOff x="129161" y="1153251"/>
            <a:chExt cx="458632" cy="458630"/>
          </a:xfrm>
        </p:grpSpPr>
        <p:grpSp>
          <p:nvGrpSpPr>
            <p:cNvPr id="53" name="Groupe 52"/>
            <p:cNvGrpSpPr/>
            <p:nvPr/>
          </p:nvGrpSpPr>
          <p:grpSpPr>
            <a:xfrm>
              <a:off x="129161" y="1153251"/>
              <a:ext cx="458632" cy="458630"/>
              <a:chOff x="2984203" y="2099374"/>
              <a:chExt cx="313070" cy="313070"/>
            </a:xfrm>
          </p:grpSpPr>
          <p:sp>
            <p:nvSpPr>
              <p:cNvPr id="55" name="Ellipse 54"/>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6" name="Ellipse 55"/>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7" name="Ellipse 56"/>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4"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47" name="Groupe 46"/>
          <p:cNvGrpSpPr/>
          <p:nvPr/>
        </p:nvGrpSpPr>
        <p:grpSpPr>
          <a:xfrm>
            <a:off x="8694859" y="4034813"/>
            <a:ext cx="611509" cy="611507"/>
            <a:chOff x="129161" y="1153251"/>
            <a:chExt cx="458632" cy="458630"/>
          </a:xfrm>
        </p:grpSpPr>
        <p:grpSp>
          <p:nvGrpSpPr>
            <p:cNvPr id="48" name="Groupe 47"/>
            <p:cNvGrpSpPr/>
            <p:nvPr/>
          </p:nvGrpSpPr>
          <p:grpSpPr>
            <a:xfrm>
              <a:off x="129161" y="1153251"/>
              <a:ext cx="458632" cy="458630"/>
              <a:chOff x="2984203" y="2099374"/>
              <a:chExt cx="313070" cy="313070"/>
            </a:xfrm>
          </p:grpSpPr>
          <p:sp>
            <p:nvSpPr>
              <p:cNvPr id="50" name="Ellipse 49"/>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1" name="Ellipse 50"/>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2" name="Ellipse 51"/>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dirty="0">
                  <a:ln>
                    <a:noFill/>
                  </a:ln>
                  <a:solidFill>
                    <a:sysClr val="windowText" lastClr="000000"/>
                  </a:solidFill>
                  <a:effectLst/>
                  <a:uLnTx/>
                  <a:uFillTx/>
                </a:endParaRPr>
              </a:p>
            </p:txBody>
          </p:sp>
        </p:grpSp>
        <p:sp>
          <p:nvSpPr>
            <p:cNvPr id="49"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cxnSp>
        <p:nvCxnSpPr>
          <p:cNvPr id="20" name="Connecteur droit 19"/>
          <p:cNvCxnSpPr/>
          <p:nvPr/>
        </p:nvCxnSpPr>
        <p:spPr>
          <a:xfrm flipH="1" flipV="1">
            <a:off x="5221770" y="3792119"/>
            <a:ext cx="250645" cy="1042925"/>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2" name="Connecteur droit 21"/>
          <p:cNvCxnSpPr/>
          <p:nvPr/>
        </p:nvCxnSpPr>
        <p:spPr>
          <a:xfrm flipH="1" flipV="1">
            <a:off x="3341636" y="2773681"/>
            <a:ext cx="1374235" cy="213608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3" name="Connecteur droit 22"/>
          <p:cNvCxnSpPr/>
          <p:nvPr/>
        </p:nvCxnSpPr>
        <p:spPr>
          <a:xfrm flipH="1" flipV="1">
            <a:off x="3376111" y="4535620"/>
            <a:ext cx="514476" cy="381821"/>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24" name="Groupe 23"/>
          <p:cNvGrpSpPr/>
          <p:nvPr/>
        </p:nvGrpSpPr>
        <p:grpSpPr>
          <a:xfrm flipH="1">
            <a:off x="4823371" y="3159646"/>
            <a:ext cx="611509" cy="611507"/>
            <a:chOff x="129161" y="1153251"/>
            <a:chExt cx="458632" cy="458630"/>
          </a:xfrm>
        </p:grpSpPr>
        <p:grpSp>
          <p:nvGrpSpPr>
            <p:cNvPr id="37" name="Groupe 36"/>
            <p:cNvGrpSpPr/>
            <p:nvPr/>
          </p:nvGrpSpPr>
          <p:grpSpPr>
            <a:xfrm>
              <a:off x="129161" y="1153251"/>
              <a:ext cx="458632" cy="458630"/>
              <a:chOff x="2984203" y="2099374"/>
              <a:chExt cx="313070" cy="313070"/>
            </a:xfrm>
          </p:grpSpPr>
          <p:sp>
            <p:nvSpPr>
              <p:cNvPr id="39" name="Ellipse 38"/>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40" name="Ellipse 39"/>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41" name="Ellipse 40"/>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38"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25" name="Groupe 24"/>
          <p:cNvGrpSpPr/>
          <p:nvPr/>
        </p:nvGrpSpPr>
        <p:grpSpPr>
          <a:xfrm flipH="1">
            <a:off x="2850280" y="2162173"/>
            <a:ext cx="611509" cy="611507"/>
            <a:chOff x="129161" y="1153251"/>
            <a:chExt cx="458632" cy="458630"/>
          </a:xfrm>
        </p:grpSpPr>
        <p:grpSp>
          <p:nvGrpSpPr>
            <p:cNvPr id="32" name="Groupe 31"/>
            <p:cNvGrpSpPr/>
            <p:nvPr/>
          </p:nvGrpSpPr>
          <p:grpSpPr>
            <a:xfrm>
              <a:off x="129161" y="1153251"/>
              <a:ext cx="458632" cy="458630"/>
              <a:chOff x="2984203" y="2099374"/>
              <a:chExt cx="313070" cy="313070"/>
            </a:xfrm>
          </p:grpSpPr>
          <p:sp>
            <p:nvSpPr>
              <p:cNvPr id="34" name="Ellipse 33"/>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5" name="Ellipse 34"/>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6" name="Ellipse 35"/>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33"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26" name="Groupe 25"/>
          <p:cNvGrpSpPr/>
          <p:nvPr/>
        </p:nvGrpSpPr>
        <p:grpSpPr>
          <a:xfrm flipH="1">
            <a:off x="2773179" y="4034813"/>
            <a:ext cx="611509" cy="611507"/>
            <a:chOff x="129161" y="1153251"/>
            <a:chExt cx="458632" cy="458630"/>
          </a:xfrm>
        </p:grpSpPr>
        <p:grpSp>
          <p:nvGrpSpPr>
            <p:cNvPr id="27" name="Groupe 26"/>
            <p:cNvGrpSpPr/>
            <p:nvPr/>
          </p:nvGrpSpPr>
          <p:grpSpPr>
            <a:xfrm>
              <a:off x="129161" y="1153251"/>
              <a:ext cx="458632" cy="458630"/>
              <a:chOff x="2984203" y="2099374"/>
              <a:chExt cx="313070" cy="313070"/>
            </a:xfrm>
          </p:grpSpPr>
          <p:sp>
            <p:nvSpPr>
              <p:cNvPr id="29" name="Ellipse 28"/>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0" name="Ellipse 29"/>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1" name="Ellipse 30"/>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28"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 name="Espace réservé du texte 4"/>
          <p:cNvSpPr>
            <a:spLocks noGrp="1"/>
          </p:cNvSpPr>
          <p:nvPr>
            <p:ph type="body" sz="quarter" idx="10" hasCustomPrompt="1"/>
          </p:nvPr>
        </p:nvSpPr>
        <p:spPr>
          <a:xfrm>
            <a:off x="363166" y="4007076"/>
            <a:ext cx="2410013" cy="666977"/>
          </a:xfrm>
        </p:spPr>
        <p:txBody>
          <a:bodyPr wrap="square" lIns="72000" rIns="72000" anchor="ctr">
            <a:spAutoFit/>
          </a:bodyPr>
          <a:lstStyle>
            <a:lvl1pPr marL="0" indent="0" algn="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4" name="Espace réservé du texte 4"/>
          <p:cNvSpPr>
            <a:spLocks noGrp="1"/>
          </p:cNvSpPr>
          <p:nvPr>
            <p:ph type="body" sz="quarter" idx="11" hasCustomPrompt="1"/>
          </p:nvPr>
        </p:nvSpPr>
        <p:spPr>
          <a:xfrm>
            <a:off x="9313386" y="4007076"/>
            <a:ext cx="2486412" cy="666977"/>
          </a:xfrm>
        </p:spPr>
        <p:txBody>
          <a:bodyPr wrap="square" lIns="72000" rIns="72000" anchor="ctr">
            <a:spAutoFit/>
          </a:bodyPr>
          <a:lstStyle>
            <a:lvl1pPr marL="0" indent="0" algn="l">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5" name="Espace réservé du texte 4"/>
          <p:cNvSpPr>
            <a:spLocks noGrp="1"/>
          </p:cNvSpPr>
          <p:nvPr>
            <p:ph type="body" sz="quarter" idx="12" hasCustomPrompt="1"/>
          </p:nvPr>
        </p:nvSpPr>
        <p:spPr>
          <a:xfrm>
            <a:off x="9249903" y="2134436"/>
            <a:ext cx="2486412" cy="666977"/>
          </a:xfrm>
        </p:spPr>
        <p:txBody>
          <a:bodyPr wrap="square" lIns="72000" rIns="72000" anchor="ctr">
            <a:spAutoFit/>
          </a:bodyPr>
          <a:lstStyle>
            <a:lvl1pPr marL="0" indent="0" algn="l">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6" name="Espace réservé du texte 4"/>
          <p:cNvSpPr>
            <a:spLocks noGrp="1"/>
          </p:cNvSpPr>
          <p:nvPr>
            <p:ph type="body" sz="quarter" idx="13" hasCustomPrompt="1"/>
          </p:nvPr>
        </p:nvSpPr>
        <p:spPr>
          <a:xfrm>
            <a:off x="5914230" y="1584431"/>
            <a:ext cx="2486412" cy="666977"/>
          </a:xfrm>
        </p:spPr>
        <p:txBody>
          <a:bodyPr wrap="square" lIns="72000" rIns="72000" anchor="b">
            <a:spAutoFit/>
          </a:bodyPr>
          <a:lstStyle>
            <a:lvl1pPr marL="0" indent="0" algn="ct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7" name="Espace réservé du texte 4"/>
          <p:cNvSpPr>
            <a:spLocks noGrp="1"/>
          </p:cNvSpPr>
          <p:nvPr>
            <p:ph type="body" sz="quarter" idx="14" hasCustomPrompt="1"/>
          </p:nvPr>
        </p:nvSpPr>
        <p:spPr>
          <a:xfrm>
            <a:off x="3873917" y="2466831"/>
            <a:ext cx="2486412" cy="666977"/>
          </a:xfrm>
        </p:spPr>
        <p:txBody>
          <a:bodyPr wrap="square" lIns="72000" rIns="72000" anchor="b">
            <a:spAutoFit/>
          </a:bodyPr>
          <a:lstStyle>
            <a:lvl1pPr marL="0" indent="0" algn="ct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8" name="Espace réservé du texte 4"/>
          <p:cNvSpPr>
            <a:spLocks noGrp="1"/>
          </p:cNvSpPr>
          <p:nvPr>
            <p:ph type="body" sz="quarter" idx="15" hasCustomPrompt="1"/>
          </p:nvPr>
        </p:nvSpPr>
        <p:spPr>
          <a:xfrm>
            <a:off x="423687" y="2141064"/>
            <a:ext cx="2410013" cy="666977"/>
          </a:xfrm>
        </p:spPr>
        <p:txBody>
          <a:bodyPr wrap="square" lIns="72000" rIns="72000" anchor="ctr">
            <a:spAutoFit/>
          </a:bodyPr>
          <a:lstStyle>
            <a:lvl1pPr marL="0" indent="0" algn="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grpSp>
        <p:nvGrpSpPr>
          <p:cNvPr id="69" name="Groupe 68"/>
          <p:cNvGrpSpPr/>
          <p:nvPr userDrawn="1"/>
        </p:nvGrpSpPr>
        <p:grpSpPr>
          <a:xfrm>
            <a:off x="3752428" y="4737046"/>
            <a:ext cx="4687147" cy="1004381"/>
            <a:chOff x="2814321" y="3552784"/>
            <a:chExt cx="3515360" cy="753286"/>
          </a:xfrm>
        </p:grpSpPr>
        <p:sp>
          <p:nvSpPr>
            <p:cNvPr id="71" name="Rectangle à coins arrondis 3"/>
            <p:cNvSpPr/>
            <p:nvPr/>
          </p:nvSpPr>
          <p:spPr>
            <a:xfrm>
              <a:off x="2814321" y="3552784"/>
              <a:ext cx="3515360" cy="753286"/>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p>
          </p:txBody>
        </p:sp>
        <p:pic>
          <p:nvPicPr>
            <p:cNvPr id="72" name="Image 7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304723" y="3678199"/>
              <a:ext cx="2530712" cy="462756"/>
            </a:xfrm>
            <a:prstGeom prst="rect">
              <a:avLst/>
            </a:prstGeom>
          </p:spPr>
        </p:pic>
      </p:grpSp>
      <p:sp>
        <p:nvSpPr>
          <p:cNvPr id="3" name="Espace réservé du pied de page 2"/>
          <p:cNvSpPr>
            <a:spLocks noGrp="1"/>
          </p:cNvSpPr>
          <p:nvPr>
            <p:ph type="ftr" sz="quarter" idx="16"/>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3620729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9"/>
                                        </p:tgtEl>
                                        <p:attrNameLst>
                                          <p:attrName>style.visibility</p:attrName>
                                        </p:attrNameLst>
                                      </p:cBhvr>
                                      <p:to>
                                        <p:strVal val="visible"/>
                                      </p:to>
                                    </p:set>
                                    <p:animEffect transition="in" filter="fade">
                                      <p:cBhvr>
                                        <p:cTn id="7" dur="500"/>
                                        <p:tgtEl>
                                          <p:spTgt spid="69"/>
                                        </p:tgtEl>
                                      </p:cBhvr>
                                    </p:animEffect>
                                  </p:childTnLst>
                                </p:cTn>
                              </p:par>
                              <p:par>
                                <p:cTn id="8" presetID="6" presetClass="emph" presetSubtype="0" fill="hold" nodeType="withEffect">
                                  <p:stCondLst>
                                    <p:cond delay="0"/>
                                  </p:stCondLst>
                                  <p:childTnLst>
                                    <p:animScale>
                                      <p:cBhvr>
                                        <p:cTn id="9" dur="10" fill="hold"/>
                                        <p:tgtEl>
                                          <p:spTgt spid="69"/>
                                        </p:tgtEl>
                                      </p:cBhvr>
                                      <p:by x="50000" y="50000"/>
                                    </p:animScale>
                                  </p:childTnLst>
                                </p:cTn>
                              </p:par>
                              <p:par>
                                <p:cTn id="10" presetID="6" presetClass="emph" presetSubtype="0" decel="100000" fill="hold" nodeType="withEffect">
                                  <p:stCondLst>
                                    <p:cond delay="0"/>
                                  </p:stCondLst>
                                  <p:childTnLst>
                                    <p:animScale>
                                      <p:cBhvr>
                                        <p:cTn id="11" dur="1000" fill="hold"/>
                                        <p:tgtEl>
                                          <p:spTgt spid="69"/>
                                        </p:tgtEl>
                                      </p:cBhvr>
                                      <p:by x="200000" y="200000"/>
                                    </p:animScale>
                                  </p:childTnLst>
                                </p:cTn>
                              </p:par>
                              <p:par>
                                <p:cTn id="12" presetID="22" presetClass="entr" presetSubtype="4" fill="hold" nodeType="withEffect">
                                  <p:stCondLst>
                                    <p:cond delay="500"/>
                                  </p:stCondLst>
                                  <p:childTnLst>
                                    <p:set>
                                      <p:cBhvr>
                                        <p:cTn id="13" dur="1" fill="hold">
                                          <p:stCondLst>
                                            <p:cond delay="0"/>
                                          </p:stCondLst>
                                        </p:cTn>
                                        <p:tgtEl>
                                          <p:spTgt spid="23"/>
                                        </p:tgtEl>
                                        <p:attrNameLst>
                                          <p:attrName>style.visibility</p:attrName>
                                        </p:attrNameLst>
                                      </p:cBhvr>
                                      <p:to>
                                        <p:strVal val="visible"/>
                                      </p:to>
                                    </p:set>
                                    <p:animEffect transition="in" filter="wipe(down)">
                                      <p:cBhvr>
                                        <p:cTn id="14" dur="500"/>
                                        <p:tgtEl>
                                          <p:spTgt spid="23"/>
                                        </p:tgtEl>
                                      </p:cBhvr>
                                    </p:animEffect>
                                  </p:childTnLst>
                                </p:cTn>
                              </p:par>
                              <p:par>
                                <p:cTn id="15" presetID="22" presetClass="entr" presetSubtype="4" fill="hold" nodeType="withEffect">
                                  <p:stCondLst>
                                    <p:cond delay="600"/>
                                  </p:stCondLst>
                                  <p:childTnLst>
                                    <p:set>
                                      <p:cBhvr>
                                        <p:cTn id="16" dur="1" fill="hold">
                                          <p:stCondLst>
                                            <p:cond delay="0"/>
                                          </p:stCondLst>
                                        </p:cTn>
                                        <p:tgtEl>
                                          <p:spTgt spid="22"/>
                                        </p:tgtEl>
                                        <p:attrNameLst>
                                          <p:attrName>style.visibility</p:attrName>
                                        </p:attrNameLst>
                                      </p:cBhvr>
                                      <p:to>
                                        <p:strVal val="visible"/>
                                      </p:to>
                                    </p:set>
                                    <p:animEffect transition="in" filter="wipe(down)">
                                      <p:cBhvr>
                                        <p:cTn id="17" dur="500"/>
                                        <p:tgtEl>
                                          <p:spTgt spid="22"/>
                                        </p:tgtEl>
                                      </p:cBhvr>
                                    </p:animEffect>
                                  </p:childTnLst>
                                </p:cTn>
                              </p:par>
                              <p:par>
                                <p:cTn id="18" presetID="22" presetClass="entr" presetSubtype="4" fill="hold" nodeType="withEffect">
                                  <p:stCondLst>
                                    <p:cond delay="700"/>
                                  </p:stCondLst>
                                  <p:childTnLst>
                                    <p:set>
                                      <p:cBhvr>
                                        <p:cTn id="19" dur="1" fill="hold">
                                          <p:stCondLst>
                                            <p:cond delay="0"/>
                                          </p:stCondLst>
                                        </p:cTn>
                                        <p:tgtEl>
                                          <p:spTgt spid="20"/>
                                        </p:tgtEl>
                                        <p:attrNameLst>
                                          <p:attrName>style.visibility</p:attrName>
                                        </p:attrNameLst>
                                      </p:cBhvr>
                                      <p:to>
                                        <p:strVal val="visible"/>
                                      </p:to>
                                    </p:set>
                                    <p:animEffect transition="in" filter="wipe(down)">
                                      <p:cBhvr>
                                        <p:cTn id="20" dur="500"/>
                                        <p:tgtEl>
                                          <p:spTgt spid="20"/>
                                        </p:tgtEl>
                                      </p:cBhvr>
                                    </p:animEffect>
                                  </p:childTnLst>
                                </p:cTn>
                              </p:par>
                              <p:par>
                                <p:cTn id="21" presetID="22" presetClass="entr" presetSubtype="4" fill="hold" nodeType="withEffect">
                                  <p:stCondLst>
                                    <p:cond delay="800"/>
                                  </p:stCondLst>
                                  <p:childTnLst>
                                    <p:set>
                                      <p:cBhvr>
                                        <p:cTn id="22" dur="1" fill="hold">
                                          <p:stCondLst>
                                            <p:cond delay="0"/>
                                          </p:stCondLst>
                                        </p:cTn>
                                        <p:tgtEl>
                                          <p:spTgt spid="42"/>
                                        </p:tgtEl>
                                        <p:attrNameLst>
                                          <p:attrName>style.visibility</p:attrName>
                                        </p:attrNameLst>
                                      </p:cBhvr>
                                      <p:to>
                                        <p:strVal val="visible"/>
                                      </p:to>
                                    </p:set>
                                    <p:animEffect transition="in" filter="wipe(down)">
                                      <p:cBhvr>
                                        <p:cTn id="23" dur="500"/>
                                        <p:tgtEl>
                                          <p:spTgt spid="42"/>
                                        </p:tgtEl>
                                      </p:cBhvr>
                                    </p:animEffect>
                                  </p:childTnLst>
                                </p:cTn>
                              </p:par>
                              <p:par>
                                <p:cTn id="24" presetID="22" presetClass="entr" presetSubtype="4" fill="hold" nodeType="withEffect">
                                  <p:stCondLst>
                                    <p:cond delay="900"/>
                                  </p:stCondLst>
                                  <p:childTnLst>
                                    <p:set>
                                      <p:cBhvr>
                                        <p:cTn id="25" dur="1" fill="hold">
                                          <p:stCondLst>
                                            <p:cond delay="0"/>
                                          </p:stCondLst>
                                        </p:cTn>
                                        <p:tgtEl>
                                          <p:spTgt spid="43"/>
                                        </p:tgtEl>
                                        <p:attrNameLst>
                                          <p:attrName>style.visibility</p:attrName>
                                        </p:attrNameLst>
                                      </p:cBhvr>
                                      <p:to>
                                        <p:strVal val="visible"/>
                                      </p:to>
                                    </p:set>
                                    <p:animEffect transition="in" filter="wipe(down)">
                                      <p:cBhvr>
                                        <p:cTn id="26" dur="500"/>
                                        <p:tgtEl>
                                          <p:spTgt spid="43"/>
                                        </p:tgtEl>
                                      </p:cBhvr>
                                    </p:animEffect>
                                  </p:childTnLst>
                                </p:cTn>
                              </p:par>
                              <p:par>
                                <p:cTn id="27" presetID="22" presetClass="entr" presetSubtype="4" fill="hold" nodeType="withEffect">
                                  <p:stCondLst>
                                    <p:cond delay="1000"/>
                                  </p:stCondLst>
                                  <p:childTnLst>
                                    <p:set>
                                      <p:cBhvr>
                                        <p:cTn id="28" dur="1" fill="hold">
                                          <p:stCondLst>
                                            <p:cond delay="0"/>
                                          </p:stCondLst>
                                        </p:cTn>
                                        <p:tgtEl>
                                          <p:spTgt spid="44"/>
                                        </p:tgtEl>
                                        <p:attrNameLst>
                                          <p:attrName>style.visibility</p:attrName>
                                        </p:attrNameLst>
                                      </p:cBhvr>
                                      <p:to>
                                        <p:strVal val="visible"/>
                                      </p:to>
                                    </p:set>
                                    <p:animEffect transition="in" filter="wipe(down)">
                                      <p:cBhvr>
                                        <p:cTn id="29" dur="500"/>
                                        <p:tgtEl>
                                          <p:spTgt spid="44"/>
                                        </p:tgtEl>
                                      </p:cBhvr>
                                    </p:animEffect>
                                  </p:childTnLst>
                                </p:cTn>
                              </p:par>
                              <p:par>
                                <p:cTn id="30" presetID="53" presetClass="entr" presetSubtype="16" fill="hold" nodeType="withEffect">
                                  <p:stCondLst>
                                    <p:cond delay="750"/>
                                  </p:stCondLst>
                                  <p:childTnLst>
                                    <p:set>
                                      <p:cBhvr>
                                        <p:cTn id="31" dur="1" fill="hold">
                                          <p:stCondLst>
                                            <p:cond delay="0"/>
                                          </p:stCondLst>
                                        </p:cTn>
                                        <p:tgtEl>
                                          <p:spTgt spid="26"/>
                                        </p:tgtEl>
                                        <p:attrNameLst>
                                          <p:attrName>style.visibility</p:attrName>
                                        </p:attrNameLst>
                                      </p:cBhvr>
                                      <p:to>
                                        <p:strVal val="visible"/>
                                      </p:to>
                                    </p:set>
                                    <p:anim calcmode="lin" valueType="num">
                                      <p:cBhvr>
                                        <p:cTn id="32" dur="500" fill="hold"/>
                                        <p:tgtEl>
                                          <p:spTgt spid="26"/>
                                        </p:tgtEl>
                                        <p:attrNameLst>
                                          <p:attrName>ppt_w</p:attrName>
                                        </p:attrNameLst>
                                      </p:cBhvr>
                                      <p:tavLst>
                                        <p:tav tm="0">
                                          <p:val>
                                            <p:fltVal val="0"/>
                                          </p:val>
                                        </p:tav>
                                        <p:tav tm="100000">
                                          <p:val>
                                            <p:strVal val="#ppt_w"/>
                                          </p:val>
                                        </p:tav>
                                      </p:tavLst>
                                    </p:anim>
                                    <p:anim calcmode="lin" valueType="num">
                                      <p:cBhvr>
                                        <p:cTn id="33" dur="500" fill="hold"/>
                                        <p:tgtEl>
                                          <p:spTgt spid="26"/>
                                        </p:tgtEl>
                                        <p:attrNameLst>
                                          <p:attrName>ppt_h</p:attrName>
                                        </p:attrNameLst>
                                      </p:cBhvr>
                                      <p:tavLst>
                                        <p:tav tm="0">
                                          <p:val>
                                            <p:fltVal val="0"/>
                                          </p:val>
                                        </p:tav>
                                        <p:tav tm="100000">
                                          <p:val>
                                            <p:strVal val="#ppt_h"/>
                                          </p:val>
                                        </p:tav>
                                      </p:tavLst>
                                    </p:anim>
                                    <p:animEffect transition="in" filter="fade">
                                      <p:cBhvr>
                                        <p:cTn id="34" dur="500"/>
                                        <p:tgtEl>
                                          <p:spTgt spid="26"/>
                                        </p:tgtEl>
                                      </p:cBhvr>
                                    </p:animEffect>
                                  </p:childTnLst>
                                </p:cTn>
                              </p:par>
                              <p:par>
                                <p:cTn id="35" presetID="53" presetClass="entr" presetSubtype="16" fill="hold" nodeType="withEffect">
                                  <p:stCondLst>
                                    <p:cond delay="850"/>
                                  </p:stCondLst>
                                  <p:childTnLst>
                                    <p:set>
                                      <p:cBhvr>
                                        <p:cTn id="36" dur="1" fill="hold">
                                          <p:stCondLst>
                                            <p:cond delay="0"/>
                                          </p:stCondLst>
                                        </p:cTn>
                                        <p:tgtEl>
                                          <p:spTgt spid="25"/>
                                        </p:tgtEl>
                                        <p:attrNameLst>
                                          <p:attrName>style.visibility</p:attrName>
                                        </p:attrNameLst>
                                      </p:cBhvr>
                                      <p:to>
                                        <p:strVal val="visible"/>
                                      </p:to>
                                    </p:set>
                                    <p:anim calcmode="lin" valueType="num">
                                      <p:cBhvr>
                                        <p:cTn id="37" dur="500" fill="hold"/>
                                        <p:tgtEl>
                                          <p:spTgt spid="25"/>
                                        </p:tgtEl>
                                        <p:attrNameLst>
                                          <p:attrName>ppt_w</p:attrName>
                                        </p:attrNameLst>
                                      </p:cBhvr>
                                      <p:tavLst>
                                        <p:tav tm="0">
                                          <p:val>
                                            <p:fltVal val="0"/>
                                          </p:val>
                                        </p:tav>
                                        <p:tav tm="100000">
                                          <p:val>
                                            <p:strVal val="#ppt_w"/>
                                          </p:val>
                                        </p:tav>
                                      </p:tavLst>
                                    </p:anim>
                                    <p:anim calcmode="lin" valueType="num">
                                      <p:cBhvr>
                                        <p:cTn id="38" dur="500" fill="hold"/>
                                        <p:tgtEl>
                                          <p:spTgt spid="25"/>
                                        </p:tgtEl>
                                        <p:attrNameLst>
                                          <p:attrName>ppt_h</p:attrName>
                                        </p:attrNameLst>
                                      </p:cBhvr>
                                      <p:tavLst>
                                        <p:tav tm="0">
                                          <p:val>
                                            <p:fltVal val="0"/>
                                          </p:val>
                                        </p:tav>
                                        <p:tav tm="100000">
                                          <p:val>
                                            <p:strVal val="#ppt_h"/>
                                          </p:val>
                                        </p:tav>
                                      </p:tavLst>
                                    </p:anim>
                                    <p:animEffect transition="in" filter="fade">
                                      <p:cBhvr>
                                        <p:cTn id="39" dur="500"/>
                                        <p:tgtEl>
                                          <p:spTgt spid="25"/>
                                        </p:tgtEl>
                                      </p:cBhvr>
                                    </p:animEffect>
                                  </p:childTnLst>
                                </p:cTn>
                              </p:par>
                              <p:par>
                                <p:cTn id="40" presetID="53" presetClass="entr" presetSubtype="16" fill="hold" nodeType="withEffect">
                                  <p:stCondLst>
                                    <p:cond delay="950"/>
                                  </p:stCondLst>
                                  <p:childTnLst>
                                    <p:set>
                                      <p:cBhvr>
                                        <p:cTn id="41" dur="1" fill="hold">
                                          <p:stCondLst>
                                            <p:cond delay="0"/>
                                          </p:stCondLst>
                                        </p:cTn>
                                        <p:tgtEl>
                                          <p:spTgt spid="24"/>
                                        </p:tgtEl>
                                        <p:attrNameLst>
                                          <p:attrName>style.visibility</p:attrName>
                                        </p:attrNameLst>
                                      </p:cBhvr>
                                      <p:to>
                                        <p:strVal val="visible"/>
                                      </p:to>
                                    </p:set>
                                    <p:anim calcmode="lin" valueType="num">
                                      <p:cBhvr>
                                        <p:cTn id="42" dur="500" fill="hold"/>
                                        <p:tgtEl>
                                          <p:spTgt spid="24"/>
                                        </p:tgtEl>
                                        <p:attrNameLst>
                                          <p:attrName>ppt_w</p:attrName>
                                        </p:attrNameLst>
                                      </p:cBhvr>
                                      <p:tavLst>
                                        <p:tav tm="0">
                                          <p:val>
                                            <p:fltVal val="0"/>
                                          </p:val>
                                        </p:tav>
                                        <p:tav tm="100000">
                                          <p:val>
                                            <p:strVal val="#ppt_w"/>
                                          </p:val>
                                        </p:tav>
                                      </p:tavLst>
                                    </p:anim>
                                    <p:anim calcmode="lin" valueType="num">
                                      <p:cBhvr>
                                        <p:cTn id="43" dur="500" fill="hold"/>
                                        <p:tgtEl>
                                          <p:spTgt spid="24"/>
                                        </p:tgtEl>
                                        <p:attrNameLst>
                                          <p:attrName>ppt_h</p:attrName>
                                        </p:attrNameLst>
                                      </p:cBhvr>
                                      <p:tavLst>
                                        <p:tav tm="0">
                                          <p:val>
                                            <p:fltVal val="0"/>
                                          </p:val>
                                        </p:tav>
                                        <p:tav tm="100000">
                                          <p:val>
                                            <p:strVal val="#ppt_h"/>
                                          </p:val>
                                        </p:tav>
                                      </p:tavLst>
                                    </p:anim>
                                    <p:animEffect transition="in" filter="fade">
                                      <p:cBhvr>
                                        <p:cTn id="44" dur="500"/>
                                        <p:tgtEl>
                                          <p:spTgt spid="24"/>
                                        </p:tgtEl>
                                      </p:cBhvr>
                                    </p:animEffect>
                                  </p:childTnLst>
                                </p:cTn>
                              </p:par>
                              <p:par>
                                <p:cTn id="45" presetID="53" presetClass="entr" presetSubtype="16" fill="hold" nodeType="withEffect">
                                  <p:stCondLst>
                                    <p:cond delay="1050"/>
                                  </p:stCondLst>
                                  <p:childTnLst>
                                    <p:set>
                                      <p:cBhvr>
                                        <p:cTn id="46" dur="1" fill="hold">
                                          <p:stCondLst>
                                            <p:cond delay="0"/>
                                          </p:stCondLst>
                                        </p:cTn>
                                        <p:tgtEl>
                                          <p:spTgt spid="45"/>
                                        </p:tgtEl>
                                        <p:attrNameLst>
                                          <p:attrName>style.visibility</p:attrName>
                                        </p:attrNameLst>
                                      </p:cBhvr>
                                      <p:to>
                                        <p:strVal val="visible"/>
                                      </p:to>
                                    </p:set>
                                    <p:anim calcmode="lin" valueType="num">
                                      <p:cBhvr>
                                        <p:cTn id="47" dur="500" fill="hold"/>
                                        <p:tgtEl>
                                          <p:spTgt spid="45"/>
                                        </p:tgtEl>
                                        <p:attrNameLst>
                                          <p:attrName>ppt_w</p:attrName>
                                        </p:attrNameLst>
                                      </p:cBhvr>
                                      <p:tavLst>
                                        <p:tav tm="0">
                                          <p:val>
                                            <p:fltVal val="0"/>
                                          </p:val>
                                        </p:tav>
                                        <p:tav tm="100000">
                                          <p:val>
                                            <p:strVal val="#ppt_w"/>
                                          </p:val>
                                        </p:tav>
                                      </p:tavLst>
                                    </p:anim>
                                    <p:anim calcmode="lin" valueType="num">
                                      <p:cBhvr>
                                        <p:cTn id="48" dur="500" fill="hold"/>
                                        <p:tgtEl>
                                          <p:spTgt spid="45"/>
                                        </p:tgtEl>
                                        <p:attrNameLst>
                                          <p:attrName>ppt_h</p:attrName>
                                        </p:attrNameLst>
                                      </p:cBhvr>
                                      <p:tavLst>
                                        <p:tav tm="0">
                                          <p:val>
                                            <p:fltVal val="0"/>
                                          </p:val>
                                        </p:tav>
                                        <p:tav tm="100000">
                                          <p:val>
                                            <p:strVal val="#ppt_h"/>
                                          </p:val>
                                        </p:tav>
                                      </p:tavLst>
                                    </p:anim>
                                    <p:animEffect transition="in" filter="fade">
                                      <p:cBhvr>
                                        <p:cTn id="49" dur="500"/>
                                        <p:tgtEl>
                                          <p:spTgt spid="45"/>
                                        </p:tgtEl>
                                      </p:cBhvr>
                                    </p:animEffect>
                                  </p:childTnLst>
                                </p:cTn>
                              </p:par>
                              <p:par>
                                <p:cTn id="50" presetID="53" presetClass="entr" presetSubtype="16" fill="hold" nodeType="withEffect">
                                  <p:stCondLst>
                                    <p:cond delay="1150"/>
                                  </p:stCondLst>
                                  <p:childTnLst>
                                    <p:set>
                                      <p:cBhvr>
                                        <p:cTn id="51" dur="1" fill="hold">
                                          <p:stCondLst>
                                            <p:cond delay="0"/>
                                          </p:stCondLst>
                                        </p:cTn>
                                        <p:tgtEl>
                                          <p:spTgt spid="46"/>
                                        </p:tgtEl>
                                        <p:attrNameLst>
                                          <p:attrName>style.visibility</p:attrName>
                                        </p:attrNameLst>
                                      </p:cBhvr>
                                      <p:to>
                                        <p:strVal val="visible"/>
                                      </p:to>
                                    </p:set>
                                    <p:anim calcmode="lin" valueType="num">
                                      <p:cBhvr>
                                        <p:cTn id="52" dur="500" fill="hold"/>
                                        <p:tgtEl>
                                          <p:spTgt spid="46"/>
                                        </p:tgtEl>
                                        <p:attrNameLst>
                                          <p:attrName>ppt_w</p:attrName>
                                        </p:attrNameLst>
                                      </p:cBhvr>
                                      <p:tavLst>
                                        <p:tav tm="0">
                                          <p:val>
                                            <p:fltVal val="0"/>
                                          </p:val>
                                        </p:tav>
                                        <p:tav tm="100000">
                                          <p:val>
                                            <p:strVal val="#ppt_w"/>
                                          </p:val>
                                        </p:tav>
                                      </p:tavLst>
                                    </p:anim>
                                    <p:anim calcmode="lin" valueType="num">
                                      <p:cBhvr>
                                        <p:cTn id="53" dur="500" fill="hold"/>
                                        <p:tgtEl>
                                          <p:spTgt spid="46"/>
                                        </p:tgtEl>
                                        <p:attrNameLst>
                                          <p:attrName>ppt_h</p:attrName>
                                        </p:attrNameLst>
                                      </p:cBhvr>
                                      <p:tavLst>
                                        <p:tav tm="0">
                                          <p:val>
                                            <p:fltVal val="0"/>
                                          </p:val>
                                        </p:tav>
                                        <p:tav tm="100000">
                                          <p:val>
                                            <p:strVal val="#ppt_h"/>
                                          </p:val>
                                        </p:tav>
                                      </p:tavLst>
                                    </p:anim>
                                    <p:animEffect transition="in" filter="fade">
                                      <p:cBhvr>
                                        <p:cTn id="54" dur="500"/>
                                        <p:tgtEl>
                                          <p:spTgt spid="46"/>
                                        </p:tgtEl>
                                      </p:cBhvr>
                                    </p:animEffect>
                                  </p:childTnLst>
                                </p:cTn>
                              </p:par>
                              <p:par>
                                <p:cTn id="55" presetID="53" presetClass="entr" presetSubtype="16" fill="hold" nodeType="withEffect">
                                  <p:stCondLst>
                                    <p:cond delay="1250"/>
                                  </p:stCondLst>
                                  <p:childTnLst>
                                    <p:set>
                                      <p:cBhvr>
                                        <p:cTn id="56" dur="1" fill="hold">
                                          <p:stCondLst>
                                            <p:cond delay="0"/>
                                          </p:stCondLst>
                                        </p:cTn>
                                        <p:tgtEl>
                                          <p:spTgt spid="47"/>
                                        </p:tgtEl>
                                        <p:attrNameLst>
                                          <p:attrName>style.visibility</p:attrName>
                                        </p:attrNameLst>
                                      </p:cBhvr>
                                      <p:to>
                                        <p:strVal val="visible"/>
                                      </p:to>
                                    </p:set>
                                    <p:anim calcmode="lin" valueType="num">
                                      <p:cBhvr>
                                        <p:cTn id="57" dur="500" fill="hold"/>
                                        <p:tgtEl>
                                          <p:spTgt spid="47"/>
                                        </p:tgtEl>
                                        <p:attrNameLst>
                                          <p:attrName>ppt_w</p:attrName>
                                        </p:attrNameLst>
                                      </p:cBhvr>
                                      <p:tavLst>
                                        <p:tav tm="0">
                                          <p:val>
                                            <p:fltVal val="0"/>
                                          </p:val>
                                        </p:tav>
                                        <p:tav tm="100000">
                                          <p:val>
                                            <p:strVal val="#ppt_w"/>
                                          </p:val>
                                        </p:tav>
                                      </p:tavLst>
                                    </p:anim>
                                    <p:anim calcmode="lin" valueType="num">
                                      <p:cBhvr>
                                        <p:cTn id="58" dur="500" fill="hold"/>
                                        <p:tgtEl>
                                          <p:spTgt spid="47"/>
                                        </p:tgtEl>
                                        <p:attrNameLst>
                                          <p:attrName>ppt_h</p:attrName>
                                        </p:attrNameLst>
                                      </p:cBhvr>
                                      <p:tavLst>
                                        <p:tav tm="0">
                                          <p:val>
                                            <p:fltVal val="0"/>
                                          </p:val>
                                        </p:tav>
                                        <p:tav tm="100000">
                                          <p:val>
                                            <p:strVal val="#ppt_h"/>
                                          </p:val>
                                        </p:tav>
                                      </p:tavLst>
                                    </p:anim>
                                    <p:animEffect transition="in" filter="fade">
                                      <p:cBhvr>
                                        <p:cTn id="59" dur="500"/>
                                        <p:tgtEl>
                                          <p:spTgt spid="47"/>
                                        </p:tgtEl>
                                      </p:cBhvr>
                                    </p:animEffect>
                                  </p:childTnLst>
                                </p:cTn>
                              </p:par>
                              <p:par>
                                <p:cTn id="60" presetID="10" presetClass="entr" presetSubtype="0" fill="hold" grpId="0" nodeType="withEffect">
                                  <p:stCondLst>
                                    <p:cond delay="1000"/>
                                  </p:stCondLst>
                                  <p:childTnLst>
                                    <p:set>
                                      <p:cBhvr>
                                        <p:cTn id="61" dur="1" fill="hold">
                                          <p:stCondLst>
                                            <p:cond delay="0"/>
                                          </p:stCondLst>
                                        </p:cTn>
                                        <p:tgtEl>
                                          <p:spTgt spid="5"/>
                                        </p:tgtEl>
                                        <p:attrNameLst>
                                          <p:attrName>style.visibility</p:attrName>
                                        </p:attrNameLst>
                                      </p:cBhvr>
                                      <p:to>
                                        <p:strVal val="visible"/>
                                      </p:to>
                                    </p:set>
                                    <p:animEffect transition="in" filter="fade">
                                      <p:cBhvr>
                                        <p:cTn id="62" dur="250"/>
                                        <p:tgtEl>
                                          <p:spTgt spid="5"/>
                                        </p:tgtEl>
                                      </p:cBhvr>
                                    </p:animEffect>
                                  </p:childTnLst>
                                </p:cTn>
                              </p:par>
                              <p:par>
                                <p:cTn id="63" presetID="10" presetClass="entr" presetSubtype="0" fill="hold" grpId="0" nodeType="withEffect">
                                  <p:stCondLst>
                                    <p:cond delay="1100"/>
                                  </p:stCondLst>
                                  <p:childTnLst>
                                    <p:set>
                                      <p:cBhvr>
                                        <p:cTn id="64" dur="1" fill="hold">
                                          <p:stCondLst>
                                            <p:cond delay="0"/>
                                          </p:stCondLst>
                                        </p:cTn>
                                        <p:tgtEl>
                                          <p:spTgt spid="68"/>
                                        </p:tgtEl>
                                        <p:attrNameLst>
                                          <p:attrName>style.visibility</p:attrName>
                                        </p:attrNameLst>
                                      </p:cBhvr>
                                      <p:to>
                                        <p:strVal val="visible"/>
                                      </p:to>
                                    </p:set>
                                    <p:animEffect transition="in" filter="fade">
                                      <p:cBhvr>
                                        <p:cTn id="65" dur="250"/>
                                        <p:tgtEl>
                                          <p:spTgt spid="68"/>
                                        </p:tgtEl>
                                      </p:cBhvr>
                                    </p:animEffect>
                                  </p:childTnLst>
                                </p:cTn>
                              </p:par>
                              <p:par>
                                <p:cTn id="66" presetID="10" presetClass="entr" presetSubtype="0" fill="hold" grpId="0" nodeType="withEffect">
                                  <p:stCondLst>
                                    <p:cond delay="1200"/>
                                  </p:stCondLst>
                                  <p:childTnLst>
                                    <p:set>
                                      <p:cBhvr>
                                        <p:cTn id="67" dur="1" fill="hold">
                                          <p:stCondLst>
                                            <p:cond delay="0"/>
                                          </p:stCondLst>
                                        </p:cTn>
                                        <p:tgtEl>
                                          <p:spTgt spid="67"/>
                                        </p:tgtEl>
                                        <p:attrNameLst>
                                          <p:attrName>style.visibility</p:attrName>
                                        </p:attrNameLst>
                                      </p:cBhvr>
                                      <p:to>
                                        <p:strVal val="visible"/>
                                      </p:to>
                                    </p:set>
                                    <p:animEffect transition="in" filter="fade">
                                      <p:cBhvr>
                                        <p:cTn id="68" dur="250"/>
                                        <p:tgtEl>
                                          <p:spTgt spid="67"/>
                                        </p:tgtEl>
                                      </p:cBhvr>
                                    </p:animEffect>
                                  </p:childTnLst>
                                </p:cTn>
                              </p:par>
                              <p:par>
                                <p:cTn id="69" presetID="10" presetClass="entr" presetSubtype="0" fill="hold" grpId="0" nodeType="withEffect">
                                  <p:stCondLst>
                                    <p:cond delay="1300"/>
                                  </p:stCondLst>
                                  <p:childTnLst>
                                    <p:set>
                                      <p:cBhvr>
                                        <p:cTn id="70" dur="1" fill="hold">
                                          <p:stCondLst>
                                            <p:cond delay="0"/>
                                          </p:stCondLst>
                                        </p:cTn>
                                        <p:tgtEl>
                                          <p:spTgt spid="66"/>
                                        </p:tgtEl>
                                        <p:attrNameLst>
                                          <p:attrName>style.visibility</p:attrName>
                                        </p:attrNameLst>
                                      </p:cBhvr>
                                      <p:to>
                                        <p:strVal val="visible"/>
                                      </p:to>
                                    </p:set>
                                    <p:animEffect transition="in" filter="fade">
                                      <p:cBhvr>
                                        <p:cTn id="71" dur="250"/>
                                        <p:tgtEl>
                                          <p:spTgt spid="66"/>
                                        </p:tgtEl>
                                      </p:cBhvr>
                                    </p:animEffect>
                                  </p:childTnLst>
                                </p:cTn>
                              </p:par>
                              <p:par>
                                <p:cTn id="72" presetID="10" presetClass="entr" presetSubtype="0" fill="hold" grpId="0" nodeType="withEffect">
                                  <p:stCondLst>
                                    <p:cond delay="1400"/>
                                  </p:stCondLst>
                                  <p:childTnLst>
                                    <p:set>
                                      <p:cBhvr>
                                        <p:cTn id="73" dur="1" fill="hold">
                                          <p:stCondLst>
                                            <p:cond delay="0"/>
                                          </p:stCondLst>
                                        </p:cTn>
                                        <p:tgtEl>
                                          <p:spTgt spid="65"/>
                                        </p:tgtEl>
                                        <p:attrNameLst>
                                          <p:attrName>style.visibility</p:attrName>
                                        </p:attrNameLst>
                                      </p:cBhvr>
                                      <p:to>
                                        <p:strVal val="visible"/>
                                      </p:to>
                                    </p:set>
                                    <p:animEffect transition="in" filter="fade">
                                      <p:cBhvr>
                                        <p:cTn id="74" dur="250"/>
                                        <p:tgtEl>
                                          <p:spTgt spid="65"/>
                                        </p:tgtEl>
                                      </p:cBhvr>
                                    </p:animEffect>
                                  </p:childTnLst>
                                </p:cTn>
                              </p:par>
                              <p:par>
                                <p:cTn id="75" presetID="10" presetClass="entr" presetSubtype="0" fill="hold" grpId="0" nodeType="withEffect">
                                  <p:stCondLst>
                                    <p:cond delay="1500"/>
                                  </p:stCondLst>
                                  <p:childTnLst>
                                    <p:set>
                                      <p:cBhvr>
                                        <p:cTn id="76" dur="1" fill="hold">
                                          <p:stCondLst>
                                            <p:cond delay="0"/>
                                          </p:stCondLst>
                                        </p:cTn>
                                        <p:tgtEl>
                                          <p:spTgt spid="64"/>
                                        </p:tgtEl>
                                        <p:attrNameLst>
                                          <p:attrName>style.visibility</p:attrName>
                                        </p:attrNameLst>
                                      </p:cBhvr>
                                      <p:to>
                                        <p:strVal val="visible"/>
                                      </p:to>
                                    </p:set>
                                    <p:animEffect transition="in" filter="fade">
                                      <p:cBhvr>
                                        <p:cTn id="77" dur="250"/>
                                        <p:tgtEl>
                                          <p:spTgt spid="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tmplLst>
          <p:tmpl>
            <p:tnLst>
              <p:par>
                <p:cTn presetID="10" presetClass="entr" presetSubtype="0" fill="hold" nodeType="withEffect">
                  <p:stCondLst>
                    <p:cond delay="1000"/>
                  </p:stCondLst>
                  <p:childTnLst>
                    <p:set>
                      <p:cBhvr>
                        <p:cTn dur="1" fill="hold">
                          <p:stCondLst>
                            <p:cond delay="0"/>
                          </p:stCondLst>
                        </p:cTn>
                        <p:tgtEl>
                          <p:spTgt spid="5"/>
                        </p:tgtEl>
                        <p:attrNameLst>
                          <p:attrName>style.visibility</p:attrName>
                        </p:attrNameLst>
                      </p:cBhvr>
                      <p:to>
                        <p:strVal val="visible"/>
                      </p:to>
                    </p:set>
                    <p:animEffect transition="in" filter="fade">
                      <p:cBhvr>
                        <p:cTn dur="250"/>
                        <p:tgtEl>
                          <p:spTgt spid="5"/>
                        </p:tgtEl>
                      </p:cBhvr>
                    </p:animEffect>
                  </p:childTnLst>
                </p:cTn>
              </p:par>
            </p:tnLst>
          </p:tmpl>
        </p:tmplLst>
      </p:bldP>
      <p:bldP spid="64" grpId="0">
        <p:tmplLst>
          <p:tmpl>
            <p:tnLst>
              <p:par>
                <p:cTn presetID="10" presetClass="entr" presetSubtype="0" fill="hold" nodeType="withEffect">
                  <p:stCondLst>
                    <p:cond delay="1500"/>
                  </p:stCondLst>
                  <p:childTnLst>
                    <p:set>
                      <p:cBhvr>
                        <p:cTn dur="1" fill="hold">
                          <p:stCondLst>
                            <p:cond delay="0"/>
                          </p:stCondLst>
                        </p:cTn>
                        <p:tgtEl>
                          <p:spTgt spid="64"/>
                        </p:tgtEl>
                        <p:attrNameLst>
                          <p:attrName>style.visibility</p:attrName>
                        </p:attrNameLst>
                      </p:cBhvr>
                      <p:to>
                        <p:strVal val="visible"/>
                      </p:to>
                    </p:set>
                    <p:animEffect transition="in" filter="fade">
                      <p:cBhvr>
                        <p:cTn dur="250"/>
                        <p:tgtEl>
                          <p:spTgt spid="64"/>
                        </p:tgtEl>
                      </p:cBhvr>
                    </p:animEffect>
                  </p:childTnLst>
                </p:cTn>
              </p:par>
            </p:tnLst>
          </p:tmpl>
        </p:tmplLst>
      </p:bldP>
      <p:bldP spid="65" grpId="0">
        <p:tmplLst>
          <p:tmpl>
            <p:tnLst>
              <p:par>
                <p:cTn presetID="10" presetClass="entr" presetSubtype="0" fill="hold" nodeType="withEffect">
                  <p:stCondLst>
                    <p:cond delay="1400"/>
                  </p:stCondLst>
                  <p:childTnLst>
                    <p:set>
                      <p:cBhvr>
                        <p:cTn dur="1" fill="hold">
                          <p:stCondLst>
                            <p:cond delay="0"/>
                          </p:stCondLst>
                        </p:cTn>
                        <p:tgtEl>
                          <p:spTgt spid="65"/>
                        </p:tgtEl>
                        <p:attrNameLst>
                          <p:attrName>style.visibility</p:attrName>
                        </p:attrNameLst>
                      </p:cBhvr>
                      <p:to>
                        <p:strVal val="visible"/>
                      </p:to>
                    </p:set>
                    <p:animEffect transition="in" filter="fade">
                      <p:cBhvr>
                        <p:cTn dur="250"/>
                        <p:tgtEl>
                          <p:spTgt spid="65"/>
                        </p:tgtEl>
                      </p:cBhvr>
                    </p:animEffect>
                  </p:childTnLst>
                </p:cTn>
              </p:par>
            </p:tnLst>
          </p:tmpl>
        </p:tmplLst>
      </p:bldP>
      <p:bldP spid="66" grpId="0">
        <p:tmplLst>
          <p:tmpl>
            <p:tnLst>
              <p:par>
                <p:cTn presetID="10" presetClass="entr" presetSubtype="0" fill="hold" nodeType="withEffect">
                  <p:stCondLst>
                    <p:cond delay="1300"/>
                  </p:stCondLst>
                  <p:childTnLst>
                    <p:set>
                      <p:cBhvr>
                        <p:cTn dur="1" fill="hold">
                          <p:stCondLst>
                            <p:cond delay="0"/>
                          </p:stCondLst>
                        </p:cTn>
                        <p:tgtEl>
                          <p:spTgt spid="66"/>
                        </p:tgtEl>
                        <p:attrNameLst>
                          <p:attrName>style.visibility</p:attrName>
                        </p:attrNameLst>
                      </p:cBhvr>
                      <p:to>
                        <p:strVal val="visible"/>
                      </p:to>
                    </p:set>
                    <p:animEffect transition="in" filter="fade">
                      <p:cBhvr>
                        <p:cTn dur="250"/>
                        <p:tgtEl>
                          <p:spTgt spid="66"/>
                        </p:tgtEl>
                      </p:cBhvr>
                    </p:animEffect>
                  </p:childTnLst>
                </p:cTn>
              </p:par>
            </p:tnLst>
          </p:tmpl>
        </p:tmplLst>
      </p:bldP>
      <p:bldP spid="67" grpId="0">
        <p:tmplLst>
          <p:tmpl>
            <p:tnLst>
              <p:par>
                <p:cTn presetID="10" presetClass="entr" presetSubtype="0" fill="hold" nodeType="withEffect">
                  <p:stCondLst>
                    <p:cond delay="1200"/>
                  </p:stCondLst>
                  <p:childTnLst>
                    <p:set>
                      <p:cBhvr>
                        <p:cTn dur="1" fill="hold">
                          <p:stCondLst>
                            <p:cond delay="0"/>
                          </p:stCondLst>
                        </p:cTn>
                        <p:tgtEl>
                          <p:spTgt spid="67"/>
                        </p:tgtEl>
                        <p:attrNameLst>
                          <p:attrName>style.visibility</p:attrName>
                        </p:attrNameLst>
                      </p:cBhvr>
                      <p:to>
                        <p:strVal val="visible"/>
                      </p:to>
                    </p:set>
                    <p:animEffect transition="in" filter="fade">
                      <p:cBhvr>
                        <p:cTn dur="250"/>
                        <p:tgtEl>
                          <p:spTgt spid="67"/>
                        </p:tgtEl>
                      </p:cBhvr>
                    </p:animEffect>
                  </p:childTnLst>
                </p:cTn>
              </p:par>
            </p:tnLst>
          </p:tmpl>
        </p:tmplLst>
      </p:bldP>
      <p:bldP spid="68" grpId="0">
        <p:tmplLst>
          <p:tmpl>
            <p:tnLst>
              <p:par>
                <p:cTn presetID="10" presetClass="entr" presetSubtype="0" fill="hold" nodeType="withEffect">
                  <p:stCondLst>
                    <p:cond delay="1100"/>
                  </p:stCondLst>
                  <p:childTnLst>
                    <p:set>
                      <p:cBhvr>
                        <p:cTn dur="1" fill="hold">
                          <p:stCondLst>
                            <p:cond delay="0"/>
                          </p:stCondLst>
                        </p:cTn>
                        <p:tgtEl>
                          <p:spTgt spid="68"/>
                        </p:tgtEl>
                        <p:attrNameLst>
                          <p:attrName>style.visibility</p:attrName>
                        </p:attrNameLst>
                      </p:cBhvr>
                      <p:to>
                        <p:strVal val="visible"/>
                      </p:to>
                    </p:set>
                    <p:animEffect transition="in" filter="fade">
                      <p:cBhvr>
                        <p:cTn dur="250"/>
                        <p:tgtEl>
                          <p:spTgt spid="68"/>
                        </p:tgtEl>
                      </p:cBhvr>
                    </p:animEffect>
                  </p:childTnLst>
                </p:cTn>
              </p:par>
            </p:tnLst>
          </p:tmpl>
        </p:tmplLst>
      </p:bldP>
    </p:bld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HIghlights">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44" name="Freeform 13"/>
          <p:cNvSpPr>
            <a:spLocks noEditPoints="1"/>
          </p:cNvSpPr>
          <p:nvPr userDrawn="1"/>
        </p:nvSpPr>
        <p:spPr bwMode="auto">
          <a:xfrm rot="21197796">
            <a:off x="3634317" y="977902"/>
            <a:ext cx="4921251" cy="4904317"/>
          </a:xfrm>
          <a:custGeom>
            <a:avLst/>
            <a:gdLst>
              <a:gd name="T0" fmla="*/ 2825 w 3041"/>
              <a:gd name="T1" fmla="*/ 1515 h 3029"/>
              <a:gd name="T2" fmla="*/ 2999 w 3041"/>
              <a:gd name="T3" fmla="*/ 1056 h 3029"/>
              <a:gd name="T4" fmla="*/ 2998 w 3041"/>
              <a:gd name="T5" fmla="*/ 1054 h 3029"/>
              <a:gd name="T6" fmla="*/ 2891 w 3041"/>
              <a:gd name="T7" fmla="*/ 780 h 3029"/>
              <a:gd name="T8" fmla="*/ 2891 w 3041"/>
              <a:gd name="T9" fmla="*/ 778 h 3029"/>
              <a:gd name="T10" fmla="*/ 2430 w 3041"/>
              <a:gd name="T11" fmla="*/ 582 h 3029"/>
              <a:gd name="T12" fmla="*/ 2441 w 3041"/>
              <a:gd name="T13" fmla="*/ 294 h 3029"/>
              <a:gd name="T14" fmla="*/ 2173 w 3041"/>
              <a:gd name="T15" fmla="*/ 388 h 3029"/>
              <a:gd name="T16" fmla="*/ 1876 w 3041"/>
              <a:gd name="T17" fmla="*/ 25 h 3029"/>
              <a:gd name="T18" fmla="*/ 1527 w 3041"/>
              <a:gd name="T19" fmla="*/ 0 h 3029"/>
              <a:gd name="T20" fmla="*/ 1178 w 3041"/>
              <a:gd name="T21" fmla="*/ 264 h 3029"/>
              <a:gd name="T22" fmla="*/ 933 w 3041"/>
              <a:gd name="T23" fmla="*/ 111 h 3029"/>
              <a:gd name="T24" fmla="*/ 864 w 3041"/>
              <a:gd name="T25" fmla="*/ 399 h 3029"/>
              <a:gd name="T26" fmla="*/ 414 w 3041"/>
              <a:gd name="T27" fmla="*/ 467 h 3029"/>
              <a:gd name="T28" fmla="*/ 212 w 3041"/>
              <a:gd name="T29" fmla="*/ 743 h 3029"/>
              <a:gd name="T30" fmla="*/ 268 w 3041"/>
              <a:gd name="T31" fmla="*/ 1198 h 3029"/>
              <a:gd name="T32" fmla="*/ 14 w 3041"/>
              <a:gd name="T33" fmla="*/ 1332 h 3029"/>
              <a:gd name="T34" fmla="*/ 229 w 3041"/>
              <a:gd name="T35" fmla="*/ 1520 h 3029"/>
              <a:gd name="T36" fmla="*/ 61 w 3041"/>
              <a:gd name="T37" fmla="*/ 1959 h 3029"/>
              <a:gd name="T38" fmla="*/ 190 w 3041"/>
              <a:gd name="T39" fmla="*/ 2263 h 3029"/>
              <a:gd name="T40" fmla="*/ 621 w 3041"/>
              <a:gd name="T41" fmla="*/ 2444 h 3029"/>
              <a:gd name="T42" fmla="*/ 610 w 3041"/>
              <a:gd name="T43" fmla="*/ 2732 h 3029"/>
              <a:gd name="T44" fmla="*/ 886 w 3041"/>
              <a:gd name="T45" fmla="*/ 2644 h 3029"/>
              <a:gd name="T46" fmla="*/ 1176 w 3041"/>
              <a:gd name="T47" fmla="*/ 3002 h 3029"/>
              <a:gd name="T48" fmla="*/ 1527 w 3041"/>
              <a:gd name="T49" fmla="*/ 3029 h 3029"/>
              <a:gd name="T50" fmla="*/ 1527 w 3041"/>
              <a:gd name="T51" fmla="*/ 2813 h 3029"/>
              <a:gd name="T52" fmla="*/ 1986 w 3041"/>
              <a:gd name="T53" fmla="*/ 2986 h 3029"/>
              <a:gd name="T54" fmla="*/ 2262 w 3041"/>
              <a:gd name="T55" fmla="*/ 2879 h 3029"/>
              <a:gd name="T56" fmla="*/ 2459 w 3041"/>
              <a:gd name="T57" fmla="*/ 2418 h 3029"/>
              <a:gd name="T58" fmla="*/ 2747 w 3041"/>
              <a:gd name="T59" fmla="*/ 2430 h 3029"/>
              <a:gd name="T60" fmla="*/ 2653 w 3041"/>
              <a:gd name="T61" fmla="*/ 2161 h 3029"/>
              <a:gd name="T62" fmla="*/ 3017 w 3041"/>
              <a:gd name="T63" fmla="*/ 1865 h 3029"/>
              <a:gd name="T64" fmla="*/ 3041 w 3041"/>
              <a:gd name="T65" fmla="*/ 1516 h 3029"/>
              <a:gd name="T66" fmla="*/ 1962 w 3041"/>
              <a:gd name="T67" fmla="*/ 2545 h 3029"/>
              <a:gd name="T68" fmla="*/ 1092 w 3041"/>
              <a:gd name="T69" fmla="*/ 2545 h 3029"/>
              <a:gd name="T70" fmla="*/ 497 w 3041"/>
              <a:gd name="T71" fmla="*/ 1950 h 3029"/>
              <a:gd name="T72" fmla="*/ 497 w 3041"/>
              <a:gd name="T73" fmla="*/ 1080 h 3029"/>
              <a:gd name="T74" fmla="*/ 1092 w 3041"/>
              <a:gd name="T75" fmla="*/ 485 h 3029"/>
              <a:gd name="T76" fmla="*/ 1962 w 3041"/>
              <a:gd name="T77" fmla="*/ 485 h 3029"/>
              <a:gd name="T78" fmla="*/ 2557 w 3041"/>
              <a:gd name="T79" fmla="*/ 1080 h 3029"/>
              <a:gd name="T80" fmla="*/ 2557 w 3041"/>
              <a:gd name="T81" fmla="*/ 1950 h 3029"/>
              <a:gd name="T82" fmla="*/ 1962 w 3041"/>
              <a:gd name="T83" fmla="*/ 2545 h 3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41" h="3029">
                <a:moveTo>
                  <a:pt x="2825" y="1516"/>
                </a:moveTo>
                <a:cubicBezTo>
                  <a:pt x="2825" y="1515"/>
                  <a:pt x="2825" y="1515"/>
                  <a:pt x="2825" y="1515"/>
                </a:cubicBezTo>
                <a:cubicBezTo>
                  <a:pt x="2825" y="1394"/>
                  <a:pt x="2809" y="1277"/>
                  <a:pt x="2778" y="1167"/>
                </a:cubicBezTo>
                <a:cubicBezTo>
                  <a:pt x="2999" y="1056"/>
                  <a:pt x="2999" y="1056"/>
                  <a:pt x="2999" y="1056"/>
                </a:cubicBezTo>
                <a:cubicBezTo>
                  <a:pt x="2998" y="1054"/>
                  <a:pt x="2998" y="1054"/>
                  <a:pt x="2998" y="1054"/>
                </a:cubicBezTo>
                <a:cubicBezTo>
                  <a:pt x="2998" y="1054"/>
                  <a:pt x="2998" y="1054"/>
                  <a:pt x="2998" y="1054"/>
                </a:cubicBezTo>
                <a:cubicBezTo>
                  <a:pt x="2932" y="922"/>
                  <a:pt x="2932" y="922"/>
                  <a:pt x="2932" y="922"/>
                </a:cubicBezTo>
                <a:cubicBezTo>
                  <a:pt x="2891" y="780"/>
                  <a:pt x="2891" y="780"/>
                  <a:pt x="2891" y="780"/>
                </a:cubicBezTo>
                <a:cubicBezTo>
                  <a:pt x="2891" y="780"/>
                  <a:pt x="2891" y="780"/>
                  <a:pt x="2891" y="780"/>
                </a:cubicBezTo>
                <a:cubicBezTo>
                  <a:pt x="2891" y="778"/>
                  <a:pt x="2891" y="778"/>
                  <a:pt x="2891" y="778"/>
                </a:cubicBezTo>
                <a:cubicBezTo>
                  <a:pt x="2642" y="849"/>
                  <a:pt x="2642" y="849"/>
                  <a:pt x="2642" y="849"/>
                </a:cubicBezTo>
                <a:cubicBezTo>
                  <a:pt x="2583" y="751"/>
                  <a:pt x="2512" y="661"/>
                  <a:pt x="2430" y="582"/>
                </a:cubicBezTo>
                <a:cubicBezTo>
                  <a:pt x="2574" y="401"/>
                  <a:pt x="2574" y="401"/>
                  <a:pt x="2574" y="401"/>
                </a:cubicBezTo>
                <a:cubicBezTo>
                  <a:pt x="2441" y="294"/>
                  <a:pt x="2441" y="294"/>
                  <a:pt x="2441" y="294"/>
                </a:cubicBezTo>
                <a:cubicBezTo>
                  <a:pt x="2298" y="199"/>
                  <a:pt x="2298" y="199"/>
                  <a:pt x="2298" y="199"/>
                </a:cubicBezTo>
                <a:cubicBezTo>
                  <a:pt x="2173" y="388"/>
                  <a:pt x="2173" y="388"/>
                  <a:pt x="2173" y="388"/>
                </a:cubicBezTo>
                <a:cubicBezTo>
                  <a:pt x="2071" y="330"/>
                  <a:pt x="1960" y="285"/>
                  <a:pt x="1843" y="256"/>
                </a:cubicBezTo>
                <a:cubicBezTo>
                  <a:pt x="1876" y="25"/>
                  <a:pt x="1876" y="25"/>
                  <a:pt x="1876" y="25"/>
                </a:cubicBezTo>
                <a:cubicBezTo>
                  <a:pt x="1702" y="0"/>
                  <a:pt x="1702" y="0"/>
                  <a:pt x="1702" y="0"/>
                </a:cubicBezTo>
                <a:cubicBezTo>
                  <a:pt x="1527" y="0"/>
                  <a:pt x="1527" y="0"/>
                  <a:pt x="1527" y="0"/>
                </a:cubicBezTo>
                <a:cubicBezTo>
                  <a:pt x="1527" y="217"/>
                  <a:pt x="1527" y="217"/>
                  <a:pt x="1527" y="217"/>
                </a:cubicBezTo>
                <a:cubicBezTo>
                  <a:pt x="1406" y="217"/>
                  <a:pt x="1289" y="233"/>
                  <a:pt x="1178" y="264"/>
                </a:cubicBezTo>
                <a:cubicBezTo>
                  <a:pt x="1067" y="44"/>
                  <a:pt x="1067" y="44"/>
                  <a:pt x="1067" y="44"/>
                </a:cubicBezTo>
                <a:cubicBezTo>
                  <a:pt x="933" y="111"/>
                  <a:pt x="933" y="111"/>
                  <a:pt x="933" y="111"/>
                </a:cubicBezTo>
                <a:cubicBezTo>
                  <a:pt x="789" y="155"/>
                  <a:pt x="789" y="155"/>
                  <a:pt x="789" y="155"/>
                </a:cubicBezTo>
                <a:cubicBezTo>
                  <a:pt x="864" y="399"/>
                  <a:pt x="864" y="399"/>
                  <a:pt x="864" y="399"/>
                </a:cubicBezTo>
                <a:cubicBezTo>
                  <a:pt x="765" y="458"/>
                  <a:pt x="674" y="530"/>
                  <a:pt x="595" y="612"/>
                </a:cubicBezTo>
                <a:cubicBezTo>
                  <a:pt x="414" y="467"/>
                  <a:pt x="414" y="467"/>
                  <a:pt x="414" y="467"/>
                </a:cubicBezTo>
                <a:cubicBezTo>
                  <a:pt x="307" y="601"/>
                  <a:pt x="307" y="601"/>
                  <a:pt x="307" y="601"/>
                </a:cubicBezTo>
                <a:cubicBezTo>
                  <a:pt x="212" y="743"/>
                  <a:pt x="212" y="743"/>
                  <a:pt x="212" y="743"/>
                </a:cubicBezTo>
                <a:cubicBezTo>
                  <a:pt x="401" y="869"/>
                  <a:pt x="401" y="869"/>
                  <a:pt x="401" y="869"/>
                </a:cubicBezTo>
                <a:cubicBezTo>
                  <a:pt x="342" y="971"/>
                  <a:pt x="297" y="1081"/>
                  <a:pt x="268" y="1198"/>
                </a:cubicBezTo>
                <a:cubicBezTo>
                  <a:pt x="38" y="1165"/>
                  <a:pt x="38" y="1165"/>
                  <a:pt x="38" y="1165"/>
                </a:cubicBezTo>
                <a:cubicBezTo>
                  <a:pt x="14" y="1332"/>
                  <a:pt x="14" y="1332"/>
                  <a:pt x="14" y="1332"/>
                </a:cubicBezTo>
                <a:cubicBezTo>
                  <a:pt x="0" y="1501"/>
                  <a:pt x="0" y="1501"/>
                  <a:pt x="0" y="1501"/>
                </a:cubicBezTo>
                <a:cubicBezTo>
                  <a:pt x="229" y="1520"/>
                  <a:pt x="229" y="1520"/>
                  <a:pt x="229" y="1520"/>
                </a:cubicBezTo>
                <a:cubicBezTo>
                  <a:pt x="230" y="1641"/>
                  <a:pt x="247" y="1758"/>
                  <a:pt x="278" y="1869"/>
                </a:cubicBezTo>
                <a:cubicBezTo>
                  <a:pt x="61" y="1959"/>
                  <a:pt x="61" y="1959"/>
                  <a:pt x="61" y="1959"/>
                </a:cubicBezTo>
                <a:cubicBezTo>
                  <a:pt x="124" y="2111"/>
                  <a:pt x="124" y="2111"/>
                  <a:pt x="124" y="2111"/>
                </a:cubicBezTo>
                <a:cubicBezTo>
                  <a:pt x="190" y="2263"/>
                  <a:pt x="190" y="2263"/>
                  <a:pt x="190" y="2263"/>
                </a:cubicBezTo>
                <a:cubicBezTo>
                  <a:pt x="407" y="2170"/>
                  <a:pt x="407" y="2170"/>
                  <a:pt x="407" y="2170"/>
                </a:cubicBezTo>
                <a:cubicBezTo>
                  <a:pt x="466" y="2271"/>
                  <a:pt x="538" y="2363"/>
                  <a:pt x="621" y="2444"/>
                </a:cubicBezTo>
                <a:cubicBezTo>
                  <a:pt x="480" y="2638"/>
                  <a:pt x="480" y="2638"/>
                  <a:pt x="480" y="2638"/>
                </a:cubicBezTo>
                <a:cubicBezTo>
                  <a:pt x="610" y="2732"/>
                  <a:pt x="610" y="2732"/>
                  <a:pt x="610" y="2732"/>
                </a:cubicBezTo>
                <a:cubicBezTo>
                  <a:pt x="735" y="2833"/>
                  <a:pt x="735" y="2833"/>
                  <a:pt x="735" y="2833"/>
                </a:cubicBezTo>
                <a:cubicBezTo>
                  <a:pt x="886" y="2644"/>
                  <a:pt x="886" y="2644"/>
                  <a:pt x="886" y="2644"/>
                </a:cubicBezTo>
                <a:cubicBezTo>
                  <a:pt x="987" y="2701"/>
                  <a:pt x="1096" y="2745"/>
                  <a:pt x="1211" y="2774"/>
                </a:cubicBezTo>
                <a:cubicBezTo>
                  <a:pt x="1176" y="3002"/>
                  <a:pt x="1176" y="3002"/>
                  <a:pt x="1176" y="3002"/>
                </a:cubicBezTo>
                <a:cubicBezTo>
                  <a:pt x="1350" y="3029"/>
                  <a:pt x="1350" y="3029"/>
                  <a:pt x="1350" y="3029"/>
                </a:cubicBezTo>
                <a:cubicBezTo>
                  <a:pt x="1527" y="3029"/>
                  <a:pt x="1527" y="3029"/>
                  <a:pt x="1527" y="3029"/>
                </a:cubicBezTo>
                <a:cubicBezTo>
                  <a:pt x="1527" y="2813"/>
                  <a:pt x="1527" y="2813"/>
                  <a:pt x="1527" y="2813"/>
                </a:cubicBezTo>
                <a:cubicBezTo>
                  <a:pt x="1527" y="2813"/>
                  <a:pt x="1527" y="2813"/>
                  <a:pt x="1527" y="2813"/>
                </a:cubicBezTo>
                <a:cubicBezTo>
                  <a:pt x="1648" y="2813"/>
                  <a:pt x="1765" y="2796"/>
                  <a:pt x="1876" y="2765"/>
                </a:cubicBezTo>
                <a:cubicBezTo>
                  <a:pt x="1986" y="2986"/>
                  <a:pt x="1986" y="2986"/>
                  <a:pt x="1986" y="2986"/>
                </a:cubicBezTo>
                <a:cubicBezTo>
                  <a:pt x="2119" y="2920"/>
                  <a:pt x="2119" y="2920"/>
                  <a:pt x="2119" y="2920"/>
                </a:cubicBezTo>
                <a:cubicBezTo>
                  <a:pt x="2262" y="2879"/>
                  <a:pt x="2262" y="2879"/>
                  <a:pt x="2262" y="2879"/>
                </a:cubicBezTo>
                <a:cubicBezTo>
                  <a:pt x="2191" y="2630"/>
                  <a:pt x="2191" y="2630"/>
                  <a:pt x="2191" y="2630"/>
                </a:cubicBezTo>
                <a:cubicBezTo>
                  <a:pt x="2290" y="2571"/>
                  <a:pt x="2380" y="2500"/>
                  <a:pt x="2459" y="2418"/>
                </a:cubicBezTo>
                <a:cubicBezTo>
                  <a:pt x="2640" y="2563"/>
                  <a:pt x="2640" y="2563"/>
                  <a:pt x="2640" y="2563"/>
                </a:cubicBezTo>
                <a:cubicBezTo>
                  <a:pt x="2747" y="2430"/>
                  <a:pt x="2747" y="2430"/>
                  <a:pt x="2747" y="2430"/>
                </a:cubicBezTo>
                <a:cubicBezTo>
                  <a:pt x="2842" y="2287"/>
                  <a:pt x="2842" y="2287"/>
                  <a:pt x="2842" y="2287"/>
                </a:cubicBezTo>
                <a:cubicBezTo>
                  <a:pt x="2653" y="2161"/>
                  <a:pt x="2653" y="2161"/>
                  <a:pt x="2653" y="2161"/>
                </a:cubicBezTo>
                <a:cubicBezTo>
                  <a:pt x="2711" y="2060"/>
                  <a:pt x="2757" y="1949"/>
                  <a:pt x="2786" y="1832"/>
                </a:cubicBezTo>
                <a:cubicBezTo>
                  <a:pt x="3017" y="1865"/>
                  <a:pt x="3017" y="1865"/>
                  <a:pt x="3017" y="1865"/>
                </a:cubicBezTo>
                <a:cubicBezTo>
                  <a:pt x="3041" y="1691"/>
                  <a:pt x="3041" y="1691"/>
                  <a:pt x="3041" y="1691"/>
                </a:cubicBezTo>
                <a:cubicBezTo>
                  <a:pt x="3041" y="1516"/>
                  <a:pt x="3041" y="1516"/>
                  <a:pt x="3041" y="1516"/>
                </a:cubicBezTo>
                <a:lnTo>
                  <a:pt x="2825" y="1516"/>
                </a:lnTo>
                <a:close/>
                <a:moveTo>
                  <a:pt x="1962" y="2545"/>
                </a:moveTo>
                <a:cubicBezTo>
                  <a:pt x="1825" y="2603"/>
                  <a:pt x="1678" y="2633"/>
                  <a:pt x="1527" y="2633"/>
                </a:cubicBezTo>
                <a:cubicBezTo>
                  <a:pt x="1376" y="2633"/>
                  <a:pt x="1230" y="2603"/>
                  <a:pt x="1092" y="2545"/>
                </a:cubicBezTo>
                <a:cubicBezTo>
                  <a:pt x="959" y="2489"/>
                  <a:pt x="839" y="2408"/>
                  <a:pt x="737" y="2305"/>
                </a:cubicBezTo>
                <a:cubicBezTo>
                  <a:pt x="634" y="2203"/>
                  <a:pt x="553" y="2083"/>
                  <a:pt x="497" y="1950"/>
                </a:cubicBezTo>
                <a:cubicBezTo>
                  <a:pt x="439" y="1812"/>
                  <a:pt x="409" y="1666"/>
                  <a:pt x="409" y="1515"/>
                </a:cubicBezTo>
                <a:cubicBezTo>
                  <a:pt x="409" y="1364"/>
                  <a:pt x="439" y="1217"/>
                  <a:pt x="497" y="1080"/>
                </a:cubicBezTo>
                <a:cubicBezTo>
                  <a:pt x="553" y="947"/>
                  <a:pt x="634" y="827"/>
                  <a:pt x="737" y="724"/>
                </a:cubicBezTo>
                <a:cubicBezTo>
                  <a:pt x="839" y="621"/>
                  <a:pt x="959" y="541"/>
                  <a:pt x="1092" y="485"/>
                </a:cubicBezTo>
                <a:cubicBezTo>
                  <a:pt x="1230" y="426"/>
                  <a:pt x="1376" y="397"/>
                  <a:pt x="1527" y="397"/>
                </a:cubicBezTo>
                <a:cubicBezTo>
                  <a:pt x="1678" y="397"/>
                  <a:pt x="1825" y="426"/>
                  <a:pt x="1962" y="485"/>
                </a:cubicBezTo>
                <a:cubicBezTo>
                  <a:pt x="2095" y="541"/>
                  <a:pt x="2215" y="621"/>
                  <a:pt x="2318" y="724"/>
                </a:cubicBezTo>
                <a:cubicBezTo>
                  <a:pt x="2420" y="827"/>
                  <a:pt x="2501" y="947"/>
                  <a:pt x="2557" y="1080"/>
                </a:cubicBezTo>
                <a:cubicBezTo>
                  <a:pt x="2616" y="1217"/>
                  <a:pt x="2645" y="1364"/>
                  <a:pt x="2645" y="1515"/>
                </a:cubicBezTo>
                <a:cubicBezTo>
                  <a:pt x="2645" y="1666"/>
                  <a:pt x="2616" y="1812"/>
                  <a:pt x="2557" y="1950"/>
                </a:cubicBezTo>
                <a:cubicBezTo>
                  <a:pt x="2501" y="2083"/>
                  <a:pt x="2420" y="2203"/>
                  <a:pt x="2318" y="2305"/>
                </a:cubicBezTo>
                <a:cubicBezTo>
                  <a:pt x="2215" y="2408"/>
                  <a:pt x="2095" y="2489"/>
                  <a:pt x="1962" y="2545"/>
                </a:cubicBezTo>
                <a:close/>
              </a:path>
            </a:pathLst>
          </a:custGeom>
          <a:gradFill>
            <a:gsLst>
              <a:gs pos="0">
                <a:srgbClr val="032145">
                  <a:lumMod val="25000"/>
                  <a:lumOff val="75000"/>
                </a:srgbClr>
              </a:gs>
              <a:gs pos="100000">
                <a:srgbClr val="032145">
                  <a:alpha val="27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5" name="Freeform 17"/>
          <p:cNvSpPr>
            <a:spLocks noEditPoints="1"/>
          </p:cNvSpPr>
          <p:nvPr userDrawn="1"/>
        </p:nvSpPr>
        <p:spPr bwMode="auto">
          <a:xfrm rot="1144636">
            <a:off x="1274471" y="3042352"/>
            <a:ext cx="2668971" cy="2675569"/>
          </a:xfrm>
          <a:custGeom>
            <a:avLst/>
            <a:gdLst>
              <a:gd name="T0" fmla="*/ 1687 w 1890"/>
              <a:gd name="T1" fmla="*/ 999 h 1892"/>
              <a:gd name="T2" fmla="*/ 1632 w 1890"/>
              <a:gd name="T3" fmla="*/ 675 h 1892"/>
              <a:gd name="T4" fmla="*/ 1809 w 1890"/>
              <a:gd name="T5" fmla="*/ 533 h 1892"/>
              <a:gd name="T6" fmla="*/ 1808 w 1890"/>
              <a:gd name="T7" fmla="*/ 533 h 1892"/>
              <a:gd name="T8" fmla="*/ 1808 w 1890"/>
              <a:gd name="T9" fmla="*/ 533 h 1892"/>
              <a:gd name="T10" fmla="*/ 1713 w 1890"/>
              <a:gd name="T11" fmla="*/ 414 h 1892"/>
              <a:gd name="T12" fmla="*/ 1637 w 1890"/>
              <a:gd name="T13" fmla="*/ 283 h 1892"/>
              <a:gd name="T14" fmla="*/ 1637 w 1890"/>
              <a:gd name="T15" fmla="*/ 283 h 1892"/>
              <a:gd name="T16" fmla="*/ 1637 w 1890"/>
              <a:gd name="T17" fmla="*/ 283 h 1892"/>
              <a:gd name="T18" fmla="*/ 1433 w 1890"/>
              <a:gd name="T19" fmla="*/ 401 h 1892"/>
              <a:gd name="T20" fmla="*/ 1152 w 1890"/>
              <a:gd name="T21" fmla="*/ 249 h 1892"/>
              <a:gd name="T22" fmla="*/ 1152 w 1890"/>
              <a:gd name="T23" fmla="*/ 23 h 1892"/>
              <a:gd name="T24" fmla="*/ 1000 w 1890"/>
              <a:gd name="T25" fmla="*/ 23 h 1892"/>
              <a:gd name="T26" fmla="*/ 851 w 1890"/>
              <a:gd name="T27" fmla="*/ 0 h 1892"/>
              <a:gd name="T28" fmla="*/ 815 w 1890"/>
              <a:gd name="T29" fmla="*/ 234 h 1892"/>
              <a:gd name="T30" fmla="*/ 518 w 1890"/>
              <a:gd name="T31" fmla="*/ 361 h 1892"/>
              <a:gd name="T32" fmla="*/ 357 w 1890"/>
              <a:gd name="T33" fmla="*/ 217 h 1892"/>
              <a:gd name="T34" fmla="*/ 244 w 1890"/>
              <a:gd name="T35" fmla="*/ 342 h 1892"/>
              <a:gd name="T36" fmla="*/ 139 w 1890"/>
              <a:gd name="T37" fmla="*/ 474 h 1892"/>
              <a:gd name="T38" fmla="*/ 303 w 1890"/>
              <a:gd name="T39" fmla="*/ 605 h 1892"/>
              <a:gd name="T40" fmla="*/ 213 w 1890"/>
              <a:gd name="T41" fmla="*/ 924 h 1892"/>
              <a:gd name="T42" fmla="*/ 0 w 1890"/>
              <a:gd name="T43" fmla="*/ 960 h 1892"/>
              <a:gd name="T44" fmla="*/ 27 w 1890"/>
              <a:gd name="T45" fmla="*/ 1125 h 1892"/>
              <a:gd name="T46" fmla="*/ 63 w 1890"/>
              <a:gd name="T47" fmla="*/ 1289 h 1892"/>
              <a:gd name="T48" fmla="*/ 269 w 1890"/>
              <a:gd name="T49" fmla="*/ 1245 h 1892"/>
              <a:gd name="T50" fmla="*/ 424 w 1890"/>
              <a:gd name="T51" fmla="*/ 1477 h 1892"/>
              <a:gd name="T52" fmla="*/ 461 w 1890"/>
              <a:gd name="T53" fmla="*/ 1512 h 1892"/>
              <a:gd name="T54" fmla="*/ 361 w 1890"/>
              <a:gd name="T55" fmla="*/ 1713 h 1892"/>
              <a:gd name="T56" fmla="*/ 505 w 1890"/>
              <a:gd name="T57" fmla="*/ 1785 h 1892"/>
              <a:gd name="T58" fmla="*/ 646 w 1890"/>
              <a:gd name="T59" fmla="*/ 1862 h 1892"/>
              <a:gd name="T60" fmla="*/ 751 w 1890"/>
              <a:gd name="T61" fmla="*/ 1670 h 1892"/>
              <a:gd name="T62" fmla="*/ 950 w 1890"/>
              <a:gd name="T63" fmla="*/ 1698 h 1892"/>
              <a:gd name="T64" fmla="*/ 1075 w 1890"/>
              <a:gd name="T65" fmla="*/ 1687 h 1892"/>
              <a:gd name="T66" fmla="*/ 1178 w 1890"/>
              <a:gd name="T67" fmla="*/ 1892 h 1892"/>
              <a:gd name="T68" fmla="*/ 1314 w 1890"/>
              <a:gd name="T69" fmla="*/ 1824 h 1892"/>
              <a:gd name="T70" fmla="*/ 1459 w 1890"/>
              <a:gd name="T71" fmla="*/ 1776 h 1892"/>
              <a:gd name="T72" fmla="*/ 1385 w 1890"/>
              <a:gd name="T73" fmla="*/ 1556 h 1892"/>
              <a:gd name="T74" fmla="*/ 1468 w 1890"/>
              <a:gd name="T75" fmla="*/ 1485 h 1892"/>
              <a:gd name="T76" fmla="*/ 1600 w 1890"/>
              <a:gd name="T77" fmla="*/ 1310 h 1892"/>
              <a:gd name="T78" fmla="*/ 1799 w 1890"/>
              <a:gd name="T79" fmla="*/ 1376 h 1892"/>
              <a:gd name="T80" fmla="*/ 1853 w 1890"/>
              <a:gd name="T81" fmla="*/ 1212 h 1892"/>
              <a:gd name="T82" fmla="*/ 1890 w 1890"/>
              <a:gd name="T83" fmla="*/ 1042 h 1892"/>
              <a:gd name="T84" fmla="*/ 1687 w 1890"/>
              <a:gd name="T85" fmla="*/ 999 h 1892"/>
              <a:gd name="T86" fmla="*/ 945 w 1890"/>
              <a:gd name="T87" fmla="*/ 1126 h 1892"/>
              <a:gd name="T88" fmla="*/ 765 w 1890"/>
              <a:gd name="T89" fmla="*/ 946 h 1892"/>
              <a:gd name="T90" fmla="*/ 945 w 1890"/>
              <a:gd name="T91" fmla="*/ 766 h 1892"/>
              <a:gd name="T92" fmla="*/ 1125 w 1890"/>
              <a:gd name="T93" fmla="*/ 946 h 1892"/>
              <a:gd name="T94" fmla="*/ 945 w 1890"/>
              <a:gd name="T95" fmla="*/ 1126 h 1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90" h="1892">
                <a:moveTo>
                  <a:pt x="1687" y="999"/>
                </a:moveTo>
                <a:cubicBezTo>
                  <a:pt x="1693" y="889"/>
                  <a:pt x="1675" y="778"/>
                  <a:pt x="1632" y="675"/>
                </a:cubicBezTo>
                <a:cubicBezTo>
                  <a:pt x="1809" y="533"/>
                  <a:pt x="1809" y="533"/>
                  <a:pt x="1809" y="533"/>
                </a:cubicBezTo>
                <a:cubicBezTo>
                  <a:pt x="1808" y="533"/>
                  <a:pt x="1808" y="533"/>
                  <a:pt x="1808" y="533"/>
                </a:cubicBezTo>
                <a:cubicBezTo>
                  <a:pt x="1808" y="533"/>
                  <a:pt x="1808" y="533"/>
                  <a:pt x="1808" y="533"/>
                </a:cubicBezTo>
                <a:cubicBezTo>
                  <a:pt x="1713" y="414"/>
                  <a:pt x="1713" y="414"/>
                  <a:pt x="1713" y="414"/>
                </a:cubicBezTo>
                <a:cubicBezTo>
                  <a:pt x="1637" y="283"/>
                  <a:pt x="1637" y="283"/>
                  <a:pt x="1637" y="283"/>
                </a:cubicBezTo>
                <a:cubicBezTo>
                  <a:pt x="1637" y="283"/>
                  <a:pt x="1637" y="283"/>
                  <a:pt x="1637" y="283"/>
                </a:cubicBezTo>
                <a:cubicBezTo>
                  <a:pt x="1637" y="283"/>
                  <a:pt x="1637" y="283"/>
                  <a:pt x="1637" y="283"/>
                </a:cubicBezTo>
                <a:cubicBezTo>
                  <a:pt x="1433" y="401"/>
                  <a:pt x="1433" y="401"/>
                  <a:pt x="1433" y="401"/>
                </a:cubicBezTo>
                <a:cubicBezTo>
                  <a:pt x="1349" y="329"/>
                  <a:pt x="1253" y="278"/>
                  <a:pt x="1152" y="249"/>
                </a:cubicBezTo>
                <a:cubicBezTo>
                  <a:pt x="1152" y="23"/>
                  <a:pt x="1152" y="23"/>
                  <a:pt x="1152" y="23"/>
                </a:cubicBezTo>
                <a:cubicBezTo>
                  <a:pt x="1000" y="23"/>
                  <a:pt x="1000" y="23"/>
                  <a:pt x="1000" y="23"/>
                </a:cubicBezTo>
                <a:cubicBezTo>
                  <a:pt x="851" y="0"/>
                  <a:pt x="851" y="0"/>
                  <a:pt x="851" y="0"/>
                </a:cubicBezTo>
                <a:cubicBezTo>
                  <a:pt x="815" y="234"/>
                  <a:pt x="815" y="234"/>
                  <a:pt x="815" y="234"/>
                </a:cubicBezTo>
                <a:cubicBezTo>
                  <a:pt x="710" y="253"/>
                  <a:pt x="608" y="296"/>
                  <a:pt x="518" y="361"/>
                </a:cubicBezTo>
                <a:cubicBezTo>
                  <a:pt x="357" y="217"/>
                  <a:pt x="357" y="217"/>
                  <a:pt x="357" y="217"/>
                </a:cubicBezTo>
                <a:cubicBezTo>
                  <a:pt x="244" y="342"/>
                  <a:pt x="244" y="342"/>
                  <a:pt x="244" y="342"/>
                </a:cubicBezTo>
                <a:cubicBezTo>
                  <a:pt x="139" y="474"/>
                  <a:pt x="139" y="474"/>
                  <a:pt x="139" y="474"/>
                </a:cubicBezTo>
                <a:cubicBezTo>
                  <a:pt x="303" y="605"/>
                  <a:pt x="303" y="605"/>
                  <a:pt x="303" y="605"/>
                </a:cubicBezTo>
                <a:cubicBezTo>
                  <a:pt x="248" y="704"/>
                  <a:pt x="218" y="814"/>
                  <a:pt x="213" y="924"/>
                </a:cubicBezTo>
                <a:cubicBezTo>
                  <a:pt x="0" y="960"/>
                  <a:pt x="0" y="960"/>
                  <a:pt x="0" y="960"/>
                </a:cubicBezTo>
                <a:cubicBezTo>
                  <a:pt x="27" y="1125"/>
                  <a:pt x="27" y="1125"/>
                  <a:pt x="27" y="1125"/>
                </a:cubicBezTo>
                <a:cubicBezTo>
                  <a:pt x="63" y="1289"/>
                  <a:pt x="63" y="1289"/>
                  <a:pt x="63" y="1289"/>
                </a:cubicBezTo>
                <a:cubicBezTo>
                  <a:pt x="269" y="1245"/>
                  <a:pt x="269" y="1245"/>
                  <a:pt x="269" y="1245"/>
                </a:cubicBezTo>
                <a:cubicBezTo>
                  <a:pt x="305" y="1329"/>
                  <a:pt x="356" y="1408"/>
                  <a:pt x="424" y="1477"/>
                </a:cubicBezTo>
                <a:cubicBezTo>
                  <a:pt x="436" y="1490"/>
                  <a:pt x="449" y="1501"/>
                  <a:pt x="461" y="1512"/>
                </a:cubicBezTo>
                <a:cubicBezTo>
                  <a:pt x="361" y="1713"/>
                  <a:pt x="361" y="1713"/>
                  <a:pt x="361" y="1713"/>
                </a:cubicBezTo>
                <a:cubicBezTo>
                  <a:pt x="505" y="1785"/>
                  <a:pt x="505" y="1785"/>
                  <a:pt x="505" y="1785"/>
                </a:cubicBezTo>
                <a:cubicBezTo>
                  <a:pt x="646" y="1862"/>
                  <a:pt x="646" y="1862"/>
                  <a:pt x="646" y="1862"/>
                </a:cubicBezTo>
                <a:cubicBezTo>
                  <a:pt x="751" y="1670"/>
                  <a:pt x="751" y="1670"/>
                  <a:pt x="751" y="1670"/>
                </a:cubicBezTo>
                <a:cubicBezTo>
                  <a:pt x="816" y="1688"/>
                  <a:pt x="883" y="1698"/>
                  <a:pt x="950" y="1698"/>
                </a:cubicBezTo>
                <a:cubicBezTo>
                  <a:pt x="992" y="1698"/>
                  <a:pt x="1034" y="1694"/>
                  <a:pt x="1075" y="1687"/>
                </a:cubicBezTo>
                <a:cubicBezTo>
                  <a:pt x="1178" y="1892"/>
                  <a:pt x="1178" y="1892"/>
                  <a:pt x="1178" y="1892"/>
                </a:cubicBezTo>
                <a:cubicBezTo>
                  <a:pt x="1314" y="1824"/>
                  <a:pt x="1314" y="1824"/>
                  <a:pt x="1314" y="1824"/>
                </a:cubicBezTo>
                <a:cubicBezTo>
                  <a:pt x="1459" y="1776"/>
                  <a:pt x="1459" y="1776"/>
                  <a:pt x="1459" y="1776"/>
                </a:cubicBezTo>
                <a:cubicBezTo>
                  <a:pt x="1385" y="1556"/>
                  <a:pt x="1385" y="1556"/>
                  <a:pt x="1385" y="1556"/>
                </a:cubicBezTo>
                <a:cubicBezTo>
                  <a:pt x="1414" y="1535"/>
                  <a:pt x="1442" y="1511"/>
                  <a:pt x="1468" y="1485"/>
                </a:cubicBezTo>
                <a:cubicBezTo>
                  <a:pt x="1522" y="1432"/>
                  <a:pt x="1566" y="1373"/>
                  <a:pt x="1600" y="1310"/>
                </a:cubicBezTo>
                <a:cubicBezTo>
                  <a:pt x="1799" y="1376"/>
                  <a:pt x="1799" y="1376"/>
                  <a:pt x="1799" y="1376"/>
                </a:cubicBezTo>
                <a:cubicBezTo>
                  <a:pt x="1853" y="1212"/>
                  <a:pt x="1853" y="1212"/>
                  <a:pt x="1853" y="1212"/>
                </a:cubicBezTo>
                <a:cubicBezTo>
                  <a:pt x="1890" y="1042"/>
                  <a:pt x="1890" y="1042"/>
                  <a:pt x="1890" y="1042"/>
                </a:cubicBezTo>
                <a:lnTo>
                  <a:pt x="1687" y="999"/>
                </a:lnTo>
                <a:close/>
                <a:moveTo>
                  <a:pt x="945" y="1126"/>
                </a:moveTo>
                <a:cubicBezTo>
                  <a:pt x="845" y="1126"/>
                  <a:pt x="765" y="1045"/>
                  <a:pt x="765" y="946"/>
                </a:cubicBezTo>
                <a:cubicBezTo>
                  <a:pt x="765" y="847"/>
                  <a:pt x="845" y="766"/>
                  <a:pt x="945" y="766"/>
                </a:cubicBezTo>
                <a:cubicBezTo>
                  <a:pt x="1044" y="766"/>
                  <a:pt x="1125" y="847"/>
                  <a:pt x="1125" y="946"/>
                </a:cubicBezTo>
                <a:cubicBezTo>
                  <a:pt x="1125" y="1045"/>
                  <a:pt x="1044" y="1126"/>
                  <a:pt x="945" y="1126"/>
                </a:cubicBezTo>
                <a:close/>
              </a:path>
            </a:pathLst>
          </a:custGeom>
          <a:gradFill>
            <a:gsLst>
              <a:gs pos="0">
                <a:srgbClr val="032145">
                  <a:lumMod val="25000"/>
                  <a:lumOff val="75000"/>
                  <a:alpha val="0"/>
                </a:srgbClr>
              </a:gs>
              <a:gs pos="100000">
                <a:srgbClr val="032145">
                  <a:alpha val="69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6" name="Freeform 17"/>
          <p:cNvSpPr>
            <a:spLocks noEditPoints="1"/>
          </p:cNvSpPr>
          <p:nvPr userDrawn="1"/>
        </p:nvSpPr>
        <p:spPr bwMode="auto">
          <a:xfrm>
            <a:off x="8310319" y="1227001"/>
            <a:ext cx="2668971" cy="2675569"/>
          </a:xfrm>
          <a:custGeom>
            <a:avLst/>
            <a:gdLst>
              <a:gd name="T0" fmla="*/ 1687 w 1890"/>
              <a:gd name="T1" fmla="*/ 999 h 1892"/>
              <a:gd name="T2" fmla="*/ 1632 w 1890"/>
              <a:gd name="T3" fmla="*/ 675 h 1892"/>
              <a:gd name="T4" fmla="*/ 1809 w 1890"/>
              <a:gd name="T5" fmla="*/ 533 h 1892"/>
              <a:gd name="T6" fmla="*/ 1808 w 1890"/>
              <a:gd name="T7" fmla="*/ 533 h 1892"/>
              <a:gd name="T8" fmla="*/ 1808 w 1890"/>
              <a:gd name="T9" fmla="*/ 533 h 1892"/>
              <a:gd name="T10" fmla="*/ 1713 w 1890"/>
              <a:gd name="T11" fmla="*/ 414 h 1892"/>
              <a:gd name="T12" fmla="*/ 1637 w 1890"/>
              <a:gd name="T13" fmla="*/ 283 h 1892"/>
              <a:gd name="T14" fmla="*/ 1637 w 1890"/>
              <a:gd name="T15" fmla="*/ 283 h 1892"/>
              <a:gd name="T16" fmla="*/ 1637 w 1890"/>
              <a:gd name="T17" fmla="*/ 283 h 1892"/>
              <a:gd name="T18" fmla="*/ 1433 w 1890"/>
              <a:gd name="T19" fmla="*/ 401 h 1892"/>
              <a:gd name="T20" fmla="*/ 1152 w 1890"/>
              <a:gd name="T21" fmla="*/ 249 h 1892"/>
              <a:gd name="T22" fmla="*/ 1152 w 1890"/>
              <a:gd name="T23" fmla="*/ 23 h 1892"/>
              <a:gd name="T24" fmla="*/ 1000 w 1890"/>
              <a:gd name="T25" fmla="*/ 23 h 1892"/>
              <a:gd name="T26" fmla="*/ 851 w 1890"/>
              <a:gd name="T27" fmla="*/ 0 h 1892"/>
              <a:gd name="T28" fmla="*/ 815 w 1890"/>
              <a:gd name="T29" fmla="*/ 234 h 1892"/>
              <a:gd name="T30" fmla="*/ 518 w 1890"/>
              <a:gd name="T31" fmla="*/ 361 h 1892"/>
              <a:gd name="T32" fmla="*/ 357 w 1890"/>
              <a:gd name="T33" fmla="*/ 217 h 1892"/>
              <a:gd name="T34" fmla="*/ 244 w 1890"/>
              <a:gd name="T35" fmla="*/ 342 h 1892"/>
              <a:gd name="T36" fmla="*/ 139 w 1890"/>
              <a:gd name="T37" fmla="*/ 474 h 1892"/>
              <a:gd name="T38" fmla="*/ 303 w 1890"/>
              <a:gd name="T39" fmla="*/ 605 h 1892"/>
              <a:gd name="T40" fmla="*/ 213 w 1890"/>
              <a:gd name="T41" fmla="*/ 924 h 1892"/>
              <a:gd name="T42" fmla="*/ 0 w 1890"/>
              <a:gd name="T43" fmla="*/ 960 h 1892"/>
              <a:gd name="T44" fmla="*/ 27 w 1890"/>
              <a:gd name="T45" fmla="*/ 1125 h 1892"/>
              <a:gd name="T46" fmla="*/ 63 w 1890"/>
              <a:gd name="T47" fmla="*/ 1289 h 1892"/>
              <a:gd name="T48" fmla="*/ 269 w 1890"/>
              <a:gd name="T49" fmla="*/ 1245 h 1892"/>
              <a:gd name="T50" fmla="*/ 424 w 1890"/>
              <a:gd name="T51" fmla="*/ 1477 h 1892"/>
              <a:gd name="T52" fmla="*/ 461 w 1890"/>
              <a:gd name="T53" fmla="*/ 1512 h 1892"/>
              <a:gd name="T54" fmla="*/ 361 w 1890"/>
              <a:gd name="T55" fmla="*/ 1713 h 1892"/>
              <a:gd name="T56" fmla="*/ 505 w 1890"/>
              <a:gd name="T57" fmla="*/ 1785 h 1892"/>
              <a:gd name="T58" fmla="*/ 646 w 1890"/>
              <a:gd name="T59" fmla="*/ 1862 h 1892"/>
              <a:gd name="T60" fmla="*/ 751 w 1890"/>
              <a:gd name="T61" fmla="*/ 1670 h 1892"/>
              <a:gd name="T62" fmla="*/ 950 w 1890"/>
              <a:gd name="T63" fmla="*/ 1698 h 1892"/>
              <a:gd name="T64" fmla="*/ 1075 w 1890"/>
              <a:gd name="T65" fmla="*/ 1687 h 1892"/>
              <a:gd name="T66" fmla="*/ 1178 w 1890"/>
              <a:gd name="T67" fmla="*/ 1892 h 1892"/>
              <a:gd name="T68" fmla="*/ 1314 w 1890"/>
              <a:gd name="T69" fmla="*/ 1824 h 1892"/>
              <a:gd name="T70" fmla="*/ 1459 w 1890"/>
              <a:gd name="T71" fmla="*/ 1776 h 1892"/>
              <a:gd name="T72" fmla="*/ 1385 w 1890"/>
              <a:gd name="T73" fmla="*/ 1556 h 1892"/>
              <a:gd name="T74" fmla="*/ 1468 w 1890"/>
              <a:gd name="T75" fmla="*/ 1485 h 1892"/>
              <a:gd name="T76" fmla="*/ 1600 w 1890"/>
              <a:gd name="T77" fmla="*/ 1310 h 1892"/>
              <a:gd name="T78" fmla="*/ 1799 w 1890"/>
              <a:gd name="T79" fmla="*/ 1376 h 1892"/>
              <a:gd name="T80" fmla="*/ 1853 w 1890"/>
              <a:gd name="T81" fmla="*/ 1212 h 1892"/>
              <a:gd name="T82" fmla="*/ 1890 w 1890"/>
              <a:gd name="T83" fmla="*/ 1042 h 1892"/>
              <a:gd name="T84" fmla="*/ 1687 w 1890"/>
              <a:gd name="T85" fmla="*/ 999 h 1892"/>
              <a:gd name="T86" fmla="*/ 945 w 1890"/>
              <a:gd name="T87" fmla="*/ 1126 h 1892"/>
              <a:gd name="T88" fmla="*/ 765 w 1890"/>
              <a:gd name="T89" fmla="*/ 946 h 1892"/>
              <a:gd name="T90" fmla="*/ 945 w 1890"/>
              <a:gd name="T91" fmla="*/ 766 h 1892"/>
              <a:gd name="T92" fmla="*/ 1125 w 1890"/>
              <a:gd name="T93" fmla="*/ 946 h 1892"/>
              <a:gd name="T94" fmla="*/ 945 w 1890"/>
              <a:gd name="T95" fmla="*/ 1126 h 1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90" h="1892">
                <a:moveTo>
                  <a:pt x="1687" y="999"/>
                </a:moveTo>
                <a:cubicBezTo>
                  <a:pt x="1693" y="889"/>
                  <a:pt x="1675" y="778"/>
                  <a:pt x="1632" y="675"/>
                </a:cubicBezTo>
                <a:cubicBezTo>
                  <a:pt x="1809" y="533"/>
                  <a:pt x="1809" y="533"/>
                  <a:pt x="1809" y="533"/>
                </a:cubicBezTo>
                <a:cubicBezTo>
                  <a:pt x="1808" y="533"/>
                  <a:pt x="1808" y="533"/>
                  <a:pt x="1808" y="533"/>
                </a:cubicBezTo>
                <a:cubicBezTo>
                  <a:pt x="1808" y="533"/>
                  <a:pt x="1808" y="533"/>
                  <a:pt x="1808" y="533"/>
                </a:cubicBezTo>
                <a:cubicBezTo>
                  <a:pt x="1713" y="414"/>
                  <a:pt x="1713" y="414"/>
                  <a:pt x="1713" y="414"/>
                </a:cubicBezTo>
                <a:cubicBezTo>
                  <a:pt x="1637" y="283"/>
                  <a:pt x="1637" y="283"/>
                  <a:pt x="1637" y="283"/>
                </a:cubicBezTo>
                <a:cubicBezTo>
                  <a:pt x="1637" y="283"/>
                  <a:pt x="1637" y="283"/>
                  <a:pt x="1637" y="283"/>
                </a:cubicBezTo>
                <a:cubicBezTo>
                  <a:pt x="1637" y="283"/>
                  <a:pt x="1637" y="283"/>
                  <a:pt x="1637" y="283"/>
                </a:cubicBezTo>
                <a:cubicBezTo>
                  <a:pt x="1433" y="401"/>
                  <a:pt x="1433" y="401"/>
                  <a:pt x="1433" y="401"/>
                </a:cubicBezTo>
                <a:cubicBezTo>
                  <a:pt x="1349" y="329"/>
                  <a:pt x="1253" y="278"/>
                  <a:pt x="1152" y="249"/>
                </a:cubicBezTo>
                <a:cubicBezTo>
                  <a:pt x="1152" y="23"/>
                  <a:pt x="1152" y="23"/>
                  <a:pt x="1152" y="23"/>
                </a:cubicBezTo>
                <a:cubicBezTo>
                  <a:pt x="1000" y="23"/>
                  <a:pt x="1000" y="23"/>
                  <a:pt x="1000" y="23"/>
                </a:cubicBezTo>
                <a:cubicBezTo>
                  <a:pt x="851" y="0"/>
                  <a:pt x="851" y="0"/>
                  <a:pt x="851" y="0"/>
                </a:cubicBezTo>
                <a:cubicBezTo>
                  <a:pt x="815" y="234"/>
                  <a:pt x="815" y="234"/>
                  <a:pt x="815" y="234"/>
                </a:cubicBezTo>
                <a:cubicBezTo>
                  <a:pt x="710" y="253"/>
                  <a:pt x="608" y="296"/>
                  <a:pt x="518" y="361"/>
                </a:cubicBezTo>
                <a:cubicBezTo>
                  <a:pt x="357" y="217"/>
                  <a:pt x="357" y="217"/>
                  <a:pt x="357" y="217"/>
                </a:cubicBezTo>
                <a:cubicBezTo>
                  <a:pt x="244" y="342"/>
                  <a:pt x="244" y="342"/>
                  <a:pt x="244" y="342"/>
                </a:cubicBezTo>
                <a:cubicBezTo>
                  <a:pt x="139" y="474"/>
                  <a:pt x="139" y="474"/>
                  <a:pt x="139" y="474"/>
                </a:cubicBezTo>
                <a:cubicBezTo>
                  <a:pt x="303" y="605"/>
                  <a:pt x="303" y="605"/>
                  <a:pt x="303" y="605"/>
                </a:cubicBezTo>
                <a:cubicBezTo>
                  <a:pt x="248" y="704"/>
                  <a:pt x="218" y="814"/>
                  <a:pt x="213" y="924"/>
                </a:cubicBezTo>
                <a:cubicBezTo>
                  <a:pt x="0" y="960"/>
                  <a:pt x="0" y="960"/>
                  <a:pt x="0" y="960"/>
                </a:cubicBezTo>
                <a:cubicBezTo>
                  <a:pt x="27" y="1125"/>
                  <a:pt x="27" y="1125"/>
                  <a:pt x="27" y="1125"/>
                </a:cubicBezTo>
                <a:cubicBezTo>
                  <a:pt x="63" y="1289"/>
                  <a:pt x="63" y="1289"/>
                  <a:pt x="63" y="1289"/>
                </a:cubicBezTo>
                <a:cubicBezTo>
                  <a:pt x="269" y="1245"/>
                  <a:pt x="269" y="1245"/>
                  <a:pt x="269" y="1245"/>
                </a:cubicBezTo>
                <a:cubicBezTo>
                  <a:pt x="305" y="1329"/>
                  <a:pt x="356" y="1408"/>
                  <a:pt x="424" y="1477"/>
                </a:cubicBezTo>
                <a:cubicBezTo>
                  <a:pt x="436" y="1490"/>
                  <a:pt x="449" y="1501"/>
                  <a:pt x="461" y="1512"/>
                </a:cubicBezTo>
                <a:cubicBezTo>
                  <a:pt x="361" y="1713"/>
                  <a:pt x="361" y="1713"/>
                  <a:pt x="361" y="1713"/>
                </a:cubicBezTo>
                <a:cubicBezTo>
                  <a:pt x="505" y="1785"/>
                  <a:pt x="505" y="1785"/>
                  <a:pt x="505" y="1785"/>
                </a:cubicBezTo>
                <a:cubicBezTo>
                  <a:pt x="646" y="1862"/>
                  <a:pt x="646" y="1862"/>
                  <a:pt x="646" y="1862"/>
                </a:cubicBezTo>
                <a:cubicBezTo>
                  <a:pt x="751" y="1670"/>
                  <a:pt x="751" y="1670"/>
                  <a:pt x="751" y="1670"/>
                </a:cubicBezTo>
                <a:cubicBezTo>
                  <a:pt x="816" y="1688"/>
                  <a:pt x="883" y="1698"/>
                  <a:pt x="950" y="1698"/>
                </a:cubicBezTo>
                <a:cubicBezTo>
                  <a:pt x="992" y="1698"/>
                  <a:pt x="1034" y="1694"/>
                  <a:pt x="1075" y="1687"/>
                </a:cubicBezTo>
                <a:cubicBezTo>
                  <a:pt x="1178" y="1892"/>
                  <a:pt x="1178" y="1892"/>
                  <a:pt x="1178" y="1892"/>
                </a:cubicBezTo>
                <a:cubicBezTo>
                  <a:pt x="1314" y="1824"/>
                  <a:pt x="1314" y="1824"/>
                  <a:pt x="1314" y="1824"/>
                </a:cubicBezTo>
                <a:cubicBezTo>
                  <a:pt x="1459" y="1776"/>
                  <a:pt x="1459" y="1776"/>
                  <a:pt x="1459" y="1776"/>
                </a:cubicBezTo>
                <a:cubicBezTo>
                  <a:pt x="1385" y="1556"/>
                  <a:pt x="1385" y="1556"/>
                  <a:pt x="1385" y="1556"/>
                </a:cubicBezTo>
                <a:cubicBezTo>
                  <a:pt x="1414" y="1535"/>
                  <a:pt x="1442" y="1511"/>
                  <a:pt x="1468" y="1485"/>
                </a:cubicBezTo>
                <a:cubicBezTo>
                  <a:pt x="1522" y="1432"/>
                  <a:pt x="1566" y="1373"/>
                  <a:pt x="1600" y="1310"/>
                </a:cubicBezTo>
                <a:cubicBezTo>
                  <a:pt x="1799" y="1376"/>
                  <a:pt x="1799" y="1376"/>
                  <a:pt x="1799" y="1376"/>
                </a:cubicBezTo>
                <a:cubicBezTo>
                  <a:pt x="1853" y="1212"/>
                  <a:pt x="1853" y="1212"/>
                  <a:pt x="1853" y="1212"/>
                </a:cubicBezTo>
                <a:cubicBezTo>
                  <a:pt x="1890" y="1042"/>
                  <a:pt x="1890" y="1042"/>
                  <a:pt x="1890" y="1042"/>
                </a:cubicBezTo>
                <a:lnTo>
                  <a:pt x="1687" y="999"/>
                </a:lnTo>
                <a:close/>
                <a:moveTo>
                  <a:pt x="945" y="1126"/>
                </a:moveTo>
                <a:cubicBezTo>
                  <a:pt x="845" y="1126"/>
                  <a:pt x="765" y="1045"/>
                  <a:pt x="765" y="946"/>
                </a:cubicBezTo>
                <a:cubicBezTo>
                  <a:pt x="765" y="847"/>
                  <a:pt x="845" y="766"/>
                  <a:pt x="945" y="766"/>
                </a:cubicBezTo>
                <a:cubicBezTo>
                  <a:pt x="1044" y="766"/>
                  <a:pt x="1125" y="847"/>
                  <a:pt x="1125" y="946"/>
                </a:cubicBezTo>
                <a:cubicBezTo>
                  <a:pt x="1125" y="1045"/>
                  <a:pt x="1044" y="1126"/>
                  <a:pt x="945" y="1126"/>
                </a:cubicBezTo>
                <a:close/>
              </a:path>
            </a:pathLst>
          </a:custGeom>
          <a:gradFill>
            <a:gsLst>
              <a:gs pos="0">
                <a:srgbClr val="032145">
                  <a:lumMod val="25000"/>
                  <a:lumOff val="75000"/>
                  <a:alpha val="0"/>
                </a:srgbClr>
              </a:gs>
              <a:gs pos="100000">
                <a:srgbClr val="032145">
                  <a:alpha val="69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7" name="Freeform 38"/>
          <p:cNvSpPr>
            <a:spLocks noEditPoints="1"/>
          </p:cNvSpPr>
          <p:nvPr userDrawn="1"/>
        </p:nvSpPr>
        <p:spPr bwMode="auto">
          <a:xfrm>
            <a:off x="4529669" y="1939152"/>
            <a:ext cx="3096684" cy="2982384"/>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8" name="Freeform 39"/>
          <p:cNvSpPr>
            <a:spLocks noEditPoints="1"/>
          </p:cNvSpPr>
          <p:nvPr userDrawn="1"/>
        </p:nvSpPr>
        <p:spPr bwMode="auto">
          <a:xfrm>
            <a:off x="4891617" y="2241837"/>
            <a:ext cx="2372784" cy="2377017"/>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9" name="Freeform 40"/>
          <p:cNvSpPr>
            <a:spLocks noEditPoints="1"/>
          </p:cNvSpPr>
          <p:nvPr userDrawn="1"/>
        </p:nvSpPr>
        <p:spPr bwMode="auto">
          <a:xfrm>
            <a:off x="5164668" y="2521236"/>
            <a:ext cx="1820333" cy="1824567"/>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dirty="0">
              <a:ln>
                <a:noFill/>
              </a:ln>
              <a:solidFill>
                <a:srgbClr val="3B3C40"/>
              </a:solidFill>
              <a:effectLst/>
              <a:uLnTx/>
              <a:uFillTx/>
            </a:endParaRPr>
          </a:p>
        </p:txBody>
      </p:sp>
      <p:sp>
        <p:nvSpPr>
          <p:cNvPr id="4" name="Rectangle 3"/>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2" name="Titre 1"/>
          <p:cNvSpPr>
            <a:spLocks noGrp="1"/>
          </p:cNvSpPr>
          <p:nvPr>
            <p:ph type="title"/>
          </p:nvPr>
        </p:nvSpPr>
        <p:spPr/>
        <p:txBody>
          <a:bodyPr/>
          <a:lstStyle>
            <a:lvl1pPr>
              <a:defRPr>
                <a:solidFill>
                  <a:schemeClr val="bg1"/>
                </a:solidFill>
              </a:defRPr>
            </a:lvl1pPr>
          </a:lstStyle>
          <a:p>
            <a:r>
              <a:rPr lang="fr-FR"/>
              <a:t>Modifiez le style du titre</a:t>
            </a:r>
            <a:endParaRPr lang="en-GB"/>
          </a:p>
        </p:txBody>
      </p:sp>
      <p:sp>
        <p:nvSpPr>
          <p:cNvPr id="3" name="Espace réservé du numéro de diapositive 2"/>
          <p:cNvSpPr>
            <a:spLocks noGrp="1"/>
          </p:cNvSpPr>
          <p:nvPr>
            <p:ph type="sldNum" sz="quarter" idx="10"/>
          </p:nvPr>
        </p:nvSpPr>
        <p:spPr/>
        <p:txBody>
          <a:bodyPr/>
          <a:lstStyle/>
          <a:p>
            <a:fld id="{88A6B057-71F2-43BA-98BD-164F4E914A39}" type="slidenum">
              <a:rPr lang="en-GB" smtClean="0"/>
              <a:pPr/>
              <a:t>‹#›</a:t>
            </a:fld>
            <a:endParaRPr lang="en-GB" dirty="0"/>
          </a:p>
        </p:txBody>
      </p:sp>
      <p:pic>
        <p:nvPicPr>
          <p:cNvPr id="5" name="Imag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16" name="Espace réservé du texte 15"/>
          <p:cNvSpPr>
            <a:spLocks noGrp="1" noChangeAspect="1"/>
          </p:cNvSpPr>
          <p:nvPr userDrawn="1">
            <p:ph type="body" sz="quarter" idx="11" hasCustomPrompt="1"/>
          </p:nvPr>
        </p:nvSpPr>
        <p:spPr>
          <a:xfrm>
            <a:off x="6867211" y="1873480"/>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17" name="Espace réservé du texte 15"/>
          <p:cNvSpPr>
            <a:spLocks noGrp="1" noChangeAspect="1"/>
          </p:cNvSpPr>
          <p:nvPr userDrawn="1">
            <p:ph type="body" sz="quarter" idx="12" hasCustomPrompt="1"/>
          </p:nvPr>
        </p:nvSpPr>
        <p:spPr>
          <a:xfrm>
            <a:off x="7556960" y="3408859"/>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18" name="Espace réservé du texte 15"/>
          <p:cNvSpPr>
            <a:spLocks noGrp="1" noChangeAspect="1"/>
          </p:cNvSpPr>
          <p:nvPr userDrawn="1">
            <p:ph type="body" sz="quarter" idx="13" hasCustomPrompt="1"/>
          </p:nvPr>
        </p:nvSpPr>
        <p:spPr>
          <a:xfrm>
            <a:off x="5859164" y="4900176"/>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19" name="Espace réservé du texte 15"/>
          <p:cNvSpPr>
            <a:spLocks noGrp="1" noChangeAspect="1"/>
          </p:cNvSpPr>
          <p:nvPr userDrawn="1">
            <p:ph type="body" sz="quarter" idx="14" hasCustomPrompt="1"/>
          </p:nvPr>
        </p:nvSpPr>
        <p:spPr>
          <a:xfrm>
            <a:off x="4165600" y="3438381"/>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26" name="Espace réservé du texte 15"/>
          <p:cNvSpPr>
            <a:spLocks noGrp="1" noChangeAspect="1"/>
          </p:cNvSpPr>
          <p:nvPr userDrawn="1">
            <p:ph type="body" sz="quarter" idx="15" hasCustomPrompt="1"/>
          </p:nvPr>
        </p:nvSpPr>
        <p:spPr>
          <a:xfrm>
            <a:off x="4796367" y="1873480"/>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28" name="Espace réservé du texte 27"/>
          <p:cNvSpPr>
            <a:spLocks noGrp="1"/>
          </p:cNvSpPr>
          <p:nvPr userDrawn="1">
            <p:ph type="body" sz="quarter" idx="16"/>
          </p:nvPr>
        </p:nvSpPr>
        <p:spPr>
          <a:xfrm>
            <a:off x="1307448" y="1742617"/>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29" name="Espace réservé du texte 27"/>
          <p:cNvSpPr>
            <a:spLocks noGrp="1"/>
          </p:cNvSpPr>
          <p:nvPr userDrawn="1">
            <p:ph type="body" sz="quarter" idx="17"/>
          </p:nvPr>
        </p:nvSpPr>
        <p:spPr>
          <a:xfrm>
            <a:off x="701688" y="3307518"/>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30" name="Espace réservé du texte 27"/>
          <p:cNvSpPr>
            <a:spLocks noGrp="1"/>
          </p:cNvSpPr>
          <p:nvPr userDrawn="1">
            <p:ph type="body" sz="quarter" idx="18"/>
          </p:nvPr>
        </p:nvSpPr>
        <p:spPr>
          <a:xfrm>
            <a:off x="2370245" y="4781269"/>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31" name="Espace réservé du texte 27"/>
          <p:cNvSpPr>
            <a:spLocks noGrp="1"/>
          </p:cNvSpPr>
          <p:nvPr userDrawn="1">
            <p:ph type="body" sz="quarter" idx="19"/>
          </p:nvPr>
        </p:nvSpPr>
        <p:spPr>
          <a:xfrm>
            <a:off x="7454476" y="1742617"/>
            <a:ext cx="3564083" cy="693068"/>
          </a:xfrm>
        </p:spPr>
        <p:txBody>
          <a:bodyPr anchor="ctr"/>
          <a:lstStyle>
            <a:lvl1pPr marL="0" indent="0" algn="l">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32" name="Espace réservé du texte 27"/>
          <p:cNvSpPr>
            <a:spLocks noGrp="1"/>
          </p:cNvSpPr>
          <p:nvPr userDrawn="1">
            <p:ph type="body" sz="quarter" idx="20"/>
          </p:nvPr>
        </p:nvSpPr>
        <p:spPr>
          <a:xfrm>
            <a:off x="8113484" y="3277995"/>
            <a:ext cx="3564083" cy="693068"/>
          </a:xfrm>
        </p:spPr>
        <p:txBody>
          <a:bodyPr anchor="ctr"/>
          <a:lstStyle>
            <a:lvl1pPr marL="0" indent="0" algn="l">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6" name="Espace réservé du pied de page 5"/>
          <p:cNvSpPr>
            <a:spLocks noGrp="1"/>
          </p:cNvSpPr>
          <p:nvPr>
            <p:ph type="ftr" sz="quarter" idx="21"/>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27076173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500"/>
                                        <p:tgtEl>
                                          <p:spTgt spid="45"/>
                                        </p:tgtEl>
                                      </p:cBhvr>
                                    </p:animEffect>
                                  </p:childTnLst>
                                </p:cTn>
                              </p:par>
                              <p:par>
                                <p:cTn id="8" presetID="10" presetClass="entr" presetSubtype="0" fill="hold" grpId="1" nodeType="withEffect">
                                  <p:stCondLst>
                                    <p:cond delay="0"/>
                                  </p:stCondLst>
                                  <p:childTnLst>
                                    <p:set>
                                      <p:cBhvr>
                                        <p:cTn id="9" dur="1" fill="hold">
                                          <p:stCondLst>
                                            <p:cond delay="0"/>
                                          </p:stCondLst>
                                        </p:cTn>
                                        <p:tgtEl>
                                          <p:spTgt spid="44"/>
                                        </p:tgtEl>
                                        <p:attrNameLst>
                                          <p:attrName>style.visibility</p:attrName>
                                        </p:attrNameLst>
                                      </p:cBhvr>
                                      <p:to>
                                        <p:strVal val="visible"/>
                                      </p:to>
                                    </p:set>
                                    <p:animEffect transition="in" filter="fade">
                                      <p:cBhvr>
                                        <p:cTn id="10" dur="500"/>
                                        <p:tgtEl>
                                          <p:spTgt spid="44"/>
                                        </p:tgtEl>
                                      </p:cBhvr>
                                    </p:animEffect>
                                  </p:childTnLst>
                                </p:cTn>
                              </p:par>
                              <p:par>
                                <p:cTn id="11" presetID="10" presetClass="entr" presetSubtype="0" fill="hold" grpId="1" nodeType="withEffect">
                                  <p:stCondLst>
                                    <p:cond delay="0"/>
                                  </p:stCondLst>
                                  <p:childTnLst>
                                    <p:set>
                                      <p:cBhvr>
                                        <p:cTn id="12" dur="1" fill="hold">
                                          <p:stCondLst>
                                            <p:cond delay="0"/>
                                          </p:stCondLst>
                                        </p:cTn>
                                        <p:tgtEl>
                                          <p:spTgt spid="46"/>
                                        </p:tgtEl>
                                        <p:attrNameLst>
                                          <p:attrName>style.visibility</p:attrName>
                                        </p:attrNameLst>
                                      </p:cBhvr>
                                      <p:to>
                                        <p:strVal val="visible"/>
                                      </p:to>
                                    </p:set>
                                    <p:animEffect transition="in" filter="fade">
                                      <p:cBhvr>
                                        <p:cTn id="13" dur="500"/>
                                        <p:tgtEl>
                                          <p:spTgt spid="46"/>
                                        </p:tgtEl>
                                      </p:cBhvr>
                                    </p:animEffect>
                                  </p:childTnLst>
                                </p:cTn>
                              </p:par>
                              <p:par>
                                <p:cTn id="14" presetID="8" presetClass="emph" presetSubtype="0" decel="62500" fill="hold" grpId="0" nodeType="withEffect">
                                  <p:stCondLst>
                                    <p:cond delay="0"/>
                                  </p:stCondLst>
                                  <p:childTnLst>
                                    <p:animRot by="21600000">
                                      <p:cBhvr>
                                        <p:cTn id="15" dur="4000" fill="hold"/>
                                        <p:tgtEl>
                                          <p:spTgt spid="45"/>
                                        </p:tgtEl>
                                        <p:attrNameLst>
                                          <p:attrName>r</p:attrName>
                                        </p:attrNameLst>
                                      </p:cBhvr>
                                    </p:animRot>
                                  </p:childTnLst>
                                </p:cTn>
                              </p:par>
                              <p:par>
                                <p:cTn id="16" presetID="8" presetClass="emph" presetSubtype="0" decel="62500" fill="hold" grpId="0" nodeType="withEffect">
                                  <p:stCondLst>
                                    <p:cond delay="0"/>
                                  </p:stCondLst>
                                  <p:childTnLst>
                                    <p:animRot by="-12660000">
                                      <p:cBhvr>
                                        <p:cTn id="17" dur="4000" fill="hold"/>
                                        <p:tgtEl>
                                          <p:spTgt spid="44"/>
                                        </p:tgtEl>
                                        <p:attrNameLst>
                                          <p:attrName>r</p:attrName>
                                        </p:attrNameLst>
                                      </p:cBhvr>
                                    </p:animRot>
                                  </p:childTnLst>
                                </p:cTn>
                              </p:par>
                              <p:par>
                                <p:cTn id="18" presetID="8" presetClass="emph" presetSubtype="0" decel="62500" fill="hold" grpId="0" nodeType="withEffect">
                                  <p:stCondLst>
                                    <p:cond delay="0"/>
                                  </p:stCondLst>
                                  <p:childTnLst>
                                    <p:animRot by="21600000">
                                      <p:cBhvr>
                                        <p:cTn id="19" dur="4000" fill="hold"/>
                                        <p:tgtEl>
                                          <p:spTgt spid="46"/>
                                        </p:tgtEl>
                                        <p:attrNameLst>
                                          <p:attrName>r</p:attrName>
                                        </p:attrNameLst>
                                      </p:cBhvr>
                                    </p:animRot>
                                  </p:childTnLst>
                                </p:cTn>
                              </p:par>
                              <p:par>
                                <p:cTn id="20" presetID="10" presetClass="entr" presetSubtype="0" fill="hold" grpId="1" nodeType="withEffect">
                                  <p:stCondLst>
                                    <p:cond delay="0"/>
                                  </p:stCondLst>
                                  <p:childTnLst>
                                    <p:set>
                                      <p:cBhvr>
                                        <p:cTn id="21" dur="1" fill="hold">
                                          <p:stCondLst>
                                            <p:cond delay="0"/>
                                          </p:stCondLst>
                                        </p:cTn>
                                        <p:tgtEl>
                                          <p:spTgt spid="49"/>
                                        </p:tgtEl>
                                        <p:attrNameLst>
                                          <p:attrName>style.visibility</p:attrName>
                                        </p:attrNameLst>
                                      </p:cBhvr>
                                      <p:to>
                                        <p:strVal val="visible"/>
                                      </p:to>
                                    </p:set>
                                    <p:animEffect transition="in" filter="fade">
                                      <p:cBhvr>
                                        <p:cTn id="22" dur="500"/>
                                        <p:tgtEl>
                                          <p:spTgt spid="49"/>
                                        </p:tgtEl>
                                      </p:cBhvr>
                                    </p:animEffect>
                                  </p:childTnLst>
                                </p:cTn>
                              </p:par>
                              <p:par>
                                <p:cTn id="23" presetID="10" presetClass="entr" presetSubtype="0" fill="hold" grpId="1" nodeType="withEffect">
                                  <p:stCondLst>
                                    <p:cond delay="0"/>
                                  </p:stCondLst>
                                  <p:childTnLst>
                                    <p:set>
                                      <p:cBhvr>
                                        <p:cTn id="24" dur="1" fill="hold">
                                          <p:stCondLst>
                                            <p:cond delay="0"/>
                                          </p:stCondLst>
                                        </p:cTn>
                                        <p:tgtEl>
                                          <p:spTgt spid="48"/>
                                        </p:tgtEl>
                                        <p:attrNameLst>
                                          <p:attrName>style.visibility</p:attrName>
                                        </p:attrNameLst>
                                      </p:cBhvr>
                                      <p:to>
                                        <p:strVal val="visible"/>
                                      </p:to>
                                    </p:set>
                                    <p:animEffect transition="in" filter="fade">
                                      <p:cBhvr>
                                        <p:cTn id="25" dur="500"/>
                                        <p:tgtEl>
                                          <p:spTgt spid="48"/>
                                        </p:tgtEl>
                                      </p:cBhvr>
                                    </p:animEffect>
                                  </p:childTnLst>
                                </p:cTn>
                              </p:par>
                              <p:par>
                                <p:cTn id="26" presetID="10" presetClass="entr" presetSubtype="0" fill="hold" grpId="1" nodeType="withEffect">
                                  <p:stCondLst>
                                    <p:cond delay="0"/>
                                  </p:stCondLst>
                                  <p:childTnLst>
                                    <p:set>
                                      <p:cBhvr>
                                        <p:cTn id="27" dur="1" fill="hold">
                                          <p:stCondLst>
                                            <p:cond delay="0"/>
                                          </p:stCondLst>
                                        </p:cTn>
                                        <p:tgtEl>
                                          <p:spTgt spid="47"/>
                                        </p:tgtEl>
                                        <p:attrNameLst>
                                          <p:attrName>style.visibility</p:attrName>
                                        </p:attrNameLst>
                                      </p:cBhvr>
                                      <p:to>
                                        <p:strVal val="visible"/>
                                      </p:to>
                                    </p:set>
                                    <p:animEffect transition="in" filter="fade">
                                      <p:cBhvr>
                                        <p:cTn id="28" dur="500"/>
                                        <p:tgtEl>
                                          <p:spTgt spid="47"/>
                                        </p:tgtEl>
                                      </p:cBhvr>
                                    </p:animEffect>
                                  </p:childTnLst>
                                </p:cTn>
                              </p:par>
                              <p:par>
                                <p:cTn id="29" presetID="8" presetClass="emph" presetSubtype="0" fill="hold" grpId="0" nodeType="withEffect">
                                  <p:stCondLst>
                                    <p:cond delay="0"/>
                                  </p:stCondLst>
                                  <p:childTnLst>
                                    <p:animRot by="21600000">
                                      <p:cBhvr>
                                        <p:cTn id="30" dur="4000" fill="hold"/>
                                        <p:tgtEl>
                                          <p:spTgt spid="49"/>
                                        </p:tgtEl>
                                        <p:attrNameLst>
                                          <p:attrName>r</p:attrName>
                                        </p:attrNameLst>
                                      </p:cBhvr>
                                    </p:animRot>
                                  </p:childTnLst>
                                </p:cTn>
                              </p:par>
                              <p:par>
                                <p:cTn id="31" presetID="8" presetClass="emph" presetSubtype="0" fill="hold" grpId="0" nodeType="withEffect">
                                  <p:stCondLst>
                                    <p:cond delay="0"/>
                                  </p:stCondLst>
                                  <p:childTnLst>
                                    <p:animRot by="-21600000">
                                      <p:cBhvr>
                                        <p:cTn id="32" dur="4000" fill="hold"/>
                                        <p:tgtEl>
                                          <p:spTgt spid="48"/>
                                        </p:tgtEl>
                                        <p:attrNameLst>
                                          <p:attrName>r</p:attrName>
                                        </p:attrNameLst>
                                      </p:cBhvr>
                                    </p:animRot>
                                  </p:childTnLst>
                                </p:cTn>
                              </p:par>
                              <p:par>
                                <p:cTn id="33" presetID="8" presetClass="emph" presetSubtype="0" fill="hold" grpId="0" nodeType="withEffect">
                                  <p:stCondLst>
                                    <p:cond delay="0"/>
                                  </p:stCondLst>
                                  <p:childTnLst>
                                    <p:animRot by="21600000">
                                      <p:cBhvr>
                                        <p:cTn id="34" dur="4000" fill="hold"/>
                                        <p:tgtEl>
                                          <p:spTgt spid="47"/>
                                        </p:tgtEl>
                                        <p:attrNameLst>
                                          <p:attrName>r</p:attrName>
                                        </p:attrNameLst>
                                      </p:cBhvr>
                                    </p:animRot>
                                  </p:childTnLst>
                                </p:cTn>
                              </p:par>
                              <p:par>
                                <p:cTn id="35" presetID="10" presetClass="entr" presetSubtype="0" fill="hold" grpId="0" nodeType="withEffect" nodePh="1">
                                  <p:stCondLst>
                                    <p:cond delay="500"/>
                                  </p:stCondLst>
                                  <p:endCondLst>
                                    <p:cond evt="begin" delay="0">
                                      <p:tn val="35"/>
                                    </p:cond>
                                  </p:endCondLst>
                                  <p:childTnLst>
                                    <p:set>
                                      <p:cBhvr>
                                        <p:cTn id="36" dur="1" fill="hold">
                                          <p:stCondLst>
                                            <p:cond delay="0"/>
                                          </p:stCondLst>
                                        </p:cTn>
                                        <p:tgtEl>
                                          <p:spTgt spid="31"/>
                                        </p:tgtEl>
                                        <p:attrNameLst>
                                          <p:attrName>style.visibility</p:attrName>
                                        </p:attrNameLst>
                                      </p:cBhvr>
                                      <p:to>
                                        <p:strVal val="visible"/>
                                      </p:to>
                                    </p:set>
                                    <p:animEffect transition="in" filter="fade">
                                      <p:cBhvr>
                                        <p:cTn id="37" dur="500"/>
                                        <p:tgtEl>
                                          <p:spTgt spid="31"/>
                                        </p:tgtEl>
                                      </p:cBhvr>
                                    </p:animEffect>
                                  </p:childTnLst>
                                </p:cTn>
                              </p:par>
                              <p:par>
                                <p:cTn id="38" presetID="10" presetClass="entr" presetSubtype="0" fill="hold" grpId="0" nodeType="withEffect" nodePh="1">
                                  <p:stCondLst>
                                    <p:cond delay="1000"/>
                                  </p:stCondLst>
                                  <p:endCondLst>
                                    <p:cond evt="begin" delay="0">
                                      <p:tn val="38"/>
                                    </p:cond>
                                  </p:endCondLst>
                                  <p:childTnLst>
                                    <p:set>
                                      <p:cBhvr>
                                        <p:cTn id="39" dur="1" fill="hold">
                                          <p:stCondLst>
                                            <p:cond delay="0"/>
                                          </p:stCondLst>
                                        </p:cTn>
                                        <p:tgtEl>
                                          <p:spTgt spid="32"/>
                                        </p:tgtEl>
                                        <p:attrNameLst>
                                          <p:attrName>style.visibility</p:attrName>
                                        </p:attrNameLst>
                                      </p:cBhvr>
                                      <p:to>
                                        <p:strVal val="visible"/>
                                      </p:to>
                                    </p:set>
                                    <p:animEffect transition="in" filter="fade">
                                      <p:cBhvr>
                                        <p:cTn id="40" dur="500"/>
                                        <p:tgtEl>
                                          <p:spTgt spid="32"/>
                                        </p:tgtEl>
                                      </p:cBhvr>
                                    </p:animEffect>
                                  </p:childTnLst>
                                </p:cTn>
                              </p:par>
                              <p:par>
                                <p:cTn id="41" presetID="10" presetClass="entr" presetSubtype="0" fill="hold" grpId="0" nodeType="withEffect" nodePh="1">
                                  <p:stCondLst>
                                    <p:cond delay="1500"/>
                                  </p:stCondLst>
                                  <p:endCondLst>
                                    <p:cond evt="begin" delay="0">
                                      <p:tn val="41"/>
                                    </p:cond>
                                  </p:endCondLst>
                                  <p:childTnLst>
                                    <p:set>
                                      <p:cBhvr>
                                        <p:cTn id="42" dur="1" fill="hold">
                                          <p:stCondLst>
                                            <p:cond delay="0"/>
                                          </p:stCondLst>
                                        </p:cTn>
                                        <p:tgtEl>
                                          <p:spTgt spid="30"/>
                                        </p:tgtEl>
                                        <p:attrNameLst>
                                          <p:attrName>style.visibility</p:attrName>
                                        </p:attrNameLst>
                                      </p:cBhvr>
                                      <p:to>
                                        <p:strVal val="visible"/>
                                      </p:to>
                                    </p:set>
                                    <p:animEffect transition="in" filter="fade">
                                      <p:cBhvr>
                                        <p:cTn id="43" dur="500"/>
                                        <p:tgtEl>
                                          <p:spTgt spid="30"/>
                                        </p:tgtEl>
                                      </p:cBhvr>
                                    </p:animEffect>
                                  </p:childTnLst>
                                </p:cTn>
                              </p:par>
                              <p:par>
                                <p:cTn id="44" presetID="10" presetClass="entr" presetSubtype="0" fill="hold" grpId="0" nodeType="withEffect" nodePh="1">
                                  <p:stCondLst>
                                    <p:cond delay="2000"/>
                                  </p:stCondLst>
                                  <p:endCondLst>
                                    <p:cond evt="begin" delay="0">
                                      <p:tn val="44"/>
                                    </p:cond>
                                  </p:endCondLst>
                                  <p:childTnLst>
                                    <p:set>
                                      <p:cBhvr>
                                        <p:cTn id="45" dur="1" fill="hold">
                                          <p:stCondLst>
                                            <p:cond delay="0"/>
                                          </p:stCondLst>
                                        </p:cTn>
                                        <p:tgtEl>
                                          <p:spTgt spid="29"/>
                                        </p:tgtEl>
                                        <p:attrNameLst>
                                          <p:attrName>style.visibility</p:attrName>
                                        </p:attrNameLst>
                                      </p:cBhvr>
                                      <p:to>
                                        <p:strVal val="visible"/>
                                      </p:to>
                                    </p:set>
                                    <p:animEffect transition="in" filter="fade">
                                      <p:cBhvr>
                                        <p:cTn id="46" dur="500"/>
                                        <p:tgtEl>
                                          <p:spTgt spid="29"/>
                                        </p:tgtEl>
                                      </p:cBhvr>
                                    </p:animEffect>
                                  </p:childTnLst>
                                </p:cTn>
                              </p:par>
                              <p:par>
                                <p:cTn id="47" presetID="10" presetClass="entr" presetSubtype="0" fill="hold" grpId="0" nodeType="withEffect" nodePh="1">
                                  <p:stCondLst>
                                    <p:cond delay="2500"/>
                                  </p:stCondLst>
                                  <p:endCondLst>
                                    <p:cond evt="begin" delay="0">
                                      <p:tn val="47"/>
                                    </p:cond>
                                  </p:endCondLst>
                                  <p:childTnLst>
                                    <p:set>
                                      <p:cBhvr>
                                        <p:cTn id="48" dur="1" fill="hold">
                                          <p:stCondLst>
                                            <p:cond delay="0"/>
                                          </p:stCondLst>
                                        </p:cTn>
                                        <p:tgtEl>
                                          <p:spTgt spid="28"/>
                                        </p:tgtEl>
                                        <p:attrNameLst>
                                          <p:attrName>style.visibility</p:attrName>
                                        </p:attrNameLst>
                                      </p:cBhvr>
                                      <p:to>
                                        <p:strVal val="visible"/>
                                      </p:to>
                                    </p:set>
                                    <p:animEffect transition="in" filter="fade">
                                      <p:cBhvr>
                                        <p:cTn id="49" dur="500"/>
                                        <p:tgtEl>
                                          <p:spTgt spid="28"/>
                                        </p:tgtEl>
                                      </p:cBhvr>
                                    </p:animEffect>
                                  </p:childTnLst>
                                </p:cTn>
                              </p:par>
                              <p:par>
                                <p:cTn id="50" presetID="10" presetClass="entr" presetSubtype="0" fill="hold" grpId="0" nodeType="withEffect">
                                  <p:stCondLst>
                                    <p:cond delay="2500"/>
                                  </p:stCondLst>
                                  <p:childTnLst>
                                    <p:set>
                                      <p:cBhvr>
                                        <p:cTn id="51" dur="1" fill="hold">
                                          <p:stCondLst>
                                            <p:cond delay="0"/>
                                          </p:stCondLst>
                                        </p:cTn>
                                        <p:tgtEl>
                                          <p:spTgt spid="26"/>
                                        </p:tgtEl>
                                        <p:attrNameLst>
                                          <p:attrName>style.visibility</p:attrName>
                                        </p:attrNameLst>
                                      </p:cBhvr>
                                      <p:to>
                                        <p:strVal val="visible"/>
                                      </p:to>
                                    </p:set>
                                    <p:animEffect transition="in" filter="fade">
                                      <p:cBhvr>
                                        <p:cTn id="52" dur="500"/>
                                        <p:tgtEl>
                                          <p:spTgt spid="26"/>
                                        </p:tgtEl>
                                      </p:cBhvr>
                                    </p:animEffect>
                                  </p:childTnLst>
                                </p:cTn>
                              </p:par>
                              <p:par>
                                <p:cTn id="53" presetID="10" presetClass="entr" presetSubtype="0" fill="hold" grpId="0" nodeType="withEffect">
                                  <p:stCondLst>
                                    <p:cond delay="500"/>
                                  </p:stCondLst>
                                  <p:childTnLst>
                                    <p:set>
                                      <p:cBhvr>
                                        <p:cTn id="54" dur="1" fill="hold">
                                          <p:stCondLst>
                                            <p:cond delay="0"/>
                                          </p:stCondLst>
                                        </p:cTn>
                                        <p:tgtEl>
                                          <p:spTgt spid="16"/>
                                        </p:tgtEl>
                                        <p:attrNameLst>
                                          <p:attrName>style.visibility</p:attrName>
                                        </p:attrNameLst>
                                      </p:cBhvr>
                                      <p:to>
                                        <p:strVal val="visible"/>
                                      </p:to>
                                    </p:set>
                                    <p:animEffect transition="in" filter="fade">
                                      <p:cBhvr>
                                        <p:cTn id="55" dur="500"/>
                                        <p:tgtEl>
                                          <p:spTgt spid="16"/>
                                        </p:tgtEl>
                                      </p:cBhvr>
                                    </p:animEffect>
                                  </p:childTnLst>
                                </p:cTn>
                              </p:par>
                              <p:par>
                                <p:cTn id="56" presetID="10" presetClass="entr" presetSubtype="0" fill="hold" grpId="0" nodeType="withEffect">
                                  <p:stCondLst>
                                    <p:cond delay="2000"/>
                                  </p:stCondLst>
                                  <p:childTnLst>
                                    <p:set>
                                      <p:cBhvr>
                                        <p:cTn id="57" dur="1" fill="hold">
                                          <p:stCondLst>
                                            <p:cond delay="0"/>
                                          </p:stCondLst>
                                        </p:cTn>
                                        <p:tgtEl>
                                          <p:spTgt spid="19"/>
                                        </p:tgtEl>
                                        <p:attrNameLst>
                                          <p:attrName>style.visibility</p:attrName>
                                        </p:attrNameLst>
                                      </p:cBhvr>
                                      <p:to>
                                        <p:strVal val="visible"/>
                                      </p:to>
                                    </p:set>
                                    <p:animEffect transition="in" filter="fade">
                                      <p:cBhvr>
                                        <p:cTn id="58" dur="500"/>
                                        <p:tgtEl>
                                          <p:spTgt spid="19"/>
                                        </p:tgtEl>
                                      </p:cBhvr>
                                    </p:animEffect>
                                  </p:childTnLst>
                                </p:cTn>
                              </p:par>
                              <p:par>
                                <p:cTn id="59" presetID="10" presetClass="entr" presetSubtype="0" fill="hold" grpId="0" nodeType="withEffect">
                                  <p:stCondLst>
                                    <p:cond delay="1000"/>
                                  </p:stCondLst>
                                  <p:childTnLst>
                                    <p:set>
                                      <p:cBhvr>
                                        <p:cTn id="60" dur="1" fill="hold">
                                          <p:stCondLst>
                                            <p:cond delay="0"/>
                                          </p:stCondLst>
                                        </p:cTn>
                                        <p:tgtEl>
                                          <p:spTgt spid="17"/>
                                        </p:tgtEl>
                                        <p:attrNameLst>
                                          <p:attrName>style.visibility</p:attrName>
                                        </p:attrNameLst>
                                      </p:cBhvr>
                                      <p:to>
                                        <p:strVal val="visible"/>
                                      </p:to>
                                    </p:set>
                                    <p:animEffect transition="in" filter="fade">
                                      <p:cBhvr>
                                        <p:cTn id="61" dur="500"/>
                                        <p:tgtEl>
                                          <p:spTgt spid="17"/>
                                        </p:tgtEl>
                                      </p:cBhvr>
                                    </p:animEffect>
                                  </p:childTnLst>
                                </p:cTn>
                              </p:par>
                              <p:par>
                                <p:cTn id="62" presetID="10" presetClass="entr" presetSubtype="0" fill="hold" grpId="0" nodeType="withEffect">
                                  <p:stCondLst>
                                    <p:cond delay="150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4" grpId="1" animBg="1"/>
      <p:bldP spid="45" grpId="0" animBg="1"/>
      <p:bldP spid="45" grpId="1" animBg="1"/>
      <p:bldP spid="46" grpId="0" animBg="1"/>
      <p:bldP spid="46" grpId="1" animBg="1"/>
      <p:bldP spid="47" grpId="0" animBg="1"/>
      <p:bldP spid="47" grpId="1" animBg="1"/>
      <p:bldP spid="48" grpId="0" animBg="1"/>
      <p:bldP spid="48" grpId="1" animBg="1"/>
      <p:bldP spid="49" grpId="0" animBg="1"/>
      <p:bldP spid="49" grpId="1" animBg="1"/>
      <p:bldP spid="16" grpId="0" animBg="1">
        <p:tmplLst>
          <p:tmpl>
            <p:tnLst>
              <p:par>
                <p:cTn presetID="10" presetClass="entr" presetSubtype="0" fill="hold" nodeType="withEffect">
                  <p:stCondLst>
                    <p:cond delay="50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P spid="17" grpId="0" animBg="1">
        <p:tmplLst>
          <p:tmpl>
            <p:tnLst>
              <p:par>
                <p:cTn presetID="10" presetClass="entr" presetSubtype="0" fill="hold" nodeType="withEffect">
                  <p:stCondLst>
                    <p:cond delay="100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8" grpId="0" animBg="1">
        <p:tmplLst>
          <p:tmpl>
            <p:tnLst>
              <p:par>
                <p:cTn presetID="10" presetClass="entr" presetSubtype="0" fill="hold" nodeType="withEffect">
                  <p:stCondLst>
                    <p:cond delay="1500"/>
                  </p:stCondLst>
                  <p:childTnLst>
                    <p:set>
                      <p:cBhvr>
                        <p:cTn dur="1" fill="hold">
                          <p:stCondLst>
                            <p:cond delay="0"/>
                          </p:stCondLst>
                        </p:cTn>
                        <p:tgtEl>
                          <p:spTgt spid="18"/>
                        </p:tgtEl>
                        <p:attrNameLst>
                          <p:attrName>style.visibility</p:attrName>
                        </p:attrNameLst>
                      </p:cBhvr>
                      <p:to>
                        <p:strVal val="visible"/>
                      </p:to>
                    </p:set>
                    <p:animEffect transition="in" filter="fade">
                      <p:cBhvr>
                        <p:cTn dur="500"/>
                        <p:tgtEl>
                          <p:spTgt spid="18"/>
                        </p:tgtEl>
                      </p:cBhvr>
                    </p:animEffect>
                  </p:childTnLst>
                </p:cTn>
              </p:par>
            </p:tnLst>
          </p:tmpl>
        </p:tmplLst>
      </p:bldP>
      <p:bldP spid="19" grpId="0" animBg="1">
        <p:tmplLst>
          <p:tmpl>
            <p:tnLst>
              <p:par>
                <p:cTn presetID="10" presetClass="entr" presetSubtype="0" fill="hold" nodeType="withEffect">
                  <p:stCondLst>
                    <p:cond delay="200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6" grpId="0" animBg="1">
        <p:tmplLst>
          <p:tmpl>
            <p:tnLst>
              <p:par>
                <p:cTn presetID="10" presetClass="entr" presetSubtype="0" fill="hold" nodeType="withEffect">
                  <p:stCondLst>
                    <p:cond delay="2500"/>
                  </p:stCondLst>
                  <p:childTnLst>
                    <p:set>
                      <p:cBhvr>
                        <p:cTn dur="1" fill="hold">
                          <p:stCondLst>
                            <p:cond delay="0"/>
                          </p:stCondLst>
                        </p:cTn>
                        <p:tgtEl>
                          <p:spTgt spid="26"/>
                        </p:tgtEl>
                        <p:attrNameLst>
                          <p:attrName>style.visibility</p:attrName>
                        </p:attrNameLst>
                      </p:cBhvr>
                      <p:to>
                        <p:strVal val="visible"/>
                      </p:to>
                    </p:set>
                    <p:animEffect transition="in" filter="fade">
                      <p:cBhvr>
                        <p:cTn dur="500"/>
                        <p:tgtEl>
                          <p:spTgt spid="26"/>
                        </p:tgtEl>
                      </p:cBhvr>
                    </p:animEffect>
                  </p:childTnLst>
                </p:cTn>
              </p:par>
            </p:tnLst>
          </p:tmpl>
        </p:tmplLst>
      </p:bldP>
      <p:bldP spid="28" grpId="0">
        <p:tmplLst>
          <p:tmpl>
            <p:tnLst>
              <p:par>
                <p:cTn presetID="10" presetClass="entr" presetSubtype="0" fill="hold" nodeType="withEffect" nodePh="1">
                  <p:stCondLst>
                    <p:cond delay="2500"/>
                  </p:stCondLst>
                  <p:endCondLst>
                    <p:cond delay="0"/>
                  </p:endCondLst>
                  <p:childTnLst>
                    <p:set>
                      <p:cBhvr>
                        <p:cTn dur="1" fill="hold">
                          <p:stCondLst>
                            <p:cond delay="0"/>
                          </p:stCondLst>
                        </p:cTn>
                        <p:tgtEl>
                          <p:spTgt spid="28"/>
                        </p:tgtEl>
                        <p:attrNameLst>
                          <p:attrName>style.visibility</p:attrName>
                        </p:attrNameLst>
                      </p:cBhvr>
                      <p:to>
                        <p:strVal val="visible"/>
                      </p:to>
                    </p:set>
                    <p:animEffect transition="in" filter="fade">
                      <p:cBhvr>
                        <p:cTn dur="500"/>
                        <p:tgtEl>
                          <p:spTgt spid="28"/>
                        </p:tgtEl>
                      </p:cBhvr>
                    </p:animEffect>
                  </p:childTnLst>
                </p:cTn>
              </p:par>
            </p:tnLst>
          </p:tmpl>
        </p:tmplLst>
      </p:bldP>
      <p:bldP spid="29" grpId="0">
        <p:tmplLst>
          <p:tmpl>
            <p:tnLst>
              <p:par>
                <p:cTn presetID="10" presetClass="entr" presetSubtype="0" fill="hold" nodeType="withEffect" nodePh="1">
                  <p:stCondLst>
                    <p:cond delay="2000"/>
                  </p:stCondLst>
                  <p:endCondLst>
                    <p:cond delay="0"/>
                  </p:endCondLst>
                  <p:childTnLst>
                    <p:set>
                      <p:cBhvr>
                        <p:cTn dur="1" fill="hold">
                          <p:stCondLst>
                            <p:cond delay="0"/>
                          </p:stCondLst>
                        </p:cTn>
                        <p:tgtEl>
                          <p:spTgt spid="29"/>
                        </p:tgtEl>
                        <p:attrNameLst>
                          <p:attrName>style.visibility</p:attrName>
                        </p:attrNameLst>
                      </p:cBhvr>
                      <p:to>
                        <p:strVal val="visible"/>
                      </p:to>
                    </p:set>
                    <p:animEffect transition="in" filter="fade">
                      <p:cBhvr>
                        <p:cTn dur="500"/>
                        <p:tgtEl>
                          <p:spTgt spid="29"/>
                        </p:tgtEl>
                      </p:cBhvr>
                    </p:animEffect>
                  </p:childTnLst>
                </p:cTn>
              </p:par>
            </p:tnLst>
          </p:tmpl>
        </p:tmplLst>
      </p:bldP>
      <p:bldP spid="30" grpId="0">
        <p:tmplLst>
          <p:tmpl>
            <p:tnLst>
              <p:par>
                <p:cTn presetID="10" presetClass="entr" presetSubtype="0" fill="hold" nodeType="withEffect" nodePh="1">
                  <p:stCondLst>
                    <p:cond delay="1500"/>
                  </p:stCondLst>
                  <p:endCondLst>
                    <p:cond delay="0"/>
                  </p:endCondLst>
                  <p:childTnLst>
                    <p:set>
                      <p:cBhvr>
                        <p:cTn dur="1" fill="hold">
                          <p:stCondLst>
                            <p:cond delay="0"/>
                          </p:stCondLst>
                        </p:cTn>
                        <p:tgtEl>
                          <p:spTgt spid="30"/>
                        </p:tgtEl>
                        <p:attrNameLst>
                          <p:attrName>style.visibility</p:attrName>
                        </p:attrNameLst>
                      </p:cBhvr>
                      <p:to>
                        <p:strVal val="visible"/>
                      </p:to>
                    </p:set>
                    <p:animEffect transition="in" filter="fade">
                      <p:cBhvr>
                        <p:cTn dur="500"/>
                        <p:tgtEl>
                          <p:spTgt spid="30"/>
                        </p:tgtEl>
                      </p:cBhvr>
                    </p:animEffect>
                  </p:childTnLst>
                </p:cTn>
              </p:par>
            </p:tnLst>
          </p:tmpl>
        </p:tmplLst>
      </p:bldP>
      <p:bldP spid="31" grpId="0">
        <p:tmplLst>
          <p:tmpl>
            <p:tnLst>
              <p:par>
                <p:cTn presetID="10" presetClass="entr" presetSubtype="0" fill="hold" nodeType="withEffect" nodePh="1">
                  <p:stCondLst>
                    <p:cond delay="500"/>
                  </p:stCondLst>
                  <p:endCondLst>
                    <p:cond delay="0"/>
                  </p:endCondLst>
                  <p:childTnLst>
                    <p:set>
                      <p:cBhvr>
                        <p:cTn dur="1" fill="hold">
                          <p:stCondLst>
                            <p:cond delay="0"/>
                          </p:stCondLst>
                        </p:cTn>
                        <p:tgtEl>
                          <p:spTgt spid="31"/>
                        </p:tgtEl>
                        <p:attrNameLst>
                          <p:attrName>style.visibility</p:attrName>
                        </p:attrNameLst>
                      </p:cBhvr>
                      <p:to>
                        <p:strVal val="visible"/>
                      </p:to>
                    </p:set>
                    <p:animEffect transition="in" filter="fade">
                      <p:cBhvr>
                        <p:cTn dur="500"/>
                        <p:tgtEl>
                          <p:spTgt spid="31"/>
                        </p:tgtEl>
                      </p:cBhvr>
                    </p:animEffect>
                  </p:childTnLst>
                </p:cTn>
              </p:par>
            </p:tnLst>
          </p:tmpl>
        </p:tmplLst>
      </p:bldP>
      <p:bldP spid="32" grpId="0">
        <p:tmplLst>
          <p:tmpl>
            <p:tnLst>
              <p:par>
                <p:cTn presetID="10" presetClass="entr" presetSubtype="0" fill="hold" nodeType="withEffect" nodePh="1">
                  <p:stCondLst>
                    <p:cond delay="1000"/>
                  </p:stCondLst>
                  <p:endCondLst>
                    <p:cond delay="0"/>
                  </p:endCondLst>
                  <p:childTnLst>
                    <p:set>
                      <p:cBhvr>
                        <p:cTn dur="1" fill="hold">
                          <p:stCondLst>
                            <p:cond delay="0"/>
                          </p:stCondLst>
                        </p:cTn>
                        <p:tgtEl>
                          <p:spTgt spid="32"/>
                        </p:tgtEl>
                        <p:attrNameLst>
                          <p:attrName>style.visibility</p:attrName>
                        </p:attrNameLst>
                      </p:cBhvr>
                      <p:to>
                        <p:strVal val="visible"/>
                      </p:to>
                    </p:set>
                    <p:animEffect transition="in" filter="fade">
                      <p:cBhvr>
                        <p:cTn dur="500"/>
                        <p:tgtEl>
                          <p:spTgt spid="32"/>
                        </p:tgtEl>
                      </p:cBhvr>
                    </p:animEffect>
                  </p:childTnLst>
                </p:cTn>
              </p:par>
            </p:tnLst>
          </p:tmpl>
        </p:tmplLst>
      </p:bldP>
    </p:bld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iapositive de titre-V3">
    <p:spTree>
      <p:nvGrpSpPr>
        <p:cNvPr id="1" name=""/>
        <p:cNvGrpSpPr/>
        <p:nvPr/>
      </p:nvGrpSpPr>
      <p:grpSpPr>
        <a:xfrm>
          <a:off x="0" y="0"/>
          <a:ext cx="0" cy="0"/>
          <a:chOff x="0" y="0"/>
          <a:chExt cx="0" cy="0"/>
        </a:xfrm>
      </p:grpSpPr>
      <p:sp>
        <p:nvSpPr>
          <p:cNvPr id="10" name="Rectangle 9"/>
          <p:cNvSpPr/>
          <p:nvPr userDrawn="1"/>
        </p:nvSpPr>
        <p:spPr bwMode="auto">
          <a:xfrm>
            <a:off x="0" y="0"/>
            <a:ext cx="12192000" cy="1709283"/>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pic>
        <p:nvPicPr>
          <p:cNvPr id="1026" name="Picture 2" descr="http://cdn.imotortimes.com/sites/imotortimes.com/files/styles/large/public/2014/02/18/rinspeed-xchangee-concept_0.jpg?itok=_p4wnqVf"/>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17770"/>
          <a:stretch/>
        </p:blipFill>
        <p:spPr bwMode="auto">
          <a:xfrm>
            <a:off x="0" y="1139327"/>
            <a:ext cx="12219093" cy="5789493"/>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userDrawn="1"/>
        </p:nvSpPr>
        <p:spPr bwMode="auto">
          <a:xfrm>
            <a:off x="0" y="0"/>
            <a:ext cx="12192000" cy="1068507"/>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pic>
        <p:nvPicPr>
          <p:cNvPr id="15" name="Image 14"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
        <p:nvSpPr>
          <p:cNvPr id="12" name="Forme libre 9"/>
          <p:cNvSpPr>
            <a:spLocks/>
          </p:cNvSpPr>
          <p:nvPr userDrawn="1"/>
        </p:nvSpPr>
        <p:spPr bwMode="auto">
          <a:xfrm>
            <a:off x="-22579" y="1118250"/>
            <a:ext cx="5751613" cy="575192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9287" h="10173">
                <a:moveTo>
                  <a:pt x="217" y="0"/>
                </a:moveTo>
                <a:cubicBezTo>
                  <a:pt x="313" y="8"/>
                  <a:pt x="454" y="18"/>
                  <a:pt x="562" y="27"/>
                </a:cubicBezTo>
                <a:cubicBezTo>
                  <a:pt x="670" y="36"/>
                  <a:pt x="745" y="40"/>
                  <a:pt x="863" y="53"/>
                </a:cubicBezTo>
                <a:cubicBezTo>
                  <a:pt x="981" y="66"/>
                  <a:pt x="1133" y="83"/>
                  <a:pt x="1273" y="103"/>
                </a:cubicBezTo>
                <a:lnTo>
                  <a:pt x="1703" y="173"/>
                </a:lnTo>
                <a:cubicBezTo>
                  <a:pt x="1820" y="194"/>
                  <a:pt x="1883" y="207"/>
                  <a:pt x="1978" y="227"/>
                </a:cubicBezTo>
                <a:cubicBezTo>
                  <a:pt x="2073" y="247"/>
                  <a:pt x="2152" y="262"/>
                  <a:pt x="2273" y="293"/>
                </a:cubicBezTo>
                <a:cubicBezTo>
                  <a:pt x="2394" y="324"/>
                  <a:pt x="2571" y="375"/>
                  <a:pt x="2703" y="413"/>
                </a:cubicBezTo>
                <a:cubicBezTo>
                  <a:pt x="2835" y="451"/>
                  <a:pt x="2917" y="473"/>
                  <a:pt x="3063" y="523"/>
                </a:cubicBezTo>
                <a:cubicBezTo>
                  <a:pt x="3209" y="573"/>
                  <a:pt x="3437" y="657"/>
                  <a:pt x="3581" y="712"/>
                </a:cubicBezTo>
                <a:cubicBezTo>
                  <a:pt x="3725" y="767"/>
                  <a:pt x="3802" y="799"/>
                  <a:pt x="3928" y="852"/>
                </a:cubicBezTo>
                <a:cubicBezTo>
                  <a:pt x="4054" y="905"/>
                  <a:pt x="4197" y="967"/>
                  <a:pt x="4337" y="1032"/>
                </a:cubicBezTo>
                <a:cubicBezTo>
                  <a:pt x="4477" y="1097"/>
                  <a:pt x="4614" y="1158"/>
                  <a:pt x="4766" y="1240"/>
                </a:cubicBezTo>
                <a:cubicBezTo>
                  <a:pt x="4918" y="1322"/>
                  <a:pt x="5094" y="1427"/>
                  <a:pt x="5250" y="1523"/>
                </a:cubicBezTo>
                <a:cubicBezTo>
                  <a:pt x="5406" y="1619"/>
                  <a:pt x="5584" y="1736"/>
                  <a:pt x="5703" y="1816"/>
                </a:cubicBezTo>
                <a:cubicBezTo>
                  <a:pt x="5822" y="1896"/>
                  <a:pt x="5899" y="1953"/>
                  <a:pt x="5965" y="2001"/>
                </a:cubicBezTo>
                <a:cubicBezTo>
                  <a:pt x="6031" y="2049"/>
                  <a:pt x="6010" y="2036"/>
                  <a:pt x="6097" y="2103"/>
                </a:cubicBezTo>
                <a:cubicBezTo>
                  <a:pt x="6184" y="2170"/>
                  <a:pt x="6353" y="2295"/>
                  <a:pt x="6490" y="2403"/>
                </a:cubicBezTo>
                <a:cubicBezTo>
                  <a:pt x="6627" y="2511"/>
                  <a:pt x="6769" y="2625"/>
                  <a:pt x="6921" y="2752"/>
                </a:cubicBezTo>
                <a:cubicBezTo>
                  <a:pt x="7073" y="2879"/>
                  <a:pt x="7264" y="3042"/>
                  <a:pt x="7401" y="3162"/>
                </a:cubicBezTo>
                <a:cubicBezTo>
                  <a:pt x="7537" y="3282"/>
                  <a:pt x="7608" y="3350"/>
                  <a:pt x="7738" y="3472"/>
                </a:cubicBezTo>
                <a:cubicBezTo>
                  <a:pt x="7867" y="3594"/>
                  <a:pt x="7997" y="3709"/>
                  <a:pt x="8177" y="3892"/>
                </a:cubicBezTo>
                <a:cubicBezTo>
                  <a:pt x="8357" y="4075"/>
                  <a:pt x="8667" y="4407"/>
                  <a:pt x="8821" y="4572"/>
                </a:cubicBezTo>
                <a:cubicBezTo>
                  <a:pt x="8975" y="4737"/>
                  <a:pt x="9023" y="4798"/>
                  <a:pt x="9100" y="4883"/>
                </a:cubicBezTo>
                <a:lnTo>
                  <a:pt x="9283" y="5083"/>
                </a:lnTo>
                <a:cubicBezTo>
                  <a:pt x="9287" y="5071"/>
                  <a:pt x="9200" y="5195"/>
                  <a:pt x="9143" y="5263"/>
                </a:cubicBezTo>
                <a:cubicBezTo>
                  <a:pt x="9086" y="5331"/>
                  <a:pt x="9008" y="5419"/>
                  <a:pt x="8943" y="5493"/>
                </a:cubicBezTo>
                <a:cubicBezTo>
                  <a:pt x="8878" y="5567"/>
                  <a:pt x="8824" y="5628"/>
                  <a:pt x="8752" y="5707"/>
                </a:cubicBezTo>
                <a:cubicBezTo>
                  <a:pt x="8680" y="5786"/>
                  <a:pt x="8603" y="5873"/>
                  <a:pt x="8512" y="5967"/>
                </a:cubicBezTo>
                <a:cubicBezTo>
                  <a:pt x="8421" y="6061"/>
                  <a:pt x="8283" y="6194"/>
                  <a:pt x="8206" y="6271"/>
                </a:cubicBezTo>
                <a:cubicBezTo>
                  <a:pt x="8129" y="6348"/>
                  <a:pt x="8115" y="6363"/>
                  <a:pt x="8050" y="6427"/>
                </a:cubicBezTo>
                <a:cubicBezTo>
                  <a:pt x="7985" y="6491"/>
                  <a:pt x="7887" y="6582"/>
                  <a:pt x="7813" y="6653"/>
                </a:cubicBezTo>
                <a:cubicBezTo>
                  <a:pt x="7739" y="6724"/>
                  <a:pt x="7678" y="6785"/>
                  <a:pt x="7605" y="6852"/>
                </a:cubicBezTo>
                <a:cubicBezTo>
                  <a:pt x="7532" y="6919"/>
                  <a:pt x="7467" y="6973"/>
                  <a:pt x="7373" y="7053"/>
                </a:cubicBezTo>
                <a:cubicBezTo>
                  <a:pt x="7279" y="7133"/>
                  <a:pt x="7156" y="7238"/>
                  <a:pt x="7043" y="7333"/>
                </a:cubicBezTo>
                <a:cubicBezTo>
                  <a:pt x="6930" y="7428"/>
                  <a:pt x="6810" y="7530"/>
                  <a:pt x="6693" y="7623"/>
                </a:cubicBezTo>
                <a:cubicBezTo>
                  <a:pt x="6576" y="7716"/>
                  <a:pt x="6458" y="7806"/>
                  <a:pt x="6343" y="7893"/>
                </a:cubicBezTo>
                <a:cubicBezTo>
                  <a:pt x="6228" y="7980"/>
                  <a:pt x="6134" y="8048"/>
                  <a:pt x="6000" y="8143"/>
                </a:cubicBezTo>
                <a:cubicBezTo>
                  <a:pt x="5866" y="8238"/>
                  <a:pt x="5683" y="8366"/>
                  <a:pt x="5540" y="8463"/>
                </a:cubicBezTo>
                <a:cubicBezTo>
                  <a:pt x="5397" y="8560"/>
                  <a:pt x="5262" y="8648"/>
                  <a:pt x="5140" y="8723"/>
                </a:cubicBezTo>
                <a:cubicBezTo>
                  <a:pt x="5018" y="8798"/>
                  <a:pt x="4926" y="8850"/>
                  <a:pt x="4810" y="8913"/>
                </a:cubicBezTo>
                <a:cubicBezTo>
                  <a:pt x="4694" y="8976"/>
                  <a:pt x="4568" y="9041"/>
                  <a:pt x="4443" y="9103"/>
                </a:cubicBezTo>
                <a:cubicBezTo>
                  <a:pt x="4318" y="9165"/>
                  <a:pt x="4187" y="9226"/>
                  <a:pt x="4057" y="9283"/>
                </a:cubicBezTo>
                <a:cubicBezTo>
                  <a:pt x="3927" y="9340"/>
                  <a:pt x="3819" y="9385"/>
                  <a:pt x="3663" y="9443"/>
                </a:cubicBezTo>
                <a:cubicBezTo>
                  <a:pt x="3507" y="9501"/>
                  <a:pt x="3322" y="9569"/>
                  <a:pt x="3123" y="9630"/>
                </a:cubicBezTo>
                <a:cubicBezTo>
                  <a:pt x="2924" y="9691"/>
                  <a:pt x="2634" y="9768"/>
                  <a:pt x="2467" y="9812"/>
                </a:cubicBezTo>
                <a:cubicBezTo>
                  <a:pt x="2300" y="9856"/>
                  <a:pt x="2295" y="9857"/>
                  <a:pt x="2119" y="9892"/>
                </a:cubicBezTo>
                <a:cubicBezTo>
                  <a:pt x="1943" y="9927"/>
                  <a:pt x="1610" y="9989"/>
                  <a:pt x="1414" y="10022"/>
                </a:cubicBezTo>
                <a:cubicBezTo>
                  <a:pt x="1218" y="10055"/>
                  <a:pt x="1100" y="10070"/>
                  <a:pt x="944" y="10092"/>
                </a:cubicBezTo>
                <a:cubicBezTo>
                  <a:pt x="788" y="10114"/>
                  <a:pt x="609" y="10139"/>
                  <a:pt x="480" y="10153"/>
                </a:cubicBezTo>
                <a:cubicBezTo>
                  <a:pt x="351" y="10167"/>
                  <a:pt x="247" y="10170"/>
                  <a:pt x="170" y="10173"/>
                </a:cubicBezTo>
                <a:lnTo>
                  <a:pt x="15" y="10172"/>
                </a:lnTo>
                <a:lnTo>
                  <a:pt x="7" y="9360"/>
                </a:lnTo>
                <a:cubicBezTo>
                  <a:pt x="6" y="9131"/>
                  <a:pt x="7" y="9193"/>
                  <a:pt x="7" y="8800"/>
                </a:cubicBezTo>
                <a:lnTo>
                  <a:pt x="7" y="7000"/>
                </a:lnTo>
                <a:lnTo>
                  <a:pt x="0" y="3"/>
                </a:lnTo>
                <a:lnTo>
                  <a:pt x="217" y="0"/>
                </a:lnTo>
                <a:close/>
              </a:path>
            </a:pathLst>
          </a:custGeom>
          <a:solidFill>
            <a:schemeClr val="tx1">
              <a:alpha val="60000"/>
            </a:schemeClr>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7" name="Espace réservé du texte 15"/>
          <p:cNvSpPr>
            <a:spLocks noGrp="1"/>
          </p:cNvSpPr>
          <p:nvPr>
            <p:ph type="body" sz="quarter" idx="13"/>
          </p:nvPr>
        </p:nvSpPr>
        <p:spPr>
          <a:xfrm>
            <a:off x="334505" y="4977705"/>
            <a:ext cx="5529439" cy="417512"/>
          </a:xfrm>
        </p:spPr>
        <p:txBody>
          <a:bodyPr>
            <a:noAutofit/>
          </a:bodyPr>
          <a:lstStyle>
            <a:lvl1pPr marL="0" indent="0" algn="l" defTabSz="609585" rtl="0" eaLnBrk="1" latinLnBrk="0" hangingPunct="1">
              <a:buNone/>
              <a:defRPr lang="fr-FR" sz="1867" b="0" i="0" kern="1200" dirty="0">
                <a:solidFill>
                  <a:srgbClr val="A20067"/>
                </a:solidFill>
                <a:latin typeface="Arial"/>
                <a:ea typeface="+mn-ea"/>
                <a:cs typeface="Arial"/>
              </a:defRPr>
            </a:lvl1pPr>
            <a:lvl3pPr marL="1219170" indent="0">
              <a:buNone/>
              <a:defRPr/>
            </a:lvl3pPr>
          </a:lstStyle>
          <a:p>
            <a:pPr lvl="0"/>
            <a:r>
              <a:rPr lang="nl-NL"/>
              <a:t>Klik om de modelstijlen te bewerken</a:t>
            </a:r>
          </a:p>
        </p:txBody>
      </p:sp>
      <p:sp>
        <p:nvSpPr>
          <p:cNvPr id="3" name="Sous-titre 2"/>
          <p:cNvSpPr>
            <a:spLocks noGrp="1"/>
          </p:cNvSpPr>
          <p:nvPr>
            <p:ph type="subTitle" idx="1"/>
          </p:nvPr>
        </p:nvSpPr>
        <p:spPr>
          <a:xfrm>
            <a:off x="345795" y="4360338"/>
            <a:ext cx="5518147" cy="541863"/>
          </a:xfrm>
        </p:spPr>
        <p:txBody>
          <a:bodyPr>
            <a:normAutofit/>
          </a:bodyPr>
          <a:lstStyle>
            <a:lvl1pPr marL="0" indent="0" algn="l">
              <a:buNone/>
              <a:defRPr sz="2667" baseline="0">
                <a:solidFill>
                  <a:schemeClr val="bg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a:p>
        </p:txBody>
      </p:sp>
      <p:sp>
        <p:nvSpPr>
          <p:cNvPr id="2" name="Titre 1"/>
          <p:cNvSpPr>
            <a:spLocks noGrp="1"/>
          </p:cNvSpPr>
          <p:nvPr>
            <p:ph type="ctrTitle"/>
          </p:nvPr>
        </p:nvSpPr>
        <p:spPr>
          <a:xfrm>
            <a:off x="342208" y="2564049"/>
            <a:ext cx="5521733" cy="1470025"/>
          </a:xfrm>
        </p:spPr>
        <p:txBody>
          <a:bodyPr>
            <a:noAutofit/>
          </a:bodyPr>
          <a:lstStyle>
            <a:lvl1pPr algn="l">
              <a:lnSpc>
                <a:spcPct val="90000"/>
              </a:lnSpc>
              <a:defRPr sz="3600" b="1" i="0" baseline="0">
                <a:solidFill>
                  <a:schemeClr val="bg1"/>
                </a:solidFill>
                <a:latin typeface="Arial"/>
                <a:cs typeface="Arial"/>
              </a:defRPr>
            </a:lvl1pPr>
          </a:lstStyle>
          <a:p>
            <a:r>
              <a:rPr lang="nl-NL"/>
              <a:t>Klik om de stijl te bewerken</a:t>
            </a:r>
            <a:endParaRPr lang="fr-FR"/>
          </a:p>
        </p:txBody>
      </p:sp>
      <p:pic>
        <p:nvPicPr>
          <p:cNvPr id="17" name="Image 16" descr="VE_RGB_W.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9859700" y="5989387"/>
            <a:ext cx="2060221" cy="796620"/>
          </a:xfrm>
          <a:prstGeom prst="rect">
            <a:avLst/>
          </a:prstGeom>
        </p:spPr>
      </p:pic>
    </p:spTree>
    <p:extLst>
      <p:ext uri="{BB962C8B-B14F-4D97-AF65-F5344CB8AC3E}">
        <p14:creationId xmlns:p14="http://schemas.microsoft.com/office/powerpoint/2010/main" val="491685161"/>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pic>
        <p:nvPicPr>
          <p:cNvPr id="21" name="Image 2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2"/>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1179816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1_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pic>
        <p:nvPicPr>
          <p:cNvPr id="21" name="Image 2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4" name="Titre 3"/>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57" name="Espace réservé pour une image  56"/>
          <p:cNvSpPr>
            <a:spLocks noGrp="1"/>
          </p:cNvSpPr>
          <p:nvPr>
            <p:ph type="pic" sz="quarter" idx="10"/>
          </p:nvPr>
        </p:nvSpPr>
        <p:spPr>
          <a:xfrm>
            <a:off x="1761067" y="1198443"/>
            <a:ext cx="8669867" cy="4346255"/>
          </a:xfrm>
          <a:custGeom>
            <a:avLst/>
            <a:gdLst>
              <a:gd name="connsiteX0" fmla="*/ 6107487 w 6502400"/>
              <a:gd name="connsiteY0" fmla="*/ 3159716 h 3259691"/>
              <a:gd name="connsiteX1" fmla="*/ 6160585 w 6502400"/>
              <a:gd name="connsiteY1" fmla="*/ 3170436 h 3259691"/>
              <a:gd name="connsiteX2" fmla="*/ 6107488 w 6502400"/>
              <a:gd name="connsiteY2" fmla="*/ 3159716 h 3259691"/>
              <a:gd name="connsiteX3" fmla="*/ 152362 w 6502400"/>
              <a:gd name="connsiteY3" fmla="*/ 2752632 h 3259691"/>
              <a:gd name="connsiteX4" fmla="*/ 140361 w 6502400"/>
              <a:gd name="connsiteY4" fmla="*/ 2760723 h 3259691"/>
              <a:gd name="connsiteX5" fmla="*/ 55105 w 6502400"/>
              <a:gd name="connsiteY5" fmla="*/ 2777935 h 3259691"/>
              <a:gd name="connsiteX6" fmla="*/ 55105 w 6502400"/>
              <a:gd name="connsiteY6" fmla="*/ 2777935 h 3259691"/>
              <a:gd name="connsiteX7" fmla="*/ 99246 w 6502400"/>
              <a:gd name="connsiteY7" fmla="*/ 2773485 h 3259691"/>
              <a:gd name="connsiteX8" fmla="*/ 192667 w 6502400"/>
              <a:gd name="connsiteY8" fmla="*/ 2725457 h 3259691"/>
              <a:gd name="connsiteX9" fmla="*/ 168679 w 6502400"/>
              <a:gd name="connsiteY9" fmla="*/ 2746225 h 3259691"/>
              <a:gd name="connsiteX10" fmla="*/ 152362 w 6502400"/>
              <a:gd name="connsiteY10" fmla="*/ 2752632 h 3259691"/>
              <a:gd name="connsiteX11" fmla="*/ 215354 w 6502400"/>
              <a:gd name="connsiteY11" fmla="*/ 2705816 h 3259691"/>
              <a:gd name="connsiteX12" fmla="*/ 209982 w 6502400"/>
              <a:gd name="connsiteY12" fmla="*/ 2713783 h 3259691"/>
              <a:gd name="connsiteX13" fmla="*/ 192667 w 6502400"/>
              <a:gd name="connsiteY13" fmla="*/ 2725457 h 3259691"/>
              <a:gd name="connsiteX14" fmla="*/ 227647 w 6502400"/>
              <a:gd name="connsiteY14" fmla="*/ 2687582 h 3259691"/>
              <a:gd name="connsiteX15" fmla="*/ 229221 w 6502400"/>
              <a:gd name="connsiteY15" fmla="*/ 2689333 h 3259691"/>
              <a:gd name="connsiteX16" fmla="*/ 224118 w 6502400"/>
              <a:gd name="connsiteY16" fmla="*/ 2698229 h 3259691"/>
              <a:gd name="connsiteX17" fmla="*/ 215354 w 6502400"/>
              <a:gd name="connsiteY17" fmla="*/ 2705816 h 3259691"/>
              <a:gd name="connsiteX18" fmla="*/ 473157 w 6502400"/>
              <a:gd name="connsiteY18" fmla="*/ 0 h 3259691"/>
              <a:gd name="connsiteX19" fmla="*/ 6029243 w 6502400"/>
              <a:gd name="connsiteY19" fmla="*/ 0 h 3259691"/>
              <a:gd name="connsiteX20" fmla="*/ 6502400 w 6502400"/>
              <a:gd name="connsiteY20" fmla="*/ 473157 h 3259691"/>
              <a:gd name="connsiteX21" fmla="*/ 6502400 w 6502400"/>
              <a:gd name="connsiteY21" fmla="*/ 2784153 h 3259691"/>
              <a:gd name="connsiteX22" fmla="*/ 6492787 w 6502400"/>
              <a:gd name="connsiteY22" fmla="*/ 2879511 h 3259691"/>
              <a:gd name="connsiteX23" fmla="*/ 6471027 w 6502400"/>
              <a:gd name="connsiteY23" fmla="*/ 2949612 h 3259691"/>
              <a:gd name="connsiteX24" fmla="*/ 6289795 w 6502400"/>
              <a:gd name="connsiteY24" fmla="*/ 2997917 h 3259691"/>
              <a:gd name="connsiteX25" fmla="*/ 6289716 w 6502400"/>
              <a:gd name="connsiteY25" fmla="*/ 2997951 h 3259691"/>
              <a:gd name="connsiteX26" fmla="*/ 6296998 w 6502400"/>
              <a:gd name="connsiteY26" fmla="*/ 3034023 h 3259691"/>
              <a:gd name="connsiteX27" fmla="*/ 6160585 w 6502400"/>
              <a:gd name="connsiteY27" fmla="*/ 2897610 h 3259691"/>
              <a:gd name="connsiteX28" fmla="*/ 6024172 w 6502400"/>
              <a:gd name="connsiteY28" fmla="*/ 3034023 h 3259691"/>
              <a:gd name="connsiteX29" fmla="*/ 6034892 w 6502400"/>
              <a:gd name="connsiteY29" fmla="*/ 3087121 h 3259691"/>
              <a:gd name="connsiteX30" fmla="*/ 6054023 w 6502400"/>
              <a:gd name="connsiteY30" fmla="*/ 3115496 h 3259691"/>
              <a:gd name="connsiteX31" fmla="*/ 6045354 w 6502400"/>
              <a:gd name="connsiteY31" fmla="*/ 3102639 h 3259691"/>
              <a:gd name="connsiteX32" fmla="*/ 6044375 w 6502400"/>
              <a:gd name="connsiteY32" fmla="*/ 3103058 h 3259691"/>
              <a:gd name="connsiteX33" fmla="*/ 5794026 w 6502400"/>
              <a:gd name="connsiteY33" fmla="*/ 3259691 h 3259691"/>
              <a:gd name="connsiteX34" fmla="*/ 739866 w 6502400"/>
              <a:gd name="connsiteY34" fmla="*/ 3257310 h 3259691"/>
              <a:gd name="connsiteX35" fmla="*/ 229221 w 6502400"/>
              <a:gd name="connsiteY35" fmla="*/ 2689333 h 3259691"/>
              <a:gd name="connsiteX36" fmla="*/ 260843 w 6502400"/>
              <a:gd name="connsiteY36" fmla="*/ 2634216 h 3259691"/>
              <a:gd name="connsiteX37" fmla="*/ 274133 w 6502400"/>
              <a:gd name="connsiteY37" fmla="*/ 2558906 h 3259691"/>
              <a:gd name="connsiteX38" fmla="*/ 55104 w 6502400"/>
              <a:gd name="connsiteY38" fmla="*/ 2339877 h 3259691"/>
              <a:gd name="connsiteX39" fmla="*/ 10962 w 6502400"/>
              <a:gd name="connsiteY39" fmla="*/ 2344327 h 3259691"/>
              <a:gd name="connsiteX40" fmla="*/ 0 w 6502400"/>
              <a:gd name="connsiteY40" fmla="*/ 2347730 h 3259691"/>
              <a:gd name="connsiteX41" fmla="*/ 0 w 6502400"/>
              <a:gd name="connsiteY41" fmla="*/ 473157 h 3259691"/>
              <a:gd name="connsiteX42" fmla="*/ 473157 w 6502400"/>
              <a:gd name="connsiteY42" fmla="*/ 0 h 3259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6502400" h="3259691">
                <a:moveTo>
                  <a:pt x="6107487" y="3159716"/>
                </a:moveTo>
                <a:lnTo>
                  <a:pt x="6160585" y="3170436"/>
                </a:lnTo>
                <a:cubicBezTo>
                  <a:pt x="6141751" y="3170436"/>
                  <a:pt x="6123808" y="3166619"/>
                  <a:pt x="6107488" y="3159716"/>
                </a:cubicBezTo>
                <a:close/>
                <a:moveTo>
                  <a:pt x="152362" y="2752632"/>
                </a:moveTo>
                <a:lnTo>
                  <a:pt x="140361" y="2760723"/>
                </a:lnTo>
                <a:cubicBezTo>
                  <a:pt x="114157" y="2771806"/>
                  <a:pt x="85347" y="2777935"/>
                  <a:pt x="55105" y="2777935"/>
                </a:cubicBezTo>
                <a:lnTo>
                  <a:pt x="55105" y="2777935"/>
                </a:lnTo>
                <a:lnTo>
                  <a:pt x="99246" y="2773485"/>
                </a:lnTo>
                <a:close/>
                <a:moveTo>
                  <a:pt x="192667" y="2725457"/>
                </a:moveTo>
                <a:lnTo>
                  <a:pt x="168679" y="2746225"/>
                </a:lnTo>
                <a:lnTo>
                  <a:pt x="152362" y="2752632"/>
                </a:lnTo>
                <a:close/>
                <a:moveTo>
                  <a:pt x="215354" y="2705816"/>
                </a:moveTo>
                <a:lnTo>
                  <a:pt x="209982" y="2713783"/>
                </a:lnTo>
                <a:lnTo>
                  <a:pt x="192667" y="2725457"/>
                </a:lnTo>
                <a:close/>
                <a:moveTo>
                  <a:pt x="227647" y="2687582"/>
                </a:moveTo>
                <a:lnTo>
                  <a:pt x="229221" y="2689333"/>
                </a:lnTo>
                <a:lnTo>
                  <a:pt x="224118" y="2698229"/>
                </a:lnTo>
                <a:lnTo>
                  <a:pt x="215354" y="2705816"/>
                </a:lnTo>
                <a:close/>
                <a:moveTo>
                  <a:pt x="473157" y="0"/>
                </a:moveTo>
                <a:lnTo>
                  <a:pt x="6029243" y="0"/>
                </a:lnTo>
                <a:cubicBezTo>
                  <a:pt x="6290560" y="0"/>
                  <a:pt x="6502400" y="211840"/>
                  <a:pt x="6502400" y="473157"/>
                </a:cubicBezTo>
                <a:lnTo>
                  <a:pt x="6502400" y="2784153"/>
                </a:lnTo>
                <a:cubicBezTo>
                  <a:pt x="6502400" y="2816818"/>
                  <a:pt x="6499090" y="2848709"/>
                  <a:pt x="6492787" y="2879511"/>
                </a:cubicBezTo>
                <a:lnTo>
                  <a:pt x="6471027" y="2949612"/>
                </a:lnTo>
                <a:lnTo>
                  <a:pt x="6289795" y="2997917"/>
                </a:lnTo>
                <a:lnTo>
                  <a:pt x="6289716" y="2997951"/>
                </a:lnTo>
                <a:lnTo>
                  <a:pt x="6296998" y="3034023"/>
                </a:lnTo>
                <a:cubicBezTo>
                  <a:pt x="6296998" y="2958684"/>
                  <a:pt x="6235924" y="2897610"/>
                  <a:pt x="6160585" y="2897610"/>
                </a:cubicBezTo>
                <a:cubicBezTo>
                  <a:pt x="6085246" y="2897610"/>
                  <a:pt x="6024172" y="2958684"/>
                  <a:pt x="6024172" y="3034023"/>
                </a:cubicBezTo>
                <a:cubicBezTo>
                  <a:pt x="6024172" y="3052858"/>
                  <a:pt x="6027989" y="3070801"/>
                  <a:pt x="6034892" y="3087121"/>
                </a:cubicBezTo>
                <a:lnTo>
                  <a:pt x="6054023" y="3115496"/>
                </a:lnTo>
                <a:lnTo>
                  <a:pt x="6045354" y="3102639"/>
                </a:lnTo>
                <a:lnTo>
                  <a:pt x="6044375" y="3103058"/>
                </a:lnTo>
                <a:lnTo>
                  <a:pt x="5794026" y="3259691"/>
                </a:lnTo>
                <a:lnTo>
                  <a:pt x="739866" y="3257310"/>
                </a:lnTo>
                <a:lnTo>
                  <a:pt x="229221" y="2689333"/>
                </a:lnTo>
                <a:lnTo>
                  <a:pt x="260843" y="2634216"/>
                </a:lnTo>
                <a:cubicBezTo>
                  <a:pt x="269441" y="2610733"/>
                  <a:pt x="274133" y="2585367"/>
                  <a:pt x="274133" y="2558906"/>
                </a:cubicBezTo>
                <a:cubicBezTo>
                  <a:pt x="274133" y="2437940"/>
                  <a:pt x="176070" y="2339877"/>
                  <a:pt x="55104" y="2339877"/>
                </a:cubicBezTo>
                <a:cubicBezTo>
                  <a:pt x="39984" y="2339877"/>
                  <a:pt x="25221" y="2341409"/>
                  <a:pt x="10962" y="2344327"/>
                </a:cubicBezTo>
                <a:lnTo>
                  <a:pt x="0" y="2347730"/>
                </a:lnTo>
                <a:lnTo>
                  <a:pt x="0" y="473157"/>
                </a:lnTo>
                <a:cubicBezTo>
                  <a:pt x="0" y="211840"/>
                  <a:pt x="211840" y="0"/>
                  <a:pt x="473157" y="0"/>
                </a:cubicBez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GB" sz="2400">
                <a:solidFill>
                  <a:schemeClr val="lt1"/>
                </a:solidFill>
                <a:latin typeface="+mn-lt"/>
              </a:defRPr>
            </a:lvl1pPr>
          </a:lstStyle>
          <a:p>
            <a:pPr marL="0" lvl="0" algn="ctr"/>
            <a:endParaRPr lang="en-GB" dirty="0"/>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pic>
        <p:nvPicPr>
          <p:cNvPr id="104" name="Image 103"/>
          <p:cNvPicPr>
            <a:picLocks noChangeAspect="1"/>
          </p:cNvPicPr>
          <p:nvPr userDrawn="1"/>
        </p:nvPicPr>
        <p:blipFill>
          <a:blip r:embed="rId4"/>
          <a:srcRect/>
          <a:stretch>
            <a:fillRect/>
          </a:stretch>
        </p:blipFill>
        <p:spPr>
          <a:xfrm>
            <a:off x="-467455" y="-397260"/>
            <a:ext cx="3194581" cy="3194581"/>
          </a:xfrm>
          <a:custGeom>
            <a:avLst/>
            <a:gdLst>
              <a:gd name="connsiteX0" fmla="*/ 0 w 2395936"/>
              <a:gd name="connsiteY0" fmla="*/ 0 h 2395936"/>
              <a:gd name="connsiteX1" fmla="*/ 2395936 w 2395936"/>
              <a:gd name="connsiteY1" fmla="*/ 0 h 2395936"/>
              <a:gd name="connsiteX2" fmla="*/ 2395936 w 2395936"/>
              <a:gd name="connsiteY2" fmla="*/ 1196777 h 2395936"/>
              <a:gd name="connsiteX3" fmla="*/ 2133017 w 2395936"/>
              <a:gd name="connsiteY3" fmla="*/ 1196777 h 2395936"/>
              <a:gd name="connsiteX4" fmla="*/ 1671391 w 2395936"/>
              <a:gd name="connsiteY4" fmla="*/ 1658403 h 2395936"/>
              <a:gd name="connsiteX5" fmla="*/ 1671391 w 2395936"/>
              <a:gd name="connsiteY5" fmla="*/ 2395936 h 2395936"/>
              <a:gd name="connsiteX6" fmla="*/ 0 w 2395936"/>
              <a:gd name="connsiteY6" fmla="*/ 2395936 h 2395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5936" h="2395936">
                <a:moveTo>
                  <a:pt x="0" y="0"/>
                </a:moveTo>
                <a:lnTo>
                  <a:pt x="2395936" y="0"/>
                </a:lnTo>
                <a:lnTo>
                  <a:pt x="2395936" y="1196777"/>
                </a:lnTo>
                <a:lnTo>
                  <a:pt x="2133017" y="1196777"/>
                </a:lnTo>
                <a:cubicBezTo>
                  <a:pt x="1878068" y="1196777"/>
                  <a:pt x="1671391" y="1403454"/>
                  <a:pt x="1671391" y="1658403"/>
                </a:cubicBezTo>
                <a:lnTo>
                  <a:pt x="1671391" y="2395936"/>
                </a:lnTo>
                <a:lnTo>
                  <a:pt x="0" y="2395936"/>
                </a:lnTo>
                <a:close/>
              </a:path>
            </a:pathLst>
          </a:custGeom>
        </p:spPr>
      </p:pic>
      <p:grpSp>
        <p:nvGrpSpPr>
          <p:cNvPr id="58" name="Groupe 57"/>
          <p:cNvGrpSpPr/>
          <p:nvPr userDrawn="1"/>
        </p:nvGrpSpPr>
        <p:grpSpPr>
          <a:xfrm>
            <a:off x="-278372" y="4318279"/>
            <a:ext cx="12653659" cy="1237084"/>
            <a:chOff x="-208779" y="3238709"/>
            <a:chExt cx="9490244" cy="927813"/>
          </a:xfrm>
        </p:grpSpPr>
        <p:grpSp>
          <p:nvGrpSpPr>
            <p:cNvPr id="59" name="Groupe 58"/>
            <p:cNvGrpSpPr/>
            <p:nvPr/>
          </p:nvGrpSpPr>
          <p:grpSpPr>
            <a:xfrm>
              <a:off x="-208779" y="3720857"/>
              <a:ext cx="366612" cy="366612"/>
              <a:chOff x="1611689" y="1398034"/>
              <a:chExt cx="2388572" cy="2388572"/>
            </a:xfrm>
          </p:grpSpPr>
          <p:sp>
            <p:nvSpPr>
              <p:cNvPr id="88" name="Ellipse 87"/>
              <p:cNvSpPr/>
              <p:nvPr/>
            </p:nvSpPr>
            <p:spPr>
              <a:xfrm>
                <a:off x="1611689" y="1398034"/>
                <a:ext cx="2388572" cy="238857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89"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90"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1"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2"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3"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4"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0" name="Groupe 59"/>
            <p:cNvGrpSpPr/>
            <p:nvPr/>
          </p:nvGrpSpPr>
          <p:grpSpPr>
            <a:xfrm>
              <a:off x="155575" y="3238709"/>
              <a:ext cx="9125890" cy="830559"/>
              <a:chOff x="155575" y="3238709"/>
              <a:chExt cx="9125890" cy="830559"/>
            </a:xfrm>
          </p:grpSpPr>
          <p:grpSp>
            <p:nvGrpSpPr>
              <p:cNvPr id="62" name="Groupe 61"/>
              <p:cNvGrpSpPr/>
              <p:nvPr/>
            </p:nvGrpSpPr>
            <p:grpSpPr>
              <a:xfrm>
                <a:off x="1156875" y="3238709"/>
                <a:ext cx="438058" cy="438058"/>
                <a:chOff x="1611689" y="1398034"/>
                <a:chExt cx="2388572" cy="2388572"/>
              </a:xfrm>
            </p:grpSpPr>
            <p:sp>
              <p:nvSpPr>
                <p:cNvPr id="81" name="Ellipse 80"/>
                <p:cNvSpPr/>
                <p:nvPr/>
              </p:nvSpPr>
              <p:spPr>
                <a:xfrm>
                  <a:off x="1611689" y="1398034"/>
                  <a:ext cx="2388572" cy="2388572"/>
                </a:xfrm>
                <a:prstGeom prst="ellipse">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82"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83"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4"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5"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6"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7"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3" name="Groupe 62"/>
              <p:cNvGrpSpPr/>
              <p:nvPr/>
            </p:nvGrpSpPr>
            <p:grpSpPr>
              <a:xfrm>
                <a:off x="7344972" y="3796442"/>
                <a:ext cx="272826" cy="272826"/>
                <a:chOff x="1611689" y="1398034"/>
                <a:chExt cx="2388572" cy="2388572"/>
              </a:xfrm>
            </p:grpSpPr>
            <p:sp>
              <p:nvSpPr>
                <p:cNvPr id="74" name="Ellipse 73"/>
                <p:cNvSpPr/>
                <p:nvPr/>
              </p:nvSpPr>
              <p:spPr>
                <a:xfrm>
                  <a:off x="1611689" y="1398034"/>
                  <a:ext cx="2388572" cy="2388572"/>
                </a:xfrm>
                <a:prstGeom prst="ellipse">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75"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76"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7"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8"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9"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0"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4" name="Groupe 63"/>
              <p:cNvGrpSpPr/>
              <p:nvPr/>
            </p:nvGrpSpPr>
            <p:grpSpPr>
              <a:xfrm>
                <a:off x="8850665" y="3296625"/>
                <a:ext cx="430800" cy="430800"/>
                <a:chOff x="1611689" y="1398034"/>
                <a:chExt cx="2388572" cy="2388572"/>
              </a:xfrm>
            </p:grpSpPr>
            <p:sp>
              <p:nvSpPr>
                <p:cNvPr id="67" name="Ellipse 66"/>
                <p:cNvSpPr/>
                <p:nvPr/>
              </p:nvSpPr>
              <p:spPr>
                <a:xfrm>
                  <a:off x="1611689" y="1398034"/>
                  <a:ext cx="2388572" cy="2388572"/>
                </a:xfrm>
                <a:prstGeom prst="ellipse">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68"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69"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0"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1"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2"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3"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cxnSp>
            <p:nvCxnSpPr>
              <p:cNvPr id="65" name="Connecteur droit 64"/>
              <p:cNvCxnSpPr/>
              <p:nvPr/>
            </p:nvCxnSpPr>
            <p:spPr>
              <a:xfrm flipV="1">
                <a:off x="155575" y="3524250"/>
                <a:ext cx="1009650" cy="339727"/>
              </a:xfrm>
              <a:prstGeom prst="line">
                <a:avLst/>
              </a:pr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66" name="Connecteur droit 65"/>
              <p:cNvCxnSpPr/>
              <p:nvPr/>
            </p:nvCxnSpPr>
            <p:spPr>
              <a:xfrm flipH="1">
                <a:off x="7616537" y="3562350"/>
                <a:ext cx="1241713" cy="349225"/>
              </a:xfrm>
              <a:prstGeom prst="line">
                <a:avLst/>
              </a:pr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cxnSp>
        </p:grpSp>
        <p:sp>
          <p:nvSpPr>
            <p:cNvPr id="61" name="Forme libre : forme 60"/>
            <p:cNvSpPr/>
            <p:nvPr/>
          </p:nvSpPr>
          <p:spPr>
            <a:xfrm>
              <a:off x="1549400" y="3588672"/>
              <a:ext cx="5816600" cy="577850"/>
            </a:xfrm>
            <a:custGeom>
              <a:avLst/>
              <a:gdLst>
                <a:gd name="connsiteX0" fmla="*/ 0 w 5816600"/>
                <a:gd name="connsiteY0" fmla="*/ 0 h 577850"/>
                <a:gd name="connsiteX1" fmla="*/ 520700 w 5816600"/>
                <a:gd name="connsiteY1" fmla="*/ 577850 h 577850"/>
                <a:gd name="connsiteX2" fmla="*/ 5556250 w 5816600"/>
                <a:gd name="connsiteY2" fmla="*/ 577850 h 577850"/>
                <a:gd name="connsiteX3" fmla="*/ 5816600 w 5816600"/>
                <a:gd name="connsiteY3" fmla="*/ 425450 h 577850"/>
              </a:gdLst>
              <a:ahLst/>
              <a:cxnLst>
                <a:cxn ang="0">
                  <a:pos x="connsiteX0" y="connsiteY0"/>
                </a:cxn>
                <a:cxn ang="0">
                  <a:pos x="connsiteX1" y="connsiteY1"/>
                </a:cxn>
                <a:cxn ang="0">
                  <a:pos x="connsiteX2" y="connsiteY2"/>
                </a:cxn>
                <a:cxn ang="0">
                  <a:pos x="connsiteX3" y="connsiteY3"/>
                </a:cxn>
              </a:cxnLst>
              <a:rect l="l" t="t" r="r" b="b"/>
              <a:pathLst>
                <a:path w="5816600" h="577850">
                  <a:moveTo>
                    <a:pt x="0" y="0"/>
                  </a:moveTo>
                  <a:lnTo>
                    <a:pt x="520700" y="577850"/>
                  </a:lnTo>
                  <a:lnTo>
                    <a:pt x="5556250" y="577850"/>
                  </a:lnTo>
                  <a:lnTo>
                    <a:pt x="5816600" y="425450"/>
                  </a:lnTo>
                </a:path>
              </a:pathLst>
            </a:cu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grpSp>
      <p:sp>
        <p:nvSpPr>
          <p:cNvPr id="5" name="Espace réservé du texte 4"/>
          <p:cNvSpPr>
            <a:spLocks noGrp="1"/>
          </p:cNvSpPr>
          <p:nvPr>
            <p:ph type="body" sz="quarter" idx="11" hasCustomPrompt="1"/>
          </p:nvPr>
        </p:nvSpPr>
        <p:spPr>
          <a:xfrm>
            <a:off x="2800216" y="5106329"/>
            <a:ext cx="6591600" cy="807879"/>
          </a:xfrm>
          <a:prstGeom prst="roundRect">
            <a:avLst>
              <a:gd name="adj" fmla="val 50000"/>
            </a:avLst>
          </a:prstGeom>
          <a:gradFill>
            <a:gsLst>
              <a:gs pos="53000">
                <a:schemeClr val="tx2">
                  <a:lumMod val="75000"/>
                  <a:lumOff val="25000"/>
                </a:schemeClr>
              </a:gs>
              <a:gs pos="100000">
                <a:schemeClr val="accent1"/>
              </a:gs>
              <a:gs pos="0">
                <a:srgbClr val="4891A0"/>
              </a:gs>
            </a:gsLst>
            <a:path path="circle">
              <a:fillToRect l="100000" t="100000"/>
            </a:path>
          </a:gradFill>
        </p:spPr>
        <p:txBody>
          <a:bodyPr wrap="none" lIns="72000" tIns="0" rIns="72000" bIns="0" anchor="ctr">
            <a:spAutoFit/>
          </a:bodyPr>
          <a:lstStyle>
            <a:lvl1pPr marL="0" indent="0" algn="ctr">
              <a:buNone/>
              <a:defRPr sz="3733" baseline="0">
                <a:solidFill>
                  <a:schemeClr val="bg1"/>
                </a:solidFill>
              </a:defRPr>
            </a:lvl1pPr>
            <a:lvl2pPr marL="133347" indent="0">
              <a:buFont typeface="Arial" panose="020B0604020202020204" pitchFamily="34" charset="0"/>
              <a:buNone/>
              <a:defRPr/>
            </a:lvl2pPr>
            <a:lvl3pPr marL="478355" indent="0">
              <a:buNone/>
              <a:defRPr/>
            </a:lvl3pPr>
            <a:lvl4pPr marL="831830" indent="0">
              <a:buNone/>
              <a:defRPr/>
            </a:lvl4pPr>
            <a:lvl5pPr marL="1195887" indent="0">
              <a:buNone/>
              <a:defRPr/>
            </a:lvl5pPr>
          </a:lstStyle>
          <a:p>
            <a:pPr lvl="0"/>
            <a:r>
              <a:rPr lang="fr-FR" dirty="0"/>
              <a:t>Click pour rajouter du texte</a:t>
            </a:r>
          </a:p>
        </p:txBody>
      </p:sp>
      <p:sp>
        <p:nvSpPr>
          <p:cNvPr id="3" name="Espace réservé du pied de page 2"/>
          <p:cNvSpPr>
            <a:spLocks noGrp="1"/>
          </p:cNvSpPr>
          <p:nvPr>
            <p:ph type="ftr" sz="quarter" idx="12"/>
          </p:nvPr>
        </p:nvSpPr>
        <p:spPr/>
        <p:txBody>
          <a:bodyPr/>
          <a:lstStyle/>
          <a:p>
            <a:r>
              <a:rPr lang="fr-FR"/>
              <a:t>| Titre de la présentation</a:t>
            </a:r>
            <a:endParaRPr lang="fr-FR" dirty="0"/>
          </a:p>
        </p:txBody>
      </p:sp>
    </p:spTree>
    <p:extLst>
      <p:ext uri="{BB962C8B-B14F-4D97-AF65-F5344CB8AC3E}">
        <p14:creationId xmlns:p14="http://schemas.microsoft.com/office/powerpoint/2010/main" val="33000453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17"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8"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9"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20" name="Rectangle 19"/>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21"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4" name="Titre 3"/>
          <p:cNvSpPr>
            <a:spLocks noGrp="1"/>
          </p:cNvSpPr>
          <p:nvPr>
            <p:ph type="title"/>
          </p:nvPr>
        </p:nvSpPr>
        <p:spPr/>
        <p:txBody>
          <a:bodyPr/>
          <a:lstStyle>
            <a:lvl1pPr>
              <a:defRPr>
                <a:solidFill>
                  <a:schemeClr val="accent1"/>
                </a:solidFill>
              </a:defRPr>
            </a:lvl1pPr>
          </a:lstStyle>
          <a:p>
            <a:r>
              <a:rPr lang="en-GB" dirty="0"/>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125652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11"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3465222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11"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a:t>| Improving industrial performance</a:t>
            </a:r>
            <a:endParaRPr lang="fr-FR" dirty="0"/>
          </a:p>
        </p:txBody>
      </p:sp>
      <p:pic>
        <p:nvPicPr>
          <p:cNvPr id="4" name="Picture 3"/>
          <p:cNvPicPr>
            <a:picLocks noChangeAspect="1"/>
          </p:cNvPicPr>
          <p:nvPr userDrawn="1"/>
        </p:nvPicPr>
        <p:blipFill>
          <a:blip r:embed="rId2"/>
          <a:stretch>
            <a:fillRect/>
          </a:stretch>
        </p:blipFill>
        <p:spPr>
          <a:xfrm>
            <a:off x="0" y="-440012"/>
            <a:ext cx="12192000" cy="8132064"/>
          </a:xfrm>
          <a:prstGeom prst="rect">
            <a:avLst/>
          </a:prstGeom>
        </p:spPr>
      </p:pic>
    </p:spTree>
    <p:extLst>
      <p:ext uri="{BB962C8B-B14F-4D97-AF65-F5344CB8AC3E}">
        <p14:creationId xmlns:p14="http://schemas.microsoft.com/office/powerpoint/2010/main" val="34727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2032693"/>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78370699"/>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Influencer - No Logos">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476013" y="381000"/>
            <a:ext cx="11175647" cy="609600"/>
          </a:xfrm>
          <a:prstGeom prst="rect">
            <a:avLst/>
          </a:prstGeom>
        </p:spPr>
        <p:txBody>
          <a:bodyPr vert="horz" lIns="91440" tIns="45720" rIns="91440" bIns="45720" rtlCol="0" anchor="ctr">
            <a:normAutofit/>
          </a:bodyPr>
          <a:lstStyle/>
          <a:p>
            <a:r>
              <a:rPr lang="en-US" dirty="0"/>
              <a:t>Click to edit Master title style</a:t>
            </a:r>
          </a:p>
        </p:txBody>
      </p:sp>
      <p:sp>
        <p:nvSpPr>
          <p:cNvPr id="18" name="Text Placeholder 15"/>
          <p:cNvSpPr>
            <a:spLocks noGrp="1"/>
          </p:cNvSpPr>
          <p:nvPr>
            <p:ph type="body" sz="quarter" idx="10"/>
          </p:nvPr>
        </p:nvSpPr>
        <p:spPr>
          <a:xfrm>
            <a:off x="3815935" y="990600"/>
            <a:ext cx="4495800" cy="381000"/>
          </a:xfrm>
          <a:prstGeom prst="rect">
            <a:avLst/>
          </a:prstGeom>
        </p:spPr>
        <p:txBody>
          <a:bodyPr/>
          <a:lstStyle>
            <a:lvl1pPr>
              <a:defRPr sz="2400">
                <a:solidFill>
                  <a:schemeClr val="bg1">
                    <a:lumMod val="75000"/>
                  </a:schemeClr>
                </a:solidFill>
              </a:defRPr>
            </a:lvl1pPr>
          </a:lstStyle>
          <a:p>
            <a:pPr lvl="0"/>
            <a:r>
              <a:rPr lang="en-US" dirty="0"/>
              <a:t>Click to edit Master text styles</a:t>
            </a:r>
          </a:p>
        </p:txBody>
      </p:sp>
    </p:spTree>
    <p:extLst>
      <p:ext uri="{BB962C8B-B14F-4D97-AF65-F5344CB8AC3E}">
        <p14:creationId xmlns:p14="http://schemas.microsoft.com/office/powerpoint/2010/main" val="2376525938"/>
      </p:ext>
    </p:extLst>
  </p:cSld>
  <p:clrMapOvr>
    <a:masterClrMapping/>
  </p:clrMapOvr>
  <p:transition spd="slow">
    <p:wip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60" y="1513"/>
            <a:ext cx="9965905" cy="1103387"/>
          </a:xfrm>
        </p:spPr>
        <p:txBody>
          <a:bodyPr/>
          <a:lstStyle/>
          <a:p>
            <a:r>
              <a:rPr lang="fr-FR" dirty="0" err="1"/>
              <a:t>titel</a:t>
            </a:r>
            <a:endParaRPr lang="fr-FR" dirty="0"/>
          </a:p>
        </p:txBody>
      </p:sp>
      <p:sp>
        <p:nvSpPr>
          <p:cNvPr id="3" name="Espace réservé du contenu 2"/>
          <p:cNvSpPr>
            <a:spLocks noGrp="1"/>
          </p:cNvSpPr>
          <p:nvPr>
            <p:ph idx="1"/>
          </p:nvPr>
        </p:nvSpPr>
        <p:spPr>
          <a:xfrm>
            <a:off x="345586" y="1612902"/>
            <a:ext cx="11404033" cy="4533748"/>
          </a:xfrm>
        </p:spPr>
        <p:txBody>
          <a:bodyPr/>
          <a:lstStyle/>
          <a:p>
            <a:pPr lvl="0"/>
            <a:r>
              <a:rPr lang="nl-NL"/>
              <a:t>Klik om de modelstijlen te bewerken</a:t>
            </a:r>
          </a:p>
          <a:p>
            <a:pPr lvl="1"/>
            <a:r>
              <a:rPr lang="nl-NL"/>
              <a:t>Tweede niveau</a:t>
            </a:r>
          </a:p>
          <a:p>
            <a:pPr lvl="2"/>
            <a:r>
              <a:rPr lang="nl-NL"/>
              <a:t>Derde niveau</a:t>
            </a:r>
          </a:p>
          <a:p>
            <a:pPr lvl="3"/>
            <a:r>
              <a:rPr lang="nl-NL"/>
              <a:t>Vierde niveau</a:t>
            </a:r>
          </a:p>
        </p:txBody>
      </p:sp>
    </p:spTree>
    <p:extLst>
      <p:ext uri="{BB962C8B-B14F-4D97-AF65-F5344CB8AC3E}">
        <p14:creationId xmlns:p14="http://schemas.microsoft.com/office/powerpoint/2010/main" val="3083216544"/>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28284281"/>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marL="228600" indent="-228600">
              <a:buFontTx/>
              <a:buBlip>
                <a:blip r:embed="rId2"/>
              </a:buBlip>
              <a:defRPr/>
            </a:lvl1pPr>
            <a:lvl2pPr marL="685800" indent="-228600">
              <a:buFontTx/>
              <a:buBlip>
                <a:blip r:embed="rId2"/>
              </a:buBlip>
              <a:defRPr/>
            </a:lvl2pPr>
            <a:lvl3pPr marL="1143000" indent="-228600">
              <a:buFontTx/>
              <a:buBlip>
                <a:blip r:embed="rId2"/>
              </a:buBlip>
              <a:defRPr/>
            </a:lvl3pPr>
            <a:lvl4pPr marL="1600200" indent="-228600">
              <a:buFontTx/>
              <a:buBlip>
                <a:blip r:embed="rId2"/>
              </a:buBlip>
              <a:defRPr/>
            </a:lvl4pPr>
            <a:lvl5pPr marL="2057400" indent="-228600">
              <a:buFontTx/>
              <a:buBlip>
                <a:blip r:embed="rId2"/>
              </a:buBlip>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1078974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Diapositive de titre-V3">
    <p:spTree>
      <p:nvGrpSpPr>
        <p:cNvPr id="1" name=""/>
        <p:cNvGrpSpPr/>
        <p:nvPr/>
      </p:nvGrpSpPr>
      <p:grpSpPr>
        <a:xfrm>
          <a:off x="0" y="0"/>
          <a:ext cx="0" cy="0"/>
          <a:chOff x="0" y="0"/>
          <a:chExt cx="0" cy="0"/>
        </a:xfrm>
      </p:grpSpPr>
      <p:pic>
        <p:nvPicPr>
          <p:cNvPr id="64" name="Picture 2" descr="https://newevolutiondesigns.com/images/freebies/city-wallpaper-32.jpg">
            <a:extLst>
              <a:ext uri="{FF2B5EF4-FFF2-40B4-BE49-F238E27FC236}">
                <a16:creationId xmlns:a16="http://schemas.microsoft.com/office/drawing/2014/main" id="{3B02810F-7EA7-43F9-A5F7-670E4D753E0C}"/>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t="-14959" b="-1"/>
          <a:stretch/>
        </p:blipFill>
        <p:spPr bwMode="auto">
          <a:xfrm>
            <a:off x="-12357" y="-1613650"/>
            <a:ext cx="12196119" cy="8490940"/>
          </a:xfrm>
          <a:prstGeom prst="rect">
            <a:avLst/>
          </a:prstGeom>
          <a:noFill/>
          <a:extLst>
            <a:ext uri="{909E8E84-426E-40DD-AFC4-6F175D3DCCD1}">
              <a14:hiddenFill xmlns:a14="http://schemas.microsoft.com/office/drawing/2010/main">
                <a:solidFill>
                  <a:srgbClr val="FFFFFF"/>
                </a:solidFill>
              </a14:hiddenFill>
            </a:ext>
          </a:extLst>
        </p:spPr>
      </p:pic>
      <p:sp>
        <p:nvSpPr>
          <p:cNvPr id="65" name="Arc 64">
            <a:extLst>
              <a:ext uri="{FF2B5EF4-FFF2-40B4-BE49-F238E27FC236}">
                <a16:creationId xmlns:a16="http://schemas.microsoft.com/office/drawing/2014/main" id="{BBDE1187-E1F6-463A-AF00-84100B679A6E}"/>
              </a:ext>
            </a:extLst>
          </p:cNvPr>
          <p:cNvSpPr/>
          <p:nvPr userDrawn="1"/>
        </p:nvSpPr>
        <p:spPr>
          <a:xfrm>
            <a:off x="4240560" y="2421795"/>
            <a:ext cx="2513979" cy="4032935"/>
          </a:xfrm>
          <a:prstGeom prst="arc">
            <a:avLst>
              <a:gd name="adj1" fmla="val 13609095"/>
              <a:gd name="adj2" fmla="val 21570957"/>
            </a:avLst>
          </a:prstGeom>
          <a:noFill/>
          <a:ln w="38100" cap="rnd" cmpd="sng" algn="ctr">
            <a:gradFill flip="none" rotWithShape="1">
              <a:gsLst>
                <a:gs pos="0">
                  <a:srgbClr val="E4DED8"/>
                </a:gs>
                <a:gs pos="100000">
                  <a:srgbClr val="E4DED8">
                    <a:alpha val="21000"/>
                  </a:srgbClr>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66" name="Arc 65">
            <a:extLst>
              <a:ext uri="{FF2B5EF4-FFF2-40B4-BE49-F238E27FC236}">
                <a16:creationId xmlns:a16="http://schemas.microsoft.com/office/drawing/2014/main" id="{9BCF2143-6A4C-4768-B2BB-3F891C4BC984}"/>
              </a:ext>
            </a:extLst>
          </p:cNvPr>
          <p:cNvSpPr/>
          <p:nvPr userDrawn="1"/>
        </p:nvSpPr>
        <p:spPr>
          <a:xfrm flipH="1">
            <a:off x="99816" y="3551305"/>
            <a:ext cx="1459636" cy="4460119"/>
          </a:xfrm>
          <a:prstGeom prst="arc">
            <a:avLst>
              <a:gd name="adj1" fmla="val 11854034"/>
              <a:gd name="adj2" fmla="val 17451217"/>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67" name="Arc 66">
            <a:extLst>
              <a:ext uri="{FF2B5EF4-FFF2-40B4-BE49-F238E27FC236}">
                <a16:creationId xmlns:a16="http://schemas.microsoft.com/office/drawing/2014/main" id="{408A47B8-51D6-495C-A170-8C9650E9FAC6}"/>
              </a:ext>
            </a:extLst>
          </p:cNvPr>
          <p:cNvSpPr/>
          <p:nvPr userDrawn="1"/>
        </p:nvSpPr>
        <p:spPr>
          <a:xfrm>
            <a:off x="1559452" y="3220052"/>
            <a:ext cx="695917" cy="4360897"/>
          </a:xfrm>
          <a:prstGeom prst="arc">
            <a:avLst>
              <a:gd name="adj1" fmla="val 9342641"/>
              <a:gd name="adj2" fmla="val 16865012"/>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68" name="Arc 67">
            <a:extLst>
              <a:ext uri="{FF2B5EF4-FFF2-40B4-BE49-F238E27FC236}">
                <a16:creationId xmlns:a16="http://schemas.microsoft.com/office/drawing/2014/main" id="{FC19B304-C12F-4613-A1CD-D2BB95A7CA20}"/>
              </a:ext>
            </a:extLst>
          </p:cNvPr>
          <p:cNvSpPr/>
          <p:nvPr userDrawn="1"/>
        </p:nvSpPr>
        <p:spPr>
          <a:xfrm flipH="1">
            <a:off x="2048895" y="3231069"/>
            <a:ext cx="1669258" cy="4320766"/>
          </a:xfrm>
          <a:prstGeom prst="arc">
            <a:avLst>
              <a:gd name="adj1" fmla="val 12352648"/>
              <a:gd name="adj2" fmla="val 17679661"/>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69" name="Arc 68">
            <a:extLst>
              <a:ext uri="{FF2B5EF4-FFF2-40B4-BE49-F238E27FC236}">
                <a16:creationId xmlns:a16="http://schemas.microsoft.com/office/drawing/2014/main" id="{278F13A8-C22A-4FE7-8F88-48B76175C0B3}"/>
              </a:ext>
            </a:extLst>
          </p:cNvPr>
          <p:cNvSpPr/>
          <p:nvPr userDrawn="1"/>
        </p:nvSpPr>
        <p:spPr>
          <a:xfrm>
            <a:off x="6473089" y="4469121"/>
            <a:ext cx="3388497" cy="2991742"/>
          </a:xfrm>
          <a:prstGeom prst="arc">
            <a:avLst>
              <a:gd name="adj1" fmla="val 11065609"/>
              <a:gd name="adj2" fmla="val 20784473"/>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0" name="Arc 69">
            <a:extLst>
              <a:ext uri="{FF2B5EF4-FFF2-40B4-BE49-F238E27FC236}">
                <a16:creationId xmlns:a16="http://schemas.microsoft.com/office/drawing/2014/main" id="{C608173C-1335-40FA-9DFC-68A0FBDE87FF}"/>
              </a:ext>
            </a:extLst>
          </p:cNvPr>
          <p:cNvSpPr/>
          <p:nvPr userDrawn="1"/>
        </p:nvSpPr>
        <p:spPr>
          <a:xfrm>
            <a:off x="1543485" y="4385660"/>
            <a:ext cx="2340740" cy="3339985"/>
          </a:xfrm>
          <a:prstGeom prst="arc">
            <a:avLst>
              <a:gd name="adj1" fmla="val 12198324"/>
              <a:gd name="adj2" fmla="val 18646156"/>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1" name="Arc 70">
            <a:extLst>
              <a:ext uri="{FF2B5EF4-FFF2-40B4-BE49-F238E27FC236}">
                <a16:creationId xmlns:a16="http://schemas.microsoft.com/office/drawing/2014/main" id="{B7B95070-D1A6-4794-B4E4-2ECF6251E907}"/>
              </a:ext>
            </a:extLst>
          </p:cNvPr>
          <p:cNvSpPr/>
          <p:nvPr userDrawn="1"/>
        </p:nvSpPr>
        <p:spPr>
          <a:xfrm>
            <a:off x="9815754" y="4014997"/>
            <a:ext cx="1623603" cy="3339985"/>
          </a:xfrm>
          <a:prstGeom prst="arc">
            <a:avLst>
              <a:gd name="adj1" fmla="val 11196475"/>
              <a:gd name="adj2" fmla="val 17901675"/>
            </a:avLst>
          </a:prstGeom>
          <a:noFill/>
          <a:ln w="254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2" name="Arc 71">
            <a:extLst>
              <a:ext uri="{FF2B5EF4-FFF2-40B4-BE49-F238E27FC236}">
                <a16:creationId xmlns:a16="http://schemas.microsoft.com/office/drawing/2014/main" id="{B3EBF1D6-3176-4C33-8EA6-E1ED406923B8}"/>
              </a:ext>
            </a:extLst>
          </p:cNvPr>
          <p:cNvSpPr/>
          <p:nvPr userDrawn="1"/>
        </p:nvSpPr>
        <p:spPr>
          <a:xfrm flipH="1">
            <a:off x="6623856" y="3464488"/>
            <a:ext cx="2085567" cy="4394404"/>
          </a:xfrm>
          <a:prstGeom prst="arc">
            <a:avLst>
              <a:gd name="adj1" fmla="val 15144935"/>
              <a:gd name="adj2" fmla="val 18379103"/>
            </a:avLst>
          </a:prstGeom>
          <a:noFill/>
          <a:ln w="38100" cap="rnd" cmpd="sng" algn="ctr">
            <a:gradFill flip="none" rotWithShape="1">
              <a:gsLst>
                <a:gs pos="0">
                  <a:srgbClr val="E4DED8"/>
                </a:gs>
                <a:gs pos="100000">
                  <a:srgbClr val="E4DED8">
                    <a:alpha val="7000"/>
                  </a:srgbClr>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3" name="Arc 72">
            <a:extLst>
              <a:ext uri="{FF2B5EF4-FFF2-40B4-BE49-F238E27FC236}">
                <a16:creationId xmlns:a16="http://schemas.microsoft.com/office/drawing/2014/main" id="{EC4CF066-C6F2-4F1A-87CA-E06FCB800E24}"/>
              </a:ext>
            </a:extLst>
          </p:cNvPr>
          <p:cNvSpPr/>
          <p:nvPr userDrawn="1"/>
        </p:nvSpPr>
        <p:spPr>
          <a:xfrm>
            <a:off x="2105060" y="2410778"/>
            <a:ext cx="4366403" cy="5000449"/>
          </a:xfrm>
          <a:prstGeom prst="arc">
            <a:avLst>
              <a:gd name="adj1" fmla="val 12182083"/>
              <a:gd name="adj2" fmla="val 19536372"/>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4" name="Arc 73">
            <a:extLst>
              <a:ext uri="{FF2B5EF4-FFF2-40B4-BE49-F238E27FC236}">
                <a16:creationId xmlns:a16="http://schemas.microsoft.com/office/drawing/2014/main" id="{D51CE9C9-E735-4EE8-BBF1-146825EEA228}"/>
              </a:ext>
            </a:extLst>
          </p:cNvPr>
          <p:cNvSpPr/>
          <p:nvPr userDrawn="1"/>
        </p:nvSpPr>
        <p:spPr>
          <a:xfrm>
            <a:off x="-392970" y="3486450"/>
            <a:ext cx="2697097" cy="2198540"/>
          </a:xfrm>
          <a:prstGeom prst="arc">
            <a:avLst>
              <a:gd name="adj1" fmla="val 12011279"/>
              <a:gd name="adj2" fmla="val 20180343"/>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5" name="Arc 74">
            <a:extLst>
              <a:ext uri="{FF2B5EF4-FFF2-40B4-BE49-F238E27FC236}">
                <a16:creationId xmlns:a16="http://schemas.microsoft.com/office/drawing/2014/main" id="{786B4561-E039-46DC-837E-7074F17EAA6F}"/>
              </a:ext>
            </a:extLst>
          </p:cNvPr>
          <p:cNvSpPr/>
          <p:nvPr userDrawn="1"/>
        </p:nvSpPr>
        <p:spPr>
          <a:xfrm flipH="1">
            <a:off x="8936109" y="2670191"/>
            <a:ext cx="2340278" cy="4190282"/>
          </a:xfrm>
          <a:prstGeom prst="arc">
            <a:avLst>
              <a:gd name="adj1" fmla="val 11367434"/>
              <a:gd name="adj2" fmla="val 19352303"/>
            </a:avLst>
          </a:prstGeom>
          <a:noFill/>
          <a:ln w="38100" cap="rnd" cmpd="sng" algn="ctr">
            <a:gradFill flip="none" rotWithShape="1">
              <a:gsLst>
                <a:gs pos="0">
                  <a:srgbClr val="E4DED8"/>
                </a:gs>
                <a:gs pos="100000">
                  <a:srgbClr val="E4DED8">
                    <a:alpha val="23000"/>
                  </a:srgbClr>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6" name="Arc 75">
            <a:extLst>
              <a:ext uri="{FF2B5EF4-FFF2-40B4-BE49-F238E27FC236}">
                <a16:creationId xmlns:a16="http://schemas.microsoft.com/office/drawing/2014/main" id="{BA8EB5EB-012B-4F35-B894-5B16E30F3B50}"/>
              </a:ext>
            </a:extLst>
          </p:cNvPr>
          <p:cNvSpPr/>
          <p:nvPr userDrawn="1"/>
        </p:nvSpPr>
        <p:spPr>
          <a:xfrm>
            <a:off x="2866659" y="3386925"/>
            <a:ext cx="2483195" cy="3414172"/>
          </a:xfrm>
          <a:prstGeom prst="arc">
            <a:avLst>
              <a:gd name="adj1" fmla="val 13976552"/>
              <a:gd name="adj2" fmla="val 18629965"/>
            </a:avLst>
          </a:prstGeom>
          <a:noFill/>
          <a:ln w="38100" cap="rnd" cmpd="sng" algn="ctr">
            <a:gradFill flip="none" rotWithShape="1">
              <a:gsLst>
                <a:gs pos="0">
                  <a:srgbClr val="E4DED8"/>
                </a:gs>
                <a:gs pos="100000">
                  <a:srgbClr val="E4DED8">
                    <a:alpha val="21000"/>
                  </a:srgbClr>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7" name="Arc 76">
            <a:extLst>
              <a:ext uri="{FF2B5EF4-FFF2-40B4-BE49-F238E27FC236}">
                <a16:creationId xmlns:a16="http://schemas.microsoft.com/office/drawing/2014/main" id="{AE6F7A07-0110-49AC-AB01-4952A61655CA}"/>
              </a:ext>
            </a:extLst>
          </p:cNvPr>
          <p:cNvSpPr/>
          <p:nvPr userDrawn="1"/>
        </p:nvSpPr>
        <p:spPr>
          <a:xfrm flipH="1">
            <a:off x="3520989" y="4540064"/>
            <a:ext cx="1274914" cy="3391632"/>
          </a:xfrm>
          <a:prstGeom prst="arc">
            <a:avLst>
              <a:gd name="adj1" fmla="val 11268502"/>
              <a:gd name="adj2" fmla="val 17415783"/>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8" name="Arc 77">
            <a:extLst>
              <a:ext uri="{FF2B5EF4-FFF2-40B4-BE49-F238E27FC236}">
                <a16:creationId xmlns:a16="http://schemas.microsoft.com/office/drawing/2014/main" id="{313525FC-D6E0-48C2-A89F-7969C5C89C1C}"/>
              </a:ext>
            </a:extLst>
          </p:cNvPr>
          <p:cNvSpPr/>
          <p:nvPr userDrawn="1"/>
        </p:nvSpPr>
        <p:spPr>
          <a:xfrm>
            <a:off x="4826858" y="5337727"/>
            <a:ext cx="1724829" cy="1757947"/>
          </a:xfrm>
          <a:prstGeom prst="arc">
            <a:avLst>
              <a:gd name="adj1" fmla="val 11065609"/>
              <a:gd name="adj2" fmla="val 20290859"/>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9" name="Arc 78">
            <a:extLst>
              <a:ext uri="{FF2B5EF4-FFF2-40B4-BE49-F238E27FC236}">
                <a16:creationId xmlns:a16="http://schemas.microsoft.com/office/drawing/2014/main" id="{4F2A464D-C7B4-4B7C-8D6D-263F7096D8FC}"/>
              </a:ext>
            </a:extLst>
          </p:cNvPr>
          <p:cNvSpPr/>
          <p:nvPr userDrawn="1"/>
        </p:nvSpPr>
        <p:spPr>
          <a:xfrm flipH="1">
            <a:off x="11194829" y="3301250"/>
            <a:ext cx="2340278" cy="4190282"/>
          </a:xfrm>
          <a:prstGeom prst="arc">
            <a:avLst>
              <a:gd name="adj1" fmla="val 11367434"/>
              <a:gd name="adj2" fmla="val 19352303"/>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0" name="Arc 79">
            <a:extLst>
              <a:ext uri="{FF2B5EF4-FFF2-40B4-BE49-F238E27FC236}">
                <a16:creationId xmlns:a16="http://schemas.microsoft.com/office/drawing/2014/main" id="{25A0C855-9418-4AAC-BDD5-92FEC97A6EDC}"/>
              </a:ext>
            </a:extLst>
          </p:cNvPr>
          <p:cNvSpPr/>
          <p:nvPr userDrawn="1"/>
        </p:nvSpPr>
        <p:spPr>
          <a:xfrm flipH="1">
            <a:off x="-283840" y="4982613"/>
            <a:ext cx="1908062" cy="1837287"/>
          </a:xfrm>
          <a:prstGeom prst="arc">
            <a:avLst>
              <a:gd name="adj1" fmla="val 11954805"/>
              <a:gd name="adj2" fmla="val 20039040"/>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1" name="Arc 80">
            <a:extLst>
              <a:ext uri="{FF2B5EF4-FFF2-40B4-BE49-F238E27FC236}">
                <a16:creationId xmlns:a16="http://schemas.microsoft.com/office/drawing/2014/main" id="{394A3882-97AF-4415-B2FA-54060278FF00}"/>
              </a:ext>
            </a:extLst>
          </p:cNvPr>
          <p:cNvSpPr/>
          <p:nvPr userDrawn="1"/>
        </p:nvSpPr>
        <p:spPr>
          <a:xfrm>
            <a:off x="8203428" y="2111748"/>
            <a:ext cx="3452653" cy="4448383"/>
          </a:xfrm>
          <a:prstGeom prst="arc">
            <a:avLst>
              <a:gd name="adj1" fmla="val 11879355"/>
              <a:gd name="adj2" fmla="val 18276951"/>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2" name="Arc 81">
            <a:extLst>
              <a:ext uri="{FF2B5EF4-FFF2-40B4-BE49-F238E27FC236}">
                <a16:creationId xmlns:a16="http://schemas.microsoft.com/office/drawing/2014/main" id="{434CD890-0FCE-4C78-9E3A-662F27B08834}"/>
              </a:ext>
            </a:extLst>
          </p:cNvPr>
          <p:cNvSpPr/>
          <p:nvPr userDrawn="1"/>
        </p:nvSpPr>
        <p:spPr>
          <a:xfrm flipH="1">
            <a:off x="6550693" y="3064604"/>
            <a:ext cx="1669802" cy="1730990"/>
          </a:xfrm>
          <a:prstGeom prst="arc">
            <a:avLst>
              <a:gd name="adj1" fmla="val 11350335"/>
              <a:gd name="adj2" fmla="val 17617918"/>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3" name="Arc 82">
            <a:extLst>
              <a:ext uri="{FF2B5EF4-FFF2-40B4-BE49-F238E27FC236}">
                <a16:creationId xmlns:a16="http://schemas.microsoft.com/office/drawing/2014/main" id="{30B682D6-2361-4D8E-B7CD-85DCCBE31D89}"/>
              </a:ext>
            </a:extLst>
          </p:cNvPr>
          <p:cNvSpPr/>
          <p:nvPr userDrawn="1"/>
        </p:nvSpPr>
        <p:spPr>
          <a:xfrm>
            <a:off x="8676227" y="5133728"/>
            <a:ext cx="1164990" cy="1757947"/>
          </a:xfrm>
          <a:prstGeom prst="arc">
            <a:avLst>
              <a:gd name="adj1" fmla="val 11368144"/>
              <a:gd name="adj2" fmla="val 19112867"/>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4" name="Arc 83">
            <a:extLst>
              <a:ext uri="{FF2B5EF4-FFF2-40B4-BE49-F238E27FC236}">
                <a16:creationId xmlns:a16="http://schemas.microsoft.com/office/drawing/2014/main" id="{045E08CE-DFE9-48D0-9DAF-EE365E1502D2}"/>
              </a:ext>
            </a:extLst>
          </p:cNvPr>
          <p:cNvSpPr/>
          <p:nvPr userDrawn="1"/>
        </p:nvSpPr>
        <p:spPr>
          <a:xfrm flipH="1">
            <a:off x="6174658" y="1978362"/>
            <a:ext cx="2815408" cy="3436813"/>
          </a:xfrm>
          <a:prstGeom prst="arc">
            <a:avLst>
              <a:gd name="adj1" fmla="val 10339918"/>
              <a:gd name="adj2" fmla="val 21358129"/>
            </a:avLst>
          </a:prstGeom>
          <a:noFill/>
          <a:ln w="38100" cap="rnd" cmpd="sng" algn="ctr">
            <a:gradFill flip="none" rotWithShape="1">
              <a:gsLst>
                <a:gs pos="0">
                  <a:srgbClr val="E4DED8"/>
                </a:gs>
                <a:gs pos="100000">
                  <a:srgbClr val="E4DED8">
                    <a:alpha val="21000"/>
                  </a:srgbClr>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5" name="Oval 84">
            <a:extLst>
              <a:ext uri="{FF2B5EF4-FFF2-40B4-BE49-F238E27FC236}">
                <a16:creationId xmlns:a16="http://schemas.microsoft.com/office/drawing/2014/main" id="{5C636303-1089-4607-B94E-F51B6D0186E3}"/>
              </a:ext>
            </a:extLst>
          </p:cNvPr>
          <p:cNvSpPr>
            <a:spLocks noChangeAspect="1"/>
          </p:cNvSpPr>
          <p:nvPr userDrawn="1"/>
        </p:nvSpPr>
        <p:spPr>
          <a:xfrm>
            <a:off x="5014187" y="3962535"/>
            <a:ext cx="137160" cy="137234"/>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86" name="Oval 85">
            <a:extLst>
              <a:ext uri="{FF2B5EF4-FFF2-40B4-BE49-F238E27FC236}">
                <a16:creationId xmlns:a16="http://schemas.microsoft.com/office/drawing/2014/main" id="{5F3A18A9-647F-4120-B7C5-E0696AC7F433}"/>
              </a:ext>
            </a:extLst>
          </p:cNvPr>
          <p:cNvSpPr>
            <a:spLocks noChangeAspect="1"/>
          </p:cNvSpPr>
          <p:nvPr userDrawn="1"/>
        </p:nvSpPr>
        <p:spPr>
          <a:xfrm>
            <a:off x="6410579" y="5882309"/>
            <a:ext cx="137160" cy="137235"/>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87" name="Oval 86">
            <a:extLst>
              <a:ext uri="{FF2B5EF4-FFF2-40B4-BE49-F238E27FC236}">
                <a16:creationId xmlns:a16="http://schemas.microsoft.com/office/drawing/2014/main" id="{2C881490-6885-4E6F-BAAA-F8A9A2D0363A}"/>
              </a:ext>
            </a:extLst>
          </p:cNvPr>
          <p:cNvSpPr/>
          <p:nvPr userDrawn="1"/>
        </p:nvSpPr>
        <p:spPr>
          <a:xfrm flipH="1" flipV="1">
            <a:off x="6115889" y="3634411"/>
            <a:ext cx="106082" cy="106138"/>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88" name="Oval 87">
            <a:extLst>
              <a:ext uri="{FF2B5EF4-FFF2-40B4-BE49-F238E27FC236}">
                <a16:creationId xmlns:a16="http://schemas.microsoft.com/office/drawing/2014/main" id="{C4C3A6E0-41D7-4E35-8228-901162C37FAE}"/>
              </a:ext>
            </a:extLst>
          </p:cNvPr>
          <p:cNvSpPr>
            <a:spLocks noChangeAspect="1"/>
          </p:cNvSpPr>
          <p:nvPr userDrawn="1"/>
        </p:nvSpPr>
        <p:spPr>
          <a:xfrm>
            <a:off x="11587501" y="6381240"/>
            <a:ext cx="137160" cy="137235"/>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89" name="Oval 88">
            <a:extLst>
              <a:ext uri="{FF2B5EF4-FFF2-40B4-BE49-F238E27FC236}">
                <a16:creationId xmlns:a16="http://schemas.microsoft.com/office/drawing/2014/main" id="{50096964-F4B6-448F-AC6E-3AF4B51C316D}"/>
              </a:ext>
            </a:extLst>
          </p:cNvPr>
          <p:cNvSpPr>
            <a:spLocks noChangeAspect="1"/>
          </p:cNvSpPr>
          <p:nvPr userDrawn="1"/>
        </p:nvSpPr>
        <p:spPr>
          <a:xfrm>
            <a:off x="11190678" y="4565608"/>
            <a:ext cx="182880" cy="182979"/>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90" name="Oval 89">
            <a:extLst>
              <a:ext uri="{FF2B5EF4-FFF2-40B4-BE49-F238E27FC236}">
                <a16:creationId xmlns:a16="http://schemas.microsoft.com/office/drawing/2014/main" id="{1E28C3A2-0111-4EE3-B205-2EF7B3750128}"/>
              </a:ext>
            </a:extLst>
          </p:cNvPr>
          <p:cNvSpPr>
            <a:spLocks noChangeAspect="1"/>
          </p:cNvSpPr>
          <p:nvPr userDrawn="1"/>
        </p:nvSpPr>
        <p:spPr>
          <a:xfrm>
            <a:off x="2125969" y="4048488"/>
            <a:ext cx="182780" cy="182880"/>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91" name="Oval 90">
            <a:extLst>
              <a:ext uri="{FF2B5EF4-FFF2-40B4-BE49-F238E27FC236}">
                <a16:creationId xmlns:a16="http://schemas.microsoft.com/office/drawing/2014/main" id="{E38A7622-C5ED-488D-835B-B8D7326177A2}"/>
              </a:ext>
            </a:extLst>
          </p:cNvPr>
          <p:cNvSpPr>
            <a:spLocks noChangeAspect="1"/>
          </p:cNvSpPr>
          <p:nvPr userDrawn="1"/>
        </p:nvSpPr>
        <p:spPr>
          <a:xfrm>
            <a:off x="8160946" y="3837278"/>
            <a:ext cx="137160" cy="137234"/>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92" name="Arc 91">
            <a:extLst>
              <a:ext uri="{FF2B5EF4-FFF2-40B4-BE49-F238E27FC236}">
                <a16:creationId xmlns:a16="http://schemas.microsoft.com/office/drawing/2014/main" id="{014C9754-9996-4805-B516-9B0A5E01F62D}"/>
              </a:ext>
            </a:extLst>
          </p:cNvPr>
          <p:cNvSpPr/>
          <p:nvPr userDrawn="1"/>
        </p:nvSpPr>
        <p:spPr>
          <a:xfrm flipH="1">
            <a:off x="6498985" y="3911458"/>
            <a:ext cx="2175208" cy="4347318"/>
          </a:xfrm>
          <a:prstGeom prst="arc">
            <a:avLst>
              <a:gd name="adj1" fmla="val 11429360"/>
              <a:gd name="adj2" fmla="val 17614459"/>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grpSp>
        <p:nvGrpSpPr>
          <p:cNvPr id="93" name="Group 92">
            <a:extLst>
              <a:ext uri="{FF2B5EF4-FFF2-40B4-BE49-F238E27FC236}">
                <a16:creationId xmlns:a16="http://schemas.microsoft.com/office/drawing/2014/main" id="{B8BEBBAD-A473-428F-8B30-48DFCD4577A3}"/>
              </a:ext>
            </a:extLst>
          </p:cNvPr>
          <p:cNvGrpSpPr/>
          <p:nvPr userDrawn="1"/>
        </p:nvGrpSpPr>
        <p:grpSpPr>
          <a:xfrm>
            <a:off x="6609823" y="4353505"/>
            <a:ext cx="399704" cy="399922"/>
            <a:chOff x="6609823" y="4353505"/>
            <a:chExt cx="399704" cy="399922"/>
          </a:xfrm>
          <a:solidFill>
            <a:schemeClr val="tx1"/>
          </a:solidFill>
        </p:grpSpPr>
        <p:sp>
          <p:nvSpPr>
            <p:cNvPr id="94" name="Oval 93">
              <a:extLst>
                <a:ext uri="{FF2B5EF4-FFF2-40B4-BE49-F238E27FC236}">
                  <a16:creationId xmlns:a16="http://schemas.microsoft.com/office/drawing/2014/main" id="{60139C06-0C5F-4296-94AE-C5E7941B16DD}"/>
                </a:ext>
              </a:extLst>
            </p:cNvPr>
            <p:cNvSpPr>
              <a:spLocks noChangeAspect="1"/>
            </p:cNvSpPr>
            <p:nvPr/>
          </p:nvSpPr>
          <p:spPr>
            <a:xfrm>
              <a:off x="6609823" y="4353505"/>
              <a:ext cx="399704" cy="399922"/>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95" name="Picture 94">
              <a:extLst>
                <a:ext uri="{FF2B5EF4-FFF2-40B4-BE49-F238E27FC236}">
                  <a16:creationId xmlns:a16="http://schemas.microsoft.com/office/drawing/2014/main" id="{C74F16E5-FF90-4B3E-9FED-47BBA3E1A246}"/>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702761" y="4446552"/>
              <a:ext cx="213829" cy="213829"/>
            </a:xfrm>
            <a:prstGeom prst="rect">
              <a:avLst/>
            </a:prstGeom>
            <a:grpFill/>
          </p:spPr>
        </p:pic>
      </p:grpSp>
      <p:grpSp>
        <p:nvGrpSpPr>
          <p:cNvPr id="96" name="Group 95">
            <a:extLst>
              <a:ext uri="{FF2B5EF4-FFF2-40B4-BE49-F238E27FC236}">
                <a16:creationId xmlns:a16="http://schemas.microsoft.com/office/drawing/2014/main" id="{63125BEB-C5B8-4DD5-B79C-5ECF069136B5}"/>
              </a:ext>
            </a:extLst>
          </p:cNvPr>
          <p:cNvGrpSpPr/>
          <p:nvPr userDrawn="1"/>
        </p:nvGrpSpPr>
        <p:grpSpPr>
          <a:xfrm>
            <a:off x="9530451" y="5423393"/>
            <a:ext cx="553868" cy="554174"/>
            <a:chOff x="9530451" y="5423393"/>
            <a:chExt cx="553868" cy="554174"/>
          </a:xfrm>
          <a:solidFill>
            <a:schemeClr val="tx1"/>
          </a:solidFill>
        </p:grpSpPr>
        <p:sp>
          <p:nvSpPr>
            <p:cNvPr id="97" name="Oval 96">
              <a:extLst>
                <a:ext uri="{FF2B5EF4-FFF2-40B4-BE49-F238E27FC236}">
                  <a16:creationId xmlns:a16="http://schemas.microsoft.com/office/drawing/2014/main" id="{6A353B80-0825-4429-ABD6-CC88EAB4B2CE}"/>
                </a:ext>
              </a:extLst>
            </p:cNvPr>
            <p:cNvSpPr>
              <a:spLocks noChangeAspect="1"/>
            </p:cNvSpPr>
            <p:nvPr/>
          </p:nvSpPr>
          <p:spPr>
            <a:xfrm>
              <a:off x="9530451" y="5423393"/>
              <a:ext cx="553868" cy="554174"/>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98" name="Picture 97">
              <a:extLst>
                <a:ext uri="{FF2B5EF4-FFF2-40B4-BE49-F238E27FC236}">
                  <a16:creationId xmlns:a16="http://schemas.microsoft.com/office/drawing/2014/main" id="{C4A64801-10D2-42FF-AA13-8C3A421AF7C8}"/>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9629344" y="5572125"/>
              <a:ext cx="356082" cy="256710"/>
            </a:xfrm>
            <a:prstGeom prst="rect">
              <a:avLst/>
            </a:prstGeom>
            <a:grpFill/>
          </p:spPr>
        </p:pic>
      </p:grpSp>
      <p:grpSp>
        <p:nvGrpSpPr>
          <p:cNvPr id="99" name="Group 98">
            <a:extLst>
              <a:ext uri="{FF2B5EF4-FFF2-40B4-BE49-F238E27FC236}">
                <a16:creationId xmlns:a16="http://schemas.microsoft.com/office/drawing/2014/main" id="{D04F9453-BDAF-4760-B141-872C3B580AE0}"/>
              </a:ext>
            </a:extLst>
          </p:cNvPr>
          <p:cNvGrpSpPr/>
          <p:nvPr userDrawn="1"/>
        </p:nvGrpSpPr>
        <p:grpSpPr>
          <a:xfrm>
            <a:off x="4603526" y="6153717"/>
            <a:ext cx="405566" cy="405788"/>
            <a:chOff x="4603526" y="6153717"/>
            <a:chExt cx="405566" cy="405788"/>
          </a:xfrm>
          <a:solidFill>
            <a:schemeClr val="tx1"/>
          </a:solidFill>
        </p:grpSpPr>
        <p:sp>
          <p:nvSpPr>
            <p:cNvPr id="100" name="Oval 99">
              <a:extLst>
                <a:ext uri="{FF2B5EF4-FFF2-40B4-BE49-F238E27FC236}">
                  <a16:creationId xmlns:a16="http://schemas.microsoft.com/office/drawing/2014/main" id="{F8326098-B09C-4161-8BB3-AF3637ABBCB3}"/>
                </a:ext>
              </a:extLst>
            </p:cNvPr>
            <p:cNvSpPr>
              <a:spLocks noChangeAspect="1"/>
            </p:cNvSpPr>
            <p:nvPr/>
          </p:nvSpPr>
          <p:spPr>
            <a:xfrm>
              <a:off x="4603526" y="6153717"/>
              <a:ext cx="405566" cy="405788"/>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101" name="Picture 100">
              <a:extLst>
                <a:ext uri="{FF2B5EF4-FFF2-40B4-BE49-F238E27FC236}">
                  <a16:creationId xmlns:a16="http://schemas.microsoft.com/office/drawing/2014/main" id="{D97B2AC1-25AD-4430-B29C-5C6AA3C3006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698144" y="6265087"/>
              <a:ext cx="216330" cy="183048"/>
            </a:xfrm>
            <a:prstGeom prst="rect">
              <a:avLst/>
            </a:prstGeom>
            <a:grpFill/>
          </p:spPr>
        </p:pic>
      </p:grpSp>
      <p:grpSp>
        <p:nvGrpSpPr>
          <p:cNvPr id="102" name="Group 101">
            <a:extLst>
              <a:ext uri="{FF2B5EF4-FFF2-40B4-BE49-F238E27FC236}">
                <a16:creationId xmlns:a16="http://schemas.microsoft.com/office/drawing/2014/main" id="{7A461DBF-A562-43CB-9A46-C294D1B32BA0}"/>
              </a:ext>
            </a:extLst>
          </p:cNvPr>
          <p:cNvGrpSpPr/>
          <p:nvPr userDrawn="1"/>
        </p:nvGrpSpPr>
        <p:grpSpPr>
          <a:xfrm>
            <a:off x="8870506" y="3926493"/>
            <a:ext cx="274320" cy="274469"/>
            <a:chOff x="8870506" y="3926493"/>
            <a:chExt cx="274320" cy="274469"/>
          </a:xfrm>
          <a:solidFill>
            <a:schemeClr val="tx1"/>
          </a:solidFill>
        </p:grpSpPr>
        <p:sp>
          <p:nvSpPr>
            <p:cNvPr id="103" name="Oval 102">
              <a:extLst>
                <a:ext uri="{FF2B5EF4-FFF2-40B4-BE49-F238E27FC236}">
                  <a16:creationId xmlns:a16="http://schemas.microsoft.com/office/drawing/2014/main" id="{7D1814C7-195E-49EE-B2DF-A2B1BA052CA4}"/>
                </a:ext>
              </a:extLst>
            </p:cNvPr>
            <p:cNvSpPr>
              <a:spLocks noChangeAspect="1"/>
            </p:cNvSpPr>
            <p:nvPr/>
          </p:nvSpPr>
          <p:spPr>
            <a:xfrm>
              <a:off x="8870506" y="3926493"/>
              <a:ext cx="274320" cy="274469"/>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104" name="Picture 103">
              <a:extLst>
                <a:ext uri="{FF2B5EF4-FFF2-40B4-BE49-F238E27FC236}">
                  <a16:creationId xmlns:a16="http://schemas.microsoft.com/office/drawing/2014/main" id="{A9B94E3D-FC46-477F-953F-28A6F71DE9D2}"/>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926688" y="4021548"/>
              <a:ext cx="161957" cy="122455"/>
            </a:xfrm>
            <a:prstGeom prst="rect">
              <a:avLst/>
            </a:prstGeom>
            <a:grpFill/>
          </p:spPr>
        </p:pic>
      </p:grpSp>
      <p:grpSp>
        <p:nvGrpSpPr>
          <p:cNvPr id="105" name="Group 104">
            <a:extLst>
              <a:ext uri="{FF2B5EF4-FFF2-40B4-BE49-F238E27FC236}">
                <a16:creationId xmlns:a16="http://schemas.microsoft.com/office/drawing/2014/main" id="{581A6791-957B-43F4-8A17-B16D30EFE853}"/>
              </a:ext>
            </a:extLst>
          </p:cNvPr>
          <p:cNvGrpSpPr/>
          <p:nvPr userDrawn="1"/>
        </p:nvGrpSpPr>
        <p:grpSpPr>
          <a:xfrm>
            <a:off x="1370473" y="5524356"/>
            <a:ext cx="419326" cy="419552"/>
            <a:chOff x="1370473" y="5524356"/>
            <a:chExt cx="419326" cy="419552"/>
          </a:xfrm>
          <a:solidFill>
            <a:schemeClr val="tx1"/>
          </a:solidFill>
        </p:grpSpPr>
        <p:sp>
          <p:nvSpPr>
            <p:cNvPr id="106" name="Oval 105">
              <a:extLst>
                <a:ext uri="{FF2B5EF4-FFF2-40B4-BE49-F238E27FC236}">
                  <a16:creationId xmlns:a16="http://schemas.microsoft.com/office/drawing/2014/main" id="{90ED94F2-0217-4456-B3D1-A374F0C81A7C}"/>
                </a:ext>
              </a:extLst>
            </p:cNvPr>
            <p:cNvSpPr>
              <a:spLocks noChangeAspect="1"/>
            </p:cNvSpPr>
            <p:nvPr/>
          </p:nvSpPr>
          <p:spPr>
            <a:xfrm>
              <a:off x="1370473" y="5524356"/>
              <a:ext cx="419326" cy="419552"/>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107" name="Picture 106">
              <a:extLst>
                <a:ext uri="{FF2B5EF4-FFF2-40B4-BE49-F238E27FC236}">
                  <a16:creationId xmlns:a16="http://schemas.microsoft.com/office/drawing/2014/main" id="{547C35C5-BE5F-4EAD-B674-A7D775CE092B}"/>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1454804" y="5608800"/>
              <a:ext cx="250664" cy="250664"/>
            </a:xfrm>
            <a:prstGeom prst="rect">
              <a:avLst/>
            </a:prstGeom>
            <a:grpFill/>
          </p:spPr>
        </p:pic>
      </p:grpSp>
      <p:grpSp>
        <p:nvGrpSpPr>
          <p:cNvPr id="108" name="Group 107">
            <a:extLst>
              <a:ext uri="{FF2B5EF4-FFF2-40B4-BE49-F238E27FC236}">
                <a16:creationId xmlns:a16="http://schemas.microsoft.com/office/drawing/2014/main" id="{A49F6C17-E6C9-4D92-9510-44A6C6FFE747}"/>
              </a:ext>
            </a:extLst>
          </p:cNvPr>
          <p:cNvGrpSpPr/>
          <p:nvPr userDrawn="1"/>
        </p:nvGrpSpPr>
        <p:grpSpPr>
          <a:xfrm>
            <a:off x="3551476" y="4959177"/>
            <a:ext cx="264874" cy="265018"/>
            <a:chOff x="3551476" y="4959177"/>
            <a:chExt cx="264874" cy="265018"/>
          </a:xfrm>
          <a:solidFill>
            <a:schemeClr val="tx1"/>
          </a:solidFill>
        </p:grpSpPr>
        <p:sp>
          <p:nvSpPr>
            <p:cNvPr id="109" name="Oval 108">
              <a:extLst>
                <a:ext uri="{FF2B5EF4-FFF2-40B4-BE49-F238E27FC236}">
                  <a16:creationId xmlns:a16="http://schemas.microsoft.com/office/drawing/2014/main" id="{2C258160-2D9A-4A91-8B51-97FF5DE29E46}"/>
                </a:ext>
              </a:extLst>
            </p:cNvPr>
            <p:cNvSpPr>
              <a:spLocks noChangeAspect="1"/>
            </p:cNvSpPr>
            <p:nvPr/>
          </p:nvSpPr>
          <p:spPr>
            <a:xfrm>
              <a:off x="3551476" y="4959177"/>
              <a:ext cx="264874" cy="265018"/>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110" name="Picture 109">
              <a:extLst>
                <a:ext uri="{FF2B5EF4-FFF2-40B4-BE49-F238E27FC236}">
                  <a16:creationId xmlns:a16="http://schemas.microsoft.com/office/drawing/2014/main" id="{71F3654B-BC3E-4316-B84B-ADC995F42CA9}"/>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3597749" y="5025621"/>
              <a:ext cx="177090" cy="197329"/>
            </a:xfrm>
            <a:prstGeom prst="rect">
              <a:avLst/>
            </a:prstGeom>
            <a:grpFill/>
          </p:spPr>
        </p:pic>
      </p:grpSp>
      <p:grpSp>
        <p:nvGrpSpPr>
          <p:cNvPr id="111" name="Group 110">
            <a:extLst>
              <a:ext uri="{FF2B5EF4-FFF2-40B4-BE49-F238E27FC236}">
                <a16:creationId xmlns:a16="http://schemas.microsoft.com/office/drawing/2014/main" id="{7567E9DE-A172-45DF-9B4A-7D63CDA7B8CC}"/>
              </a:ext>
            </a:extLst>
          </p:cNvPr>
          <p:cNvGrpSpPr/>
          <p:nvPr userDrawn="1"/>
        </p:nvGrpSpPr>
        <p:grpSpPr>
          <a:xfrm>
            <a:off x="8529638" y="5910657"/>
            <a:ext cx="286330" cy="286486"/>
            <a:chOff x="8529638" y="5910657"/>
            <a:chExt cx="286330" cy="286486"/>
          </a:xfrm>
          <a:solidFill>
            <a:schemeClr val="tx1"/>
          </a:solidFill>
        </p:grpSpPr>
        <p:sp>
          <p:nvSpPr>
            <p:cNvPr id="112" name="Oval 111">
              <a:extLst>
                <a:ext uri="{FF2B5EF4-FFF2-40B4-BE49-F238E27FC236}">
                  <a16:creationId xmlns:a16="http://schemas.microsoft.com/office/drawing/2014/main" id="{0F6940D5-2ED4-45AA-A288-FF194BD53CA1}"/>
                </a:ext>
              </a:extLst>
            </p:cNvPr>
            <p:cNvSpPr>
              <a:spLocks noChangeAspect="1"/>
            </p:cNvSpPr>
            <p:nvPr/>
          </p:nvSpPr>
          <p:spPr>
            <a:xfrm>
              <a:off x="8529638" y="5910657"/>
              <a:ext cx="286330" cy="286486"/>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113" name="Picture 112">
              <a:extLst>
                <a:ext uri="{FF2B5EF4-FFF2-40B4-BE49-F238E27FC236}">
                  <a16:creationId xmlns:a16="http://schemas.microsoft.com/office/drawing/2014/main" id="{43367025-2EC3-41EB-A726-C164146C1F12}"/>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8617757" y="5966233"/>
              <a:ext cx="110093" cy="175334"/>
            </a:xfrm>
            <a:prstGeom prst="rect">
              <a:avLst/>
            </a:prstGeom>
            <a:grpFill/>
          </p:spPr>
        </p:pic>
      </p:grpSp>
      <p:grpSp>
        <p:nvGrpSpPr>
          <p:cNvPr id="114" name="Group 113">
            <a:extLst>
              <a:ext uri="{FF2B5EF4-FFF2-40B4-BE49-F238E27FC236}">
                <a16:creationId xmlns:a16="http://schemas.microsoft.com/office/drawing/2014/main" id="{5E7252BD-3801-491C-9662-92D5D1FAFFE4}"/>
              </a:ext>
            </a:extLst>
          </p:cNvPr>
          <p:cNvGrpSpPr/>
          <p:nvPr userDrawn="1"/>
        </p:nvGrpSpPr>
        <p:grpSpPr>
          <a:xfrm>
            <a:off x="3025413" y="3951698"/>
            <a:ext cx="274172" cy="274320"/>
            <a:chOff x="3025413" y="3951698"/>
            <a:chExt cx="274172" cy="274320"/>
          </a:xfrm>
          <a:solidFill>
            <a:schemeClr val="tx1"/>
          </a:solidFill>
        </p:grpSpPr>
        <p:sp>
          <p:nvSpPr>
            <p:cNvPr id="115" name="Oval 114">
              <a:extLst>
                <a:ext uri="{FF2B5EF4-FFF2-40B4-BE49-F238E27FC236}">
                  <a16:creationId xmlns:a16="http://schemas.microsoft.com/office/drawing/2014/main" id="{F4CF392C-441E-489D-B4FB-E68685BAB3F7}"/>
                </a:ext>
              </a:extLst>
            </p:cNvPr>
            <p:cNvSpPr>
              <a:spLocks noChangeAspect="1"/>
            </p:cNvSpPr>
            <p:nvPr/>
          </p:nvSpPr>
          <p:spPr>
            <a:xfrm>
              <a:off x="3025413" y="3951698"/>
              <a:ext cx="274172" cy="274320"/>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116" name="Picture 115">
              <a:extLst>
                <a:ext uri="{FF2B5EF4-FFF2-40B4-BE49-F238E27FC236}">
                  <a16:creationId xmlns:a16="http://schemas.microsoft.com/office/drawing/2014/main" id="{88248721-9643-4926-B126-27C912D2F9BC}"/>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3087383" y="4039587"/>
              <a:ext cx="150232" cy="127120"/>
            </a:xfrm>
            <a:prstGeom prst="rect">
              <a:avLst/>
            </a:prstGeom>
            <a:grpFill/>
          </p:spPr>
        </p:pic>
      </p:grpSp>
      <p:sp>
        <p:nvSpPr>
          <p:cNvPr id="117" name="Freeform 5">
            <a:extLst>
              <a:ext uri="{FF2B5EF4-FFF2-40B4-BE49-F238E27FC236}">
                <a16:creationId xmlns:a16="http://schemas.microsoft.com/office/drawing/2014/main" id="{9B6A2DE1-85EE-430E-9DAC-04677D87947C}"/>
              </a:ext>
            </a:extLst>
          </p:cNvPr>
          <p:cNvSpPr>
            <a:spLocks noEditPoints="1"/>
          </p:cNvSpPr>
          <p:nvPr userDrawn="1"/>
        </p:nvSpPr>
        <p:spPr bwMode="auto">
          <a:xfrm>
            <a:off x="2175998" y="4093419"/>
            <a:ext cx="79267" cy="88040"/>
          </a:xfrm>
          <a:custGeom>
            <a:avLst/>
            <a:gdLst>
              <a:gd name="T0" fmla="*/ 70 w 104"/>
              <a:gd name="T1" fmla="*/ 67 h 116"/>
              <a:gd name="T2" fmla="*/ 88 w 104"/>
              <a:gd name="T3" fmla="*/ 36 h 116"/>
              <a:gd name="T4" fmla="*/ 52 w 104"/>
              <a:gd name="T5" fmla="*/ 0 h 116"/>
              <a:gd name="T6" fmla="*/ 16 w 104"/>
              <a:gd name="T7" fmla="*/ 36 h 116"/>
              <a:gd name="T8" fmla="*/ 34 w 104"/>
              <a:gd name="T9" fmla="*/ 67 h 116"/>
              <a:gd name="T10" fmla="*/ 0 w 104"/>
              <a:gd name="T11" fmla="*/ 116 h 116"/>
              <a:gd name="T12" fmla="*/ 8 w 104"/>
              <a:gd name="T13" fmla="*/ 116 h 116"/>
              <a:gd name="T14" fmla="*/ 52 w 104"/>
              <a:gd name="T15" fmla="*/ 72 h 116"/>
              <a:gd name="T16" fmla="*/ 96 w 104"/>
              <a:gd name="T17" fmla="*/ 116 h 116"/>
              <a:gd name="T18" fmla="*/ 104 w 104"/>
              <a:gd name="T19" fmla="*/ 116 h 116"/>
              <a:gd name="T20" fmla="*/ 70 w 104"/>
              <a:gd name="T21" fmla="*/ 67 h 116"/>
              <a:gd name="T22" fmla="*/ 24 w 104"/>
              <a:gd name="T23" fmla="*/ 36 h 116"/>
              <a:gd name="T24" fmla="*/ 52 w 104"/>
              <a:gd name="T25" fmla="*/ 8 h 116"/>
              <a:gd name="T26" fmla="*/ 80 w 104"/>
              <a:gd name="T27" fmla="*/ 36 h 116"/>
              <a:gd name="T28" fmla="*/ 52 w 104"/>
              <a:gd name="T29" fmla="*/ 64 h 116"/>
              <a:gd name="T30" fmla="*/ 24 w 104"/>
              <a:gd name="T31" fmla="*/ 3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4" h="116">
                <a:moveTo>
                  <a:pt x="70" y="67"/>
                </a:moveTo>
                <a:cubicBezTo>
                  <a:pt x="81" y="61"/>
                  <a:pt x="88" y="49"/>
                  <a:pt x="88" y="36"/>
                </a:cubicBezTo>
                <a:cubicBezTo>
                  <a:pt x="88" y="16"/>
                  <a:pt x="72" y="0"/>
                  <a:pt x="52" y="0"/>
                </a:cubicBezTo>
                <a:cubicBezTo>
                  <a:pt x="32" y="0"/>
                  <a:pt x="16" y="16"/>
                  <a:pt x="16" y="36"/>
                </a:cubicBezTo>
                <a:cubicBezTo>
                  <a:pt x="16" y="49"/>
                  <a:pt x="23" y="61"/>
                  <a:pt x="34" y="67"/>
                </a:cubicBezTo>
                <a:cubicBezTo>
                  <a:pt x="14" y="75"/>
                  <a:pt x="0" y="94"/>
                  <a:pt x="0" y="116"/>
                </a:cubicBezTo>
                <a:cubicBezTo>
                  <a:pt x="8" y="116"/>
                  <a:pt x="8" y="116"/>
                  <a:pt x="8" y="116"/>
                </a:cubicBezTo>
                <a:cubicBezTo>
                  <a:pt x="8" y="92"/>
                  <a:pt x="28" y="72"/>
                  <a:pt x="52" y="72"/>
                </a:cubicBezTo>
                <a:cubicBezTo>
                  <a:pt x="76" y="72"/>
                  <a:pt x="96" y="92"/>
                  <a:pt x="96" y="116"/>
                </a:cubicBezTo>
                <a:cubicBezTo>
                  <a:pt x="104" y="116"/>
                  <a:pt x="104" y="116"/>
                  <a:pt x="104" y="116"/>
                </a:cubicBezTo>
                <a:cubicBezTo>
                  <a:pt x="104" y="94"/>
                  <a:pt x="90" y="75"/>
                  <a:pt x="70" y="67"/>
                </a:cubicBezTo>
                <a:close/>
                <a:moveTo>
                  <a:pt x="24" y="36"/>
                </a:moveTo>
                <a:cubicBezTo>
                  <a:pt x="24" y="21"/>
                  <a:pt x="37" y="8"/>
                  <a:pt x="52" y="8"/>
                </a:cubicBezTo>
                <a:cubicBezTo>
                  <a:pt x="67" y="8"/>
                  <a:pt x="80" y="21"/>
                  <a:pt x="80" y="36"/>
                </a:cubicBezTo>
                <a:cubicBezTo>
                  <a:pt x="80" y="51"/>
                  <a:pt x="67" y="64"/>
                  <a:pt x="52" y="64"/>
                </a:cubicBezTo>
                <a:cubicBezTo>
                  <a:pt x="37" y="64"/>
                  <a:pt x="24" y="51"/>
                  <a:pt x="24" y="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Calibri"/>
              <a:ea typeface="+mn-ea"/>
              <a:cs typeface="+mn-cs"/>
            </a:endParaRPr>
          </a:p>
        </p:txBody>
      </p:sp>
      <p:sp>
        <p:nvSpPr>
          <p:cNvPr id="118" name="Arc 117">
            <a:extLst>
              <a:ext uri="{FF2B5EF4-FFF2-40B4-BE49-F238E27FC236}">
                <a16:creationId xmlns:a16="http://schemas.microsoft.com/office/drawing/2014/main" id="{2422EE41-CAE7-4AE5-BC35-5A0EB980DA9A}"/>
              </a:ext>
            </a:extLst>
          </p:cNvPr>
          <p:cNvSpPr/>
          <p:nvPr userDrawn="1"/>
        </p:nvSpPr>
        <p:spPr>
          <a:xfrm flipH="1">
            <a:off x="-258330" y="2222360"/>
            <a:ext cx="3452653" cy="4448383"/>
          </a:xfrm>
          <a:prstGeom prst="arc">
            <a:avLst>
              <a:gd name="adj1" fmla="val 11879355"/>
              <a:gd name="adj2" fmla="val 18276951"/>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 name="Rectangle 7"/>
          <p:cNvSpPr/>
          <p:nvPr userDrawn="1"/>
        </p:nvSpPr>
        <p:spPr bwMode="auto">
          <a:xfrm>
            <a:off x="0" y="-1"/>
            <a:ext cx="12192000" cy="1118249"/>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2" name="Forme libre 9"/>
          <p:cNvSpPr>
            <a:spLocks/>
          </p:cNvSpPr>
          <p:nvPr userDrawn="1"/>
        </p:nvSpPr>
        <p:spPr bwMode="auto">
          <a:xfrm>
            <a:off x="-22578" y="1118250"/>
            <a:ext cx="5735785" cy="575192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9287" h="10173">
                <a:moveTo>
                  <a:pt x="217" y="0"/>
                </a:moveTo>
                <a:cubicBezTo>
                  <a:pt x="313" y="8"/>
                  <a:pt x="454" y="18"/>
                  <a:pt x="562" y="27"/>
                </a:cubicBezTo>
                <a:cubicBezTo>
                  <a:pt x="670" y="36"/>
                  <a:pt x="745" y="40"/>
                  <a:pt x="863" y="53"/>
                </a:cubicBezTo>
                <a:cubicBezTo>
                  <a:pt x="981" y="66"/>
                  <a:pt x="1133" y="83"/>
                  <a:pt x="1273" y="103"/>
                </a:cubicBezTo>
                <a:lnTo>
                  <a:pt x="1703" y="173"/>
                </a:lnTo>
                <a:cubicBezTo>
                  <a:pt x="1820" y="194"/>
                  <a:pt x="1883" y="207"/>
                  <a:pt x="1978" y="227"/>
                </a:cubicBezTo>
                <a:cubicBezTo>
                  <a:pt x="2073" y="247"/>
                  <a:pt x="2152" y="262"/>
                  <a:pt x="2273" y="293"/>
                </a:cubicBezTo>
                <a:cubicBezTo>
                  <a:pt x="2394" y="324"/>
                  <a:pt x="2571" y="375"/>
                  <a:pt x="2703" y="413"/>
                </a:cubicBezTo>
                <a:cubicBezTo>
                  <a:pt x="2835" y="451"/>
                  <a:pt x="2917" y="473"/>
                  <a:pt x="3063" y="523"/>
                </a:cubicBezTo>
                <a:cubicBezTo>
                  <a:pt x="3209" y="573"/>
                  <a:pt x="3437" y="657"/>
                  <a:pt x="3581" y="712"/>
                </a:cubicBezTo>
                <a:cubicBezTo>
                  <a:pt x="3725" y="767"/>
                  <a:pt x="3802" y="799"/>
                  <a:pt x="3928" y="852"/>
                </a:cubicBezTo>
                <a:cubicBezTo>
                  <a:pt x="4054" y="905"/>
                  <a:pt x="4197" y="967"/>
                  <a:pt x="4337" y="1032"/>
                </a:cubicBezTo>
                <a:cubicBezTo>
                  <a:pt x="4477" y="1097"/>
                  <a:pt x="4614" y="1158"/>
                  <a:pt x="4766" y="1240"/>
                </a:cubicBezTo>
                <a:cubicBezTo>
                  <a:pt x="4918" y="1322"/>
                  <a:pt x="5094" y="1427"/>
                  <a:pt x="5250" y="1523"/>
                </a:cubicBezTo>
                <a:cubicBezTo>
                  <a:pt x="5406" y="1619"/>
                  <a:pt x="5584" y="1736"/>
                  <a:pt x="5703" y="1816"/>
                </a:cubicBezTo>
                <a:cubicBezTo>
                  <a:pt x="5822" y="1896"/>
                  <a:pt x="5899" y="1953"/>
                  <a:pt x="5965" y="2001"/>
                </a:cubicBezTo>
                <a:cubicBezTo>
                  <a:pt x="6031" y="2049"/>
                  <a:pt x="6010" y="2036"/>
                  <a:pt x="6097" y="2103"/>
                </a:cubicBezTo>
                <a:cubicBezTo>
                  <a:pt x="6184" y="2170"/>
                  <a:pt x="6353" y="2295"/>
                  <a:pt x="6490" y="2403"/>
                </a:cubicBezTo>
                <a:cubicBezTo>
                  <a:pt x="6627" y="2511"/>
                  <a:pt x="6769" y="2625"/>
                  <a:pt x="6921" y="2752"/>
                </a:cubicBezTo>
                <a:cubicBezTo>
                  <a:pt x="7073" y="2879"/>
                  <a:pt x="7264" y="3042"/>
                  <a:pt x="7401" y="3162"/>
                </a:cubicBezTo>
                <a:cubicBezTo>
                  <a:pt x="7537" y="3282"/>
                  <a:pt x="7608" y="3350"/>
                  <a:pt x="7738" y="3472"/>
                </a:cubicBezTo>
                <a:cubicBezTo>
                  <a:pt x="7867" y="3594"/>
                  <a:pt x="7997" y="3709"/>
                  <a:pt x="8177" y="3892"/>
                </a:cubicBezTo>
                <a:cubicBezTo>
                  <a:pt x="8357" y="4075"/>
                  <a:pt x="8667" y="4407"/>
                  <a:pt x="8821" y="4572"/>
                </a:cubicBezTo>
                <a:cubicBezTo>
                  <a:pt x="8975" y="4737"/>
                  <a:pt x="9023" y="4798"/>
                  <a:pt x="9100" y="4883"/>
                </a:cubicBezTo>
                <a:lnTo>
                  <a:pt x="9283" y="5083"/>
                </a:lnTo>
                <a:cubicBezTo>
                  <a:pt x="9287" y="5071"/>
                  <a:pt x="9200" y="5195"/>
                  <a:pt x="9143" y="5263"/>
                </a:cubicBezTo>
                <a:cubicBezTo>
                  <a:pt x="9086" y="5331"/>
                  <a:pt x="9008" y="5419"/>
                  <a:pt x="8943" y="5493"/>
                </a:cubicBezTo>
                <a:cubicBezTo>
                  <a:pt x="8878" y="5567"/>
                  <a:pt x="8824" y="5628"/>
                  <a:pt x="8752" y="5707"/>
                </a:cubicBezTo>
                <a:cubicBezTo>
                  <a:pt x="8680" y="5786"/>
                  <a:pt x="8603" y="5873"/>
                  <a:pt x="8512" y="5967"/>
                </a:cubicBezTo>
                <a:cubicBezTo>
                  <a:pt x="8421" y="6061"/>
                  <a:pt x="8283" y="6194"/>
                  <a:pt x="8206" y="6271"/>
                </a:cubicBezTo>
                <a:cubicBezTo>
                  <a:pt x="8129" y="6348"/>
                  <a:pt x="8115" y="6363"/>
                  <a:pt x="8050" y="6427"/>
                </a:cubicBezTo>
                <a:cubicBezTo>
                  <a:pt x="7985" y="6491"/>
                  <a:pt x="7887" y="6582"/>
                  <a:pt x="7813" y="6653"/>
                </a:cubicBezTo>
                <a:cubicBezTo>
                  <a:pt x="7739" y="6724"/>
                  <a:pt x="7678" y="6785"/>
                  <a:pt x="7605" y="6852"/>
                </a:cubicBezTo>
                <a:cubicBezTo>
                  <a:pt x="7532" y="6919"/>
                  <a:pt x="7467" y="6973"/>
                  <a:pt x="7373" y="7053"/>
                </a:cubicBezTo>
                <a:cubicBezTo>
                  <a:pt x="7279" y="7133"/>
                  <a:pt x="7156" y="7238"/>
                  <a:pt x="7043" y="7333"/>
                </a:cubicBezTo>
                <a:cubicBezTo>
                  <a:pt x="6930" y="7428"/>
                  <a:pt x="6810" y="7530"/>
                  <a:pt x="6693" y="7623"/>
                </a:cubicBezTo>
                <a:cubicBezTo>
                  <a:pt x="6576" y="7716"/>
                  <a:pt x="6458" y="7806"/>
                  <a:pt x="6343" y="7893"/>
                </a:cubicBezTo>
                <a:cubicBezTo>
                  <a:pt x="6228" y="7980"/>
                  <a:pt x="6134" y="8048"/>
                  <a:pt x="6000" y="8143"/>
                </a:cubicBezTo>
                <a:cubicBezTo>
                  <a:pt x="5866" y="8238"/>
                  <a:pt x="5683" y="8366"/>
                  <a:pt x="5540" y="8463"/>
                </a:cubicBezTo>
                <a:cubicBezTo>
                  <a:pt x="5397" y="8560"/>
                  <a:pt x="5262" y="8648"/>
                  <a:pt x="5140" y="8723"/>
                </a:cubicBezTo>
                <a:cubicBezTo>
                  <a:pt x="5018" y="8798"/>
                  <a:pt x="4926" y="8850"/>
                  <a:pt x="4810" y="8913"/>
                </a:cubicBezTo>
                <a:cubicBezTo>
                  <a:pt x="4694" y="8976"/>
                  <a:pt x="4568" y="9041"/>
                  <a:pt x="4443" y="9103"/>
                </a:cubicBezTo>
                <a:cubicBezTo>
                  <a:pt x="4318" y="9165"/>
                  <a:pt x="4187" y="9226"/>
                  <a:pt x="4057" y="9283"/>
                </a:cubicBezTo>
                <a:cubicBezTo>
                  <a:pt x="3927" y="9340"/>
                  <a:pt x="3819" y="9385"/>
                  <a:pt x="3663" y="9443"/>
                </a:cubicBezTo>
                <a:cubicBezTo>
                  <a:pt x="3507" y="9501"/>
                  <a:pt x="3322" y="9569"/>
                  <a:pt x="3123" y="9630"/>
                </a:cubicBezTo>
                <a:cubicBezTo>
                  <a:pt x="2924" y="9691"/>
                  <a:pt x="2634" y="9768"/>
                  <a:pt x="2467" y="9812"/>
                </a:cubicBezTo>
                <a:cubicBezTo>
                  <a:pt x="2300" y="9856"/>
                  <a:pt x="2295" y="9857"/>
                  <a:pt x="2119" y="9892"/>
                </a:cubicBezTo>
                <a:cubicBezTo>
                  <a:pt x="1943" y="9927"/>
                  <a:pt x="1610" y="9989"/>
                  <a:pt x="1414" y="10022"/>
                </a:cubicBezTo>
                <a:cubicBezTo>
                  <a:pt x="1218" y="10055"/>
                  <a:pt x="1100" y="10070"/>
                  <a:pt x="944" y="10092"/>
                </a:cubicBezTo>
                <a:cubicBezTo>
                  <a:pt x="788" y="10114"/>
                  <a:pt x="609" y="10139"/>
                  <a:pt x="480" y="10153"/>
                </a:cubicBezTo>
                <a:cubicBezTo>
                  <a:pt x="351" y="10167"/>
                  <a:pt x="247" y="10170"/>
                  <a:pt x="170" y="10173"/>
                </a:cubicBezTo>
                <a:lnTo>
                  <a:pt x="15" y="10172"/>
                </a:lnTo>
                <a:lnTo>
                  <a:pt x="7" y="9360"/>
                </a:lnTo>
                <a:cubicBezTo>
                  <a:pt x="6" y="9131"/>
                  <a:pt x="7" y="9193"/>
                  <a:pt x="7" y="8800"/>
                </a:cubicBezTo>
                <a:lnTo>
                  <a:pt x="7" y="7000"/>
                </a:lnTo>
                <a:lnTo>
                  <a:pt x="0" y="3"/>
                </a:lnTo>
                <a:lnTo>
                  <a:pt x="217" y="0"/>
                </a:lnTo>
                <a:close/>
              </a:path>
            </a:pathLst>
          </a:custGeom>
          <a:solidFill>
            <a:schemeClr val="accent1">
              <a:alpha val="60000"/>
            </a:schemeClr>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7" name="Espace réservé du texte 15"/>
          <p:cNvSpPr>
            <a:spLocks noGrp="1"/>
          </p:cNvSpPr>
          <p:nvPr>
            <p:ph type="body" sz="quarter" idx="13"/>
          </p:nvPr>
        </p:nvSpPr>
        <p:spPr>
          <a:xfrm>
            <a:off x="334505" y="4977705"/>
            <a:ext cx="5529439" cy="417512"/>
          </a:xfrm>
        </p:spPr>
        <p:txBody>
          <a:bodyPr>
            <a:noAutofit/>
          </a:bodyPr>
          <a:lstStyle>
            <a:lvl1pPr marL="0" indent="0" algn="l" defTabSz="609585" rtl="0" eaLnBrk="1" latinLnBrk="0" hangingPunct="1">
              <a:buNone/>
              <a:defRPr lang="fr-FR" sz="1867" b="0" i="0" kern="1200" dirty="0">
                <a:solidFill>
                  <a:schemeClr val="bg1"/>
                </a:solidFill>
                <a:latin typeface="Arial"/>
                <a:ea typeface="+mn-ea"/>
                <a:cs typeface="Arial"/>
              </a:defRPr>
            </a:lvl1pPr>
            <a:lvl3pPr marL="1219170" indent="0">
              <a:buNone/>
              <a:defRPr/>
            </a:lvl3pPr>
          </a:lstStyle>
          <a:p>
            <a:pPr lvl="0"/>
            <a:r>
              <a:rPr lang="nl-NL"/>
              <a:t>Klik om de modelstijlen te bewerken</a:t>
            </a:r>
          </a:p>
        </p:txBody>
      </p:sp>
      <p:sp>
        <p:nvSpPr>
          <p:cNvPr id="3" name="Sous-titre 2"/>
          <p:cNvSpPr>
            <a:spLocks noGrp="1"/>
          </p:cNvSpPr>
          <p:nvPr>
            <p:ph type="subTitle" idx="1"/>
          </p:nvPr>
        </p:nvSpPr>
        <p:spPr>
          <a:xfrm>
            <a:off x="345795" y="4360338"/>
            <a:ext cx="5518147" cy="541863"/>
          </a:xfrm>
        </p:spPr>
        <p:txBody>
          <a:bodyPr>
            <a:normAutofit/>
          </a:bodyPr>
          <a:lstStyle>
            <a:lvl1pPr marL="0" indent="0" algn="l">
              <a:buNone/>
              <a:defRPr sz="2667" baseline="0">
                <a:solidFill>
                  <a:schemeClr val="bg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a:p>
        </p:txBody>
      </p:sp>
      <p:sp>
        <p:nvSpPr>
          <p:cNvPr id="2" name="Titre 1"/>
          <p:cNvSpPr>
            <a:spLocks noGrp="1"/>
          </p:cNvSpPr>
          <p:nvPr>
            <p:ph type="ctrTitle"/>
          </p:nvPr>
        </p:nvSpPr>
        <p:spPr>
          <a:xfrm>
            <a:off x="342208" y="2564049"/>
            <a:ext cx="5521733" cy="1470025"/>
          </a:xfrm>
        </p:spPr>
        <p:txBody>
          <a:bodyPr>
            <a:noAutofit/>
          </a:bodyPr>
          <a:lstStyle>
            <a:lvl1pPr algn="l">
              <a:lnSpc>
                <a:spcPct val="90000"/>
              </a:lnSpc>
              <a:defRPr sz="3600" b="1" i="0" baseline="0">
                <a:solidFill>
                  <a:schemeClr val="bg1"/>
                </a:solidFill>
                <a:latin typeface="Arial"/>
                <a:cs typeface="Arial"/>
              </a:defRPr>
            </a:lvl1pPr>
          </a:lstStyle>
          <a:p>
            <a:r>
              <a:rPr lang="nl-NL"/>
              <a:t>Klik om de stijl te bewerken</a:t>
            </a:r>
            <a:endParaRPr lang="fr-FR"/>
          </a:p>
        </p:txBody>
      </p:sp>
      <p:pic>
        <p:nvPicPr>
          <p:cNvPr id="14" name="Image 13" descr="VE_RGB_C.png"/>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10030885" y="6160569"/>
            <a:ext cx="1715193" cy="442737"/>
          </a:xfrm>
          <a:prstGeom prst="rect">
            <a:avLst/>
          </a:prstGeom>
        </p:spPr>
      </p:pic>
      <p:pic>
        <p:nvPicPr>
          <p:cNvPr id="10" name="Image 9" descr="Log_AXIANS_CRVB.jpg"/>
          <p:cNvPicPr>
            <a:picLocks noChangeAspect="1"/>
          </p:cNvPicPr>
          <p:nvPr userDrawn="1"/>
        </p:nvPicPr>
        <p:blipFill>
          <a:blip r:embed="rId12">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Tree>
    <p:extLst>
      <p:ext uri="{BB962C8B-B14F-4D97-AF65-F5344CB8AC3E}">
        <p14:creationId xmlns:p14="http://schemas.microsoft.com/office/powerpoint/2010/main" val="36446686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249"/>
                                          </p:stCondLst>
                                        </p:cTn>
                                        <p:tgtEl>
                                          <p:spTgt spid="105"/>
                                        </p:tgtEl>
                                        <p:attrNameLst>
                                          <p:attrName>style.visibility</p:attrName>
                                        </p:attrNameLst>
                                      </p:cBhvr>
                                      <p:to>
                                        <p:strVal val="visible"/>
                                      </p:to>
                                    </p:set>
                                  </p:childTnLst>
                                </p:cTn>
                              </p:par>
                              <p:par>
                                <p:cTn id="7" presetID="6" presetClass="emph" presetSubtype="0" accel="100000" autoRev="1" fill="hold" nodeType="withEffect">
                                  <p:stCondLst>
                                    <p:cond delay="0"/>
                                  </p:stCondLst>
                                  <p:childTnLst>
                                    <p:animScale>
                                      <p:cBhvr>
                                        <p:cTn id="8" dur="250" fill="hold"/>
                                        <p:tgtEl>
                                          <p:spTgt spid="105"/>
                                        </p:tgtEl>
                                      </p:cBhvr>
                                      <p:by x="0" y="0"/>
                                    </p:animScale>
                                  </p:childTnLst>
                                </p:cTn>
                              </p:par>
                              <p:par>
                                <p:cTn id="9" presetID="1" presetClass="entr" presetSubtype="0" fill="hold" grpId="0" nodeType="withEffect">
                                  <p:stCondLst>
                                    <p:cond delay="0"/>
                                  </p:stCondLst>
                                  <p:childTnLst>
                                    <p:set>
                                      <p:cBhvr>
                                        <p:cTn id="10" dur="1" fill="hold">
                                          <p:stCondLst>
                                            <p:cond delay="249"/>
                                          </p:stCondLst>
                                        </p:cTn>
                                        <p:tgtEl>
                                          <p:spTgt spid="90"/>
                                        </p:tgtEl>
                                        <p:attrNameLst>
                                          <p:attrName>style.visibility</p:attrName>
                                        </p:attrNameLst>
                                      </p:cBhvr>
                                      <p:to>
                                        <p:strVal val="visible"/>
                                      </p:to>
                                    </p:set>
                                  </p:childTnLst>
                                </p:cTn>
                              </p:par>
                              <p:par>
                                <p:cTn id="11" presetID="6" presetClass="emph" presetSubtype="0" accel="100000" autoRev="1" fill="hold" grpId="1" nodeType="withEffect">
                                  <p:stCondLst>
                                    <p:cond delay="0"/>
                                  </p:stCondLst>
                                  <p:childTnLst>
                                    <p:animScale>
                                      <p:cBhvr>
                                        <p:cTn id="12" dur="250" fill="hold"/>
                                        <p:tgtEl>
                                          <p:spTgt spid="90"/>
                                        </p:tgtEl>
                                      </p:cBhvr>
                                      <p:by x="0" y="0"/>
                                    </p:animScale>
                                  </p:childTnLst>
                                </p:cTn>
                              </p:par>
                              <p:par>
                                <p:cTn id="13" presetID="1" presetClass="entr" presetSubtype="0" fill="hold" grpId="0" nodeType="withEffect">
                                  <p:stCondLst>
                                    <p:cond delay="0"/>
                                  </p:stCondLst>
                                  <p:childTnLst>
                                    <p:set>
                                      <p:cBhvr>
                                        <p:cTn id="14" dur="1" fill="hold">
                                          <p:stCondLst>
                                            <p:cond delay="249"/>
                                          </p:stCondLst>
                                        </p:cTn>
                                        <p:tgtEl>
                                          <p:spTgt spid="117"/>
                                        </p:tgtEl>
                                        <p:attrNameLst>
                                          <p:attrName>style.visibility</p:attrName>
                                        </p:attrNameLst>
                                      </p:cBhvr>
                                      <p:to>
                                        <p:strVal val="visible"/>
                                      </p:to>
                                    </p:set>
                                  </p:childTnLst>
                                </p:cTn>
                              </p:par>
                              <p:par>
                                <p:cTn id="15" presetID="6" presetClass="emph" presetSubtype="0" accel="100000" autoRev="1" fill="hold" grpId="1" nodeType="withEffect">
                                  <p:stCondLst>
                                    <p:cond delay="0"/>
                                  </p:stCondLst>
                                  <p:childTnLst>
                                    <p:animScale>
                                      <p:cBhvr>
                                        <p:cTn id="16" dur="250" fill="hold"/>
                                        <p:tgtEl>
                                          <p:spTgt spid="117"/>
                                        </p:tgtEl>
                                      </p:cBhvr>
                                      <p:by x="0" y="0"/>
                                    </p:animScale>
                                  </p:childTnLst>
                                </p:cTn>
                              </p:par>
                              <p:par>
                                <p:cTn id="17" presetID="1" presetClass="entr" presetSubtype="0" fill="hold" nodeType="withEffect">
                                  <p:stCondLst>
                                    <p:cond delay="200"/>
                                  </p:stCondLst>
                                  <p:childTnLst>
                                    <p:set>
                                      <p:cBhvr>
                                        <p:cTn id="18" dur="1" fill="hold">
                                          <p:stCondLst>
                                            <p:cond delay="249"/>
                                          </p:stCondLst>
                                        </p:cTn>
                                        <p:tgtEl>
                                          <p:spTgt spid="114"/>
                                        </p:tgtEl>
                                        <p:attrNameLst>
                                          <p:attrName>style.visibility</p:attrName>
                                        </p:attrNameLst>
                                      </p:cBhvr>
                                      <p:to>
                                        <p:strVal val="visible"/>
                                      </p:to>
                                    </p:set>
                                  </p:childTnLst>
                                </p:cTn>
                              </p:par>
                              <p:par>
                                <p:cTn id="19" presetID="6" presetClass="emph" presetSubtype="0" accel="100000" autoRev="1" fill="hold" nodeType="withEffect">
                                  <p:stCondLst>
                                    <p:cond delay="200"/>
                                  </p:stCondLst>
                                  <p:childTnLst>
                                    <p:animScale>
                                      <p:cBhvr>
                                        <p:cTn id="20" dur="250" fill="hold"/>
                                        <p:tgtEl>
                                          <p:spTgt spid="114"/>
                                        </p:tgtEl>
                                      </p:cBhvr>
                                      <p:by x="0" y="0"/>
                                    </p:animScale>
                                  </p:childTnLst>
                                </p:cTn>
                              </p:par>
                              <p:par>
                                <p:cTn id="21" presetID="1" presetClass="entr" presetSubtype="0" fill="hold" nodeType="withEffect">
                                  <p:stCondLst>
                                    <p:cond delay="300"/>
                                  </p:stCondLst>
                                  <p:childTnLst>
                                    <p:set>
                                      <p:cBhvr>
                                        <p:cTn id="22" dur="1" fill="hold">
                                          <p:stCondLst>
                                            <p:cond delay="249"/>
                                          </p:stCondLst>
                                        </p:cTn>
                                        <p:tgtEl>
                                          <p:spTgt spid="108"/>
                                        </p:tgtEl>
                                        <p:attrNameLst>
                                          <p:attrName>style.visibility</p:attrName>
                                        </p:attrNameLst>
                                      </p:cBhvr>
                                      <p:to>
                                        <p:strVal val="visible"/>
                                      </p:to>
                                    </p:set>
                                  </p:childTnLst>
                                </p:cTn>
                              </p:par>
                              <p:par>
                                <p:cTn id="23" presetID="6" presetClass="emph" presetSubtype="0" accel="100000" autoRev="1" fill="hold" nodeType="withEffect">
                                  <p:stCondLst>
                                    <p:cond delay="300"/>
                                  </p:stCondLst>
                                  <p:childTnLst>
                                    <p:animScale>
                                      <p:cBhvr>
                                        <p:cTn id="24" dur="250" fill="hold"/>
                                        <p:tgtEl>
                                          <p:spTgt spid="108"/>
                                        </p:tgtEl>
                                      </p:cBhvr>
                                      <p:by x="0" y="0"/>
                                    </p:animScale>
                                  </p:childTnLst>
                                </p:cTn>
                              </p:par>
                              <p:par>
                                <p:cTn id="25" presetID="1" presetClass="entr" presetSubtype="0" fill="hold" nodeType="withEffect">
                                  <p:stCondLst>
                                    <p:cond delay="400"/>
                                  </p:stCondLst>
                                  <p:childTnLst>
                                    <p:set>
                                      <p:cBhvr>
                                        <p:cTn id="26" dur="1" fill="hold">
                                          <p:stCondLst>
                                            <p:cond delay="249"/>
                                          </p:stCondLst>
                                        </p:cTn>
                                        <p:tgtEl>
                                          <p:spTgt spid="99"/>
                                        </p:tgtEl>
                                        <p:attrNameLst>
                                          <p:attrName>style.visibility</p:attrName>
                                        </p:attrNameLst>
                                      </p:cBhvr>
                                      <p:to>
                                        <p:strVal val="visible"/>
                                      </p:to>
                                    </p:set>
                                  </p:childTnLst>
                                </p:cTn>
                              </p:par>
                              <p:par>
                                <p:cTn id="27" presetID="6" presetClass="emph" presetSubtype="0" accel="100000" autoRev="1" fill="hold" nodeType="withEffect">
                                  <p:stCondLst>
                                    <p:cond delay="400"/>
                                  </p:stCondLst>
                                  <p:childTnLst>
                                    <p:animScale>
                                      <p:cBhvr>
                                        <p:cTn id="28" dur="250" fill="hold"/>
                                        <p:tgtEl>
                                          <p:spTgt spid="99"/>
                                        </p:tgtEl>
                                      </p:cBhvr>
                                      <p:by x="0" y="0"/>
                                    </p:animScale>
                                  </p:childTnLst>
                                </p:cTn>
                              </p:par>
                              <p:par>
                                <p:cTn id="29" presetID="1" presetClass="entr" presetSubtype="0" fill="hold" grpId="0" nodeType="withEffect">
                                  <p:stCondLst>
                                    <p:cond delay="500"/>
                                  </p:stCondLst>
                                  <p:childTnLst>
                                    <p:set>
                                      <p:cBhvr>
                                        <p:cTn id="30" dur="1" fill="hold">
                                          <p:stCondLst>
                                            <p:cond delay="249"/>
                                          </p:stCondLst>
                                        </p:cTn>
                                        <p:tgtEl>
                                          <p:spTgt spid="85"/>
                                        </p:tgtEl>
                                        <p:attrNameLst>
                                          <p:attrName>style.visibility</p:attrName>
                                        </p:attrNameLst>
                                      </p:cBhvr>
                                      <p:to>
                                        <p:strVal val="visible"/>
                                      </p:to>
                                    </p:set>
                                  </p:childTnLst>
                                </p:cTn>
                              </p:par>
                              <p:par>
                                <p:cTn id="31" presetID="6" presetClass="emph" presetSubtype="0" accel="100000" autoRev="1" fill="hold" grpId="1" nodeType="withEffect">
                                  <p:stCondLst>
                                    <p:cond delay="500"/>
                                  </p:stCondLst>
                                  <p:childTnLst>
                                    <p:animScale>
                                      <p:cBhvr>
                                        <p:cTn id="32" dur="250" fill="hold"/>
                                        <p:tgtEl>
                                          <p:spTgt spid="85"/>
                                        </p:tgtEl>
                                      </p:cBhvr>
                                      <p:by x="0" y="0"/>
                                    </p:animScale>
                                  </p:childTnLst>
                                </p:cTn>
                              </p:par>
                              <p:par>
                                <p:cTn id="33" presetID="1" presetClass="entr" presetSubtype="0" fill="hold" grpId="0" nodeType="withEffect">
                                  <p:stCondLst>
                                    <p:cond delay="600"/>
                                  </p:stCondLst>
                                  <p:childTnLst>
                                    <p:set>
                                      <p:cBhvr>
                                        <p:cTn id="34" dur="1" fill="hold">
                                          <p:stCondLst>
                                            <p:cond delay="249"/>
                                          </p:stCondLst>
                                        </p:cTn>
                                        <p:tgtEl>
                                          <p:spTgt spid="87"/>
                                        </p:tgtEl>
                                        <p:attrNameLst>
                                          <p:attrName>style.visibility</p:attrName>
                                        </p:attrNameLst>
                                      </p:cBhvr>
                                      <p:to>
                                        <p:strVal val="visible"/>
                                      </p:to>
                                    </p:set>
                                  </p:childTnLst>
                                </p:cTn>
                              </p:par>
                              <p:par>
                                <p:cTn id="35" presetID="6" presetClass="emph" presetSubtype="0" accel="100000" autoRev="1" fill="hold" grpId="1" nodeType="withEffect">
                                  <p:stCondLst>
                                    <p:cond delay="600"/>
                                  </p:stCondLst>
                                  <p:childTnLst>
                                    <p:animScale>
                                      <p:cBhvr>
                                        <p:cTn id="36" dur="250" fill="hold"/>
                                        <p:tgtEl>
                                          <p:spTgt spid="87"/>
                                        </p:tgtEl>
                                      </p:cBhvr>
                                      <p:by x="0" y="0"/>
                                    </p:animScale>
                                  </p:childTnLst>
                                </p:cTn>
                              </p:par>
                              <p:par>
                                <p:cTn id="37" presetID="1" presetClass="entr" presetSubtype="0" fill="hold" nodeType="withEffect">
                                  <p:stCondLst>
                                    <p:cond delay="700"/>
                                  </p:stCondLst>
                                  <p:childTnLst>
                                    <p:set>
                                      <p:cBhvr>
                                        <p:cTn id="38" dur="1" fill="hold">
                                          <p:stCondLst>
                                            <p:cond delay="249"/>
                                          </p:stCondLst>
                                        </p:cTn>
                                        <p:tgtEl>
                                          <p:spTgt spid="93"/>
                                        </p:tgtEl>
                                        <p:attrNameLst>
                                          <p:attrName>style.visibility</p:attrName>
                                        </p:attrNameLst>
                                      </p:cBhvr>
                                      <p:to>
                                        <p:strVal val="visible"/>
                                      </p:to>
                                    </p:set>
                                  </p:childTnLst>
                                </p:cTn>
                              </p:par>
                              <p:par>
                                <p:cTn id="39" presetID="6" presetClass="emph" presetSubtype="0" accel="100000" autoRev="1" fill="hold" nodeType="withEffect">
                                  <p:stCondLst>
                                    <p:cond delay="700"/>
                                  </p:stCondLst>
                                  <p:childTnLst>
                                    <p:animScale>
                                      <p:cBhvr>
                                        <p:cTn id="40" dur="250" fill="hold"/>
                                        <p:tgtEl>
                                          <p:spTgt spid="93"/>
                                        </p:tgtEl>
                                      </p:cBhvr>
                                      <p:by x="0" y="0"/>
                                    </p:animScale>
                                  </p:childTnLst>
                                </p:cTn>
                              </p:par>
                              <p:par>
                                <p:cTn id="41" presetID="1" presetClass="entr" presetSubtype="0" fill="hold" grpId="0" nodeType="withEffect">
                                  <p:stCondLst>
                                    <p:cond delay="800"/>
                                  </p:stCondLst>
                                  <p:childTnLst>
                                    <p:set>
                                      <p:cBhvr>
                                        <p:cTn id="42" dur="1" fill="hold">
                                          <p:stCondLst>
                                            <p:cond delay="249"/>
                                          </p:stCondLst>
                                        </p:cTn>
                                        <p:tgtEl>
                                          <p:spTgt spid="86"/>
                                        </p:tgtEl>
                                        <p:attrNameLst>
                                          <p:attrName>style.visibility</p:attrName>
                                        </p:attrNameLst>
                                      </p:cBhvr>
                                      <p:to>
                                        <p:strVal val="visible"/>
                                      </p:to>
                                    </p:set>
                                  </p:childTnLst>
                                </p:cTn>
                              </p:par>
                              <p:par>
                                <p:cTn id="43" presetID="6" presetClass="emph" presetSubtype="0" accel="100000" autoRev="1" fill="hold" grpId="1" nodeType="withEffect">
                                  <p:stCondLst>
                                    <p:cond delay="800"/>
                                  </p:stCondLst>
                                  <p:childTnLst>
                                    <p:animScale>
                                      <p:cBhvr>
                                        <p:cTn id="44" dur="250" fill="hold"/>
                                        <p:tgtEl>
                                          <p:spTgt spid="86"/>
                                        </p:tgtEl>
                                      </p:cBhvr>
                                      <p:by x="0" y="0"/>
                                    </p:animScale>
                                  </p:childTnLst>
                                </p:cTn>
                              </p:par>
                              <p:par>
                                <p:cTn id="45" presetID="1" presetClass="entr" presetSubtype="0" fill="hold" nodeType="withEffect">
                                  <p:stCondLst>
                                    <p:cond delay="900"/>
                                  </p:stCondLst>
                                  <p:childTnLst>
                                    <p:set>
                                      <p:cBhvr>
                                        <p:cTn id="46" dur="1" fill="hold">
                                          <p:stCondLst>
                                            <p:cond delay="249"/>
                                          </p:stCondLst>
                                        </p:cTn>
                                        <p:tgtEl>
                                          <p:spTgt spid="111"/>
                                        </p:tgtEl>
                                        <p:attrNameLst>
                                          <p:attrName>style.visibility</p:attrName>
                                        </p:attrNameLst>
                                      </p:cBhvr>
                                      <p:to>
                                        <p:strVal val="visible"/>
                                      </p:to>
                                    </p:set>
                                  </p:childTnLst>
                                </p:cTn>
                              </p:par>
                              <p:par>
                                <p:cTn id="47" presetID="6" presetClass="emph" presetSubtype="0" accel="100000" autoRev="1" fill="hold" nodeType="withEffect">
                                  <p:stCondLst>
                                    <p:cond delay="900"/>
                                  </p:stCondLst>
                                  <p:childTnLst>
                                    <p:animScale>
                                      <p:cBhvr>
                                        <p:cTn id="48" dur="250" fill="hold"/>
                                        <p:tgtEl>
                                          <p:spTgt spid="111"/>
                                        </p:tgtEl>
                                      </p:cBhvr>
                                      <p:by x="0" y="0"/>
                                    </p:animScale>
                                  </p:childTnLst>
                                </p:cTn>
                              </p:par>
                              <p:par>
                                <p:cTn id="49" presetID="1" presetClass="entr" presetSubtype="0" fill="hold" grpId="0" nodeType="withEffect">
                                  <p:stCondLst>
                                    <p:cond delay="1000"/>
                                  </p:stCondLst>
                                  <p:childTnLst>
                                    <p:set>
                                      <p:cBhvr>
                                        <p:cTn id="50" dur="1" fill="hold">
                                          <p:stCondLst>
                                            <p:cond delay="249"/>
                                          </p:stCondLst>
                                        </p:cTn>
                                        <p:tgtEl>
                                          <p:spTgt spid="91"/>
                                        </p:tgtEl>
                                        <p:attrNameLst>
                                          <p:attrName>style.visibility</p:attrName>
                                        </p:attrNameLst>
                                      </p:cBhvr>
                                      <p:to>
                                        <p:strVal val="visible"/>
                                      </p:to>
                                    </p:set>
                                  </p:childTnLst>
                                </p:cTn>
                              </p:par>
                              <p:par>
                                <p:cTn id="51" presetID="6" presetClass="emph" presetSubtype="0" accel="100000" autoRev="1" fill="hold" grpId="1" nodeType="withEffect">
                                  <p:stCondLst>
                                    <p:cond delay="1000"/>
                                  </p:stCondLst>
                                  <p:childTnLst>
                                    <p:animScale>
                                      <p:cBhvr>
                                        <p:cTn id="52" dur="250" fill="hold"/>
                                        <p:tgtEl>
                                          <p:spTgt spid="91"/>
                                        </p:tgtEl>
                                      </p:cBhvr>
                                      <p:by x="0" y="0"/>
                                    </p:animScale>
                                  </p:childTnLst>
                                </p:cTn>
                              </p:par>
                              <p:par>
                                <p:cTn id="53" presetID="1" presetClass="entr" presetSubtype="0" fill="hold" nodeType="withEffect">
                                  <p:stCondLst>
                                    <p:cond delay="1100"/>
                                  </p:stCondLst>
                                  <p:childTnLst>
                                    <p:set>
                                      <p:cBhvr>
                                        <p:cTn id="54" dur="1" fill="hold">
                                          <p:stCondLst>
                                            <p:cond delay="249"/>
                                          </p:stCondLst>
                                        </p:cTn>
                                        <p:tgtEl>
                                          <p:spTgt spid="102"/>
                                        </p:tgtEl>
                                        <p:attrNameLst>
                                          <p:attrName>style.visibility</p:attrName>
                                        </p:attrNameLst>
                                      </p:cBhvr>
                                      <p:to>
                                        <p:strVal val="visible"/>
                                      </p:to>
                                    </p:set>
                                  </p:childTnLst>
                                </p:cTn>
                              </p:par>
                              <p:par>
                                <p:cTn id="55" presetID="6" presetClass="emph" presetSubtype="0" accel="100000" autoRev="1" fill="hold" nodeType="withEffect">
                                  <p:stCondLst>
                                    <p:cond delay="1100"/>
                                  </p:stCondLst>
                                  <p:childTnLst>
                                    <p:animScale>
                                      <p:cBhvr>
                                        <p:cTn id="56" dur="250" fill="hold"/>
                                        <p:tgtEl>
                                          <p:spTgt spid="102"/>
                                        </p:tgtEl>
                                      </p:cBhvr>
                                      <p:by x="0" y="0"/>
                                    </p:animScale>
                                  </p:childTnLst>
                                </p:cTn>
                              </p:par>
                              <p:par>
                                <p:cTn id="57" presetID="1" presetClass="entr" presetSubtype="0" fill="hold" nodeType="withEffect">
                                  <p:stCondLst>
                                    <p:cond delay="1200"/>
                                  </p:stCondLst>
                                  <p:childTnLst>
                                    <p:set>
                                      <p:cBhvr>
                                        <p:cTn id="58" dur="1" fill="hold">
                                          <p:stCondLst>
                                            <p:cond delay="249"/>
                                          </p:stCondLst>
                                        </p:cTn>
                                        <p:tgtEl>
                                          <p:spTgt spid="96"/>
                                        </p:tgtEl>
                                        <p:attrNameLst>
                                          <p:attrName>style.visibility</p:attrName>
                                        </p:attrNameLst>
                                      </p:cBhvr>
                                      <p:to>
                                        <p:strVal val="visible"/>
                                      </p:to>
                                    </p:set>
                                  </p:childTnLst>
                                </p:cTn>
                              </p:par>
                              <p:par>
                                <p:cTn id="59" presetID="6" presetClass="emph" presetSubtype="0" accel="100000" autoRev="1" fill="hold" nodeType="withEffect">
                                  <p:stCondLst>
                                    <p:cond delay="1200"/>
                                  </p:stCondLst>
                                  <p:childTnLst>
                                    <p:animScale>
                                      <p:cBhvr>
                                        <p:cTn id="60" dur="250" fill="hold"/>
                                        <p:tgtEl>
                                          <p:spTgt spid="96"/>
                                        </p:tgtEl>
                                      </p:cBhvr>
                                      <p:by x="0" y="0"/>
                                    </p:animScale>
                                  </p:childTnLst>
                                </p:cTn>
                              </p:par>
                              <p:par>
                                <p:cTn id="61" presetID="1" presetClass="entr" presetSubtype="0" fill="hold" grpId="0" nodeType="withEffect">
                                  <p:stCondLst>
                                    <p:cond delay="1300"/>
                                  </p:stCondLst>
                                  <p:childTnLst>
                                    <p:set>
                                      <p:cBhvr>
                                        <p:cTn id="62" dur="1" fill="hold">
                                          <p:stCondLst>
                                            <p:cond delay="249"/>
                                          </p:stCondLst>
                                        </p:cTn>
                                        <p:tgtEl>
                                          <p:spTgt spid="89"/>
                                        </p:tgtEl>
                                        <p:attrNameLst>
                                          <p:attrName>style.visibility</p:attrName>
                                        </p:attrNameLst>
                                      </p:cBhvr>
                                      <p:to>
                                        <p:strVal val="visible"/>
                                      </p:to>
                                    </p:set>
                                  </p:childTnLst>
                                </p:cTn>
                              </p:par>
                              <p:par>
                                <p:cTn id="63" presetID="6" presetClass="emph" presetSubtype="0" accel="100000" autoRev="1" fill="hold" grpId="1" nodeType="withEffect">
                                  <p:stCondLst>
                                    <p:cond delay="1300"/>
                                  </p:stCondLst>
                                  <p:childTnLst>
                                    <p:animScale>
                                      <p:cBhvr>
                                        <p:cTn id="64" dur="250" fill="hold"/>
                                        <p:tgtEl>
                                          <p:spTgt spid="89"/>
                                        </p:tgtEl>
                                      </p:cBhvr>
                                      <p:by x="0" y="0"/>
                                    </p:animScale>
                                  </p:childTnLst>
                                </p:cTn>
                              </p:par>
                              <p:par>
                                <p:cTn id="65" presetID="1" presetClass="entr" presetSubtype="0" fill="hold" grpId="0" nodeType="withEffect">
                                  <p:stCondLst>
                                    <p:cond delay="1400"/>
                                  </p:stCondLst>
                                  <p:childTnLst>
                                    <p:set>
                                      <p:cBhvr>
                                        <p:cTn id="66" dur="1" fill="hold">
                                          <p:stCondLst>
                                            <p:cond delay="249"/>
                                          </p:stCondLst>
                                        </p:cTn>
                                        <p:tgtEl>
                                          <p:spTgt spid="88"/>
                                        </p:tgtEl>
                                        <p:attrNameLst>
                                          <p:attrName>style.visibility</p:attrName>
                                        </p:attrNameLst>
                                      </p:cBhvr>
                                      <p:to>
                                        <p:strVal val="visible"/>
                                      </p:to>
                                    </p:set>
                                  </p:childTnLst>
                                </p:cTn>
                              </p:par>
                              <p:par>
                                <p:cTn id="67" presetID="6" presetClass="emph" presetSubtype="0" accel="100000" autoRev="1" fill="hold" grpId="1" nodeType="withEffect">
                                  <p:stCondLst>
                                    <p:cond delay="1400"/>
                                  </p:stCondLst>
                                  <p:childTnLst>
                                    <p:animScale>
                                      <p:cBhvr>
                                        <p:cTn id="68" dur="250" fill="hold"/>
                                        <p:tgtEl>
                                          <p:spTgt spid="88"/>
                                        </p:tgtEl>
                                      </p:cBhvr>
                                      <p:by x="0" y="0"/>
                                    </p:animScale>
                                  </p:childTnLst>
                                </p:cTn>
                              </p:par>
                            </p:childTnLst>
                          </p:cTn>
                        </p:par>
                        <p:par>
                          <p:cTn id="69" fill="hold">
                            <p:stCondLst>
                              <p:cond delay="1900"/>
                            </p:stCondLst>
                            <p:childTnLst>
                              <p:par>
                                <p:cTn id="70" presetID="22" presetClass="entr" presetSubtype="8" fill="hold" grpId="0" nodeType="afterEffect">
                                  <p:stCondLst>
                                    <p:cond delay="0"/>
                                  </p:stCondLst>
                                  <p:childTnLst>
                                    <p:set>
                                      <p:cBhvr>
                                        <p:cTn id="71" dur="1" fill="hold">
                                          <p:stCondLst>
                                            <p:cond delay="0"/>
                                          </p:stCondLst>
                                        </p:cTn>
                                        <p:tgtEl>
                                          <p:spTgt spid="73"/>
                                        </p:tgtEl>
                                        <p:attrNameLst>
                                          <p:attrName>style.visibility</p:attrName>
                                        </p:attrNameLst>
                                      </p:cBhvr>
                                      <p:to>
                                        <p:strVal val="visible"/>
                                      </p:to>
                                    </p:set>
                                    <p:animEffect transition="in" filter="wipe(left)">
                                      <p:cBhvr>
                                        <p:cTn id="72" dur="1400"/>
                                        <p:tgtEl>
                                          <p:spTgt spid="73"/>
                                        </p:tgtEl>
                                      </p:cBhvr>
                                    </p:animEffect>
                                  </p:childTnLst>
                                </p:cTn>
                              </p:par>
                              <p:par>
                                <p:cTn id="73" presetID="22" presetClass="entr" presetSubtype="8" fill="hold" grpId="0" nodeType="withEffect">
                                  <p:stCondLst>
                                    <p:cond delay="750"/>
                                  </p:stCondLst>
                                  <p:childTnLst>
                                    <p:set>
                                      <p:cBhvr>
                                        <p:cTn id="74" dur="1" fill="hold">
                                          <p:stCondLst>
                                            <p:cond delay="0"/>
                                          </p:stCondLst>
                                        </p:cTn>
                                        <p:tgtEl>
                                          <p:spTgt spid="66"/>
                                        </p:tgtEl>
                                        <p:attrNameLst>
                                          <p:attrName>style.visibility</p:attrName>
                                        </p:attrNameLst>
                                      </p:cBhvr>
                                      <p:to>
                                        <p:strVal val="visible"/>
                                      </p:to>
                                    </p:set>
                                    <p:animEffect transition="in" filter="wipe(left)">
                                      <p:cBhvr>
                                        <p:cTn id="75" dur="1400"/>
                                        <p:tgtEl>
                                          <p:spTgt spid="66"/>
                                        </p:tgtEl>
                                      </p:cBhvr>
                                    </p:animEffect>
                                  </p:childTnLst>
                                </p:cTn>
                              </p:par>
                              <p:par>
                                <p:cTn id="76" presetID="22" presetClass="entr" presetSubtype="2" fill="hold" grpId="0" nodeType="withEffect">
                                  <p:stCondLst>
                                    <p:cond delay="1500"/>
                                  </p:stCondLst>
                                  <p:childTnLst>
                                    <p:set>
                                      <p:cBhvr>
                                        <p:cTn id="77" dur="1" fill="hold">
                                          <p:stCondLst>
                                            <p:cond delay="0"/>
                                          </p:stCondLst>
                                        </p:cTn>
                                        <p:tgtEl>
                                          <p:spTgt spid="67"/>
                                        </p:tgtEl>
                                        <p:attrNameLst>
                                          <p:attrName>style.visibility</p:attrName>
                                        </p:attrNameLst>
                                      </p:cBhvr>
                                      <p:to>
                                        <p:strVal val="visible"/>
                                      </p:to>
                                    </p:set>
                                    <p:animEffect transition="in" filter="wipe(right)">
                                      <p:cBhvr>
                                        <p:cTn id="78" dur="1400"/>
                                        <p:tgtEl>
                                          <p:spTgt spid="67"/>
                                        </p:tgtEl>
                                      </p:cBhvr>
                                    </p:animEffect>
                                  </p:childTnLst>
                                </p:cTn>
                              </p:par>
                              <p:par>
                                <p:cTn id="79" presetID="22" presetClass="entr" presetSubtype="8" fill="hold" grpId="0" nodeType="withEffect">
                                  <p:stCondLst>
                                    <p:cond delay="2500"/>
                                  </p:stCondLst>
                                  <p:childTnLst>
                                    <p:set>
                                      <p:cBhvr>
                                        <p:cTn id="80" dur="1" fill="hold">
                                          <p:stCondLst>
                                            <p:cond delay="0"/>
                                          </p:stCondLst>
                                        </p:cTn>
                                        <p:tgtEl>
                                          <p:spTgt spid="70"/>
                                        </p:tgtEl>
                                        <p:attrNameLst>
                                          <p:attrName>style.visibility</p:attrName>
                                        </p:attrNameLst>
                                      </p:cBhvr>
                                      <p:to>
                                        <p:strVal val="visible"/>
                                      </p:to>
                                    </p:set>
                                    <p:animEffect transition="in" filter="wipe(left)">
                                      <p:cBhvr>
                                        <p:cTn id="81" dur="1400"/>
                                        <p:tgtEl>
                                          <p:spTgt spid="70"/>
                                        </p:tgtEl>
                                      </p:cBhvr>
                                    </p:animEffect>
                                  </p:childTnLst>
                                </p:cTn>
                              </p:par>
                              <p:par>
                                <p:cTn id="82" presetID="22" presetClass="entr" presetSubtype="8" fill="hold" grpId="0" nodeType="withEffect">
                                  <p:stCondLst>
                                    <p:cond delay="3000"/>
                                  </p:stCondLst>
                                  <p:childTnLst>
                                    <p:set>
                                      <p:cBhvr>
                                        <p:cTn id="83" dur="1" fill="hold">
                                          <p:stCondLst>
                                            <p:cond delay="0"/>
                                          </p:stCondLst>
                                        </p:cTn>
                                        <p:tgtEl>
                                          <p:spTgt spid="118"/>
                                        </p:tgtEl>
                                        <p:attrNameLst>
                                          <p:attrName>style.visibility</p:attrName>
                                        </p:attrNameLst>
                                      </p:cBhvr>
                                      <p:to>
                                        <p:strVal val="visible"/>
                                      </p:to>
                                    </p:set>
                                    <p:animEffect transition="in" filter="wipe(left)">
                                      <p:cBhvr>
                                        <p:cTn id="84" dur="1400"/>
                                        <p:tgtEl>
                                          <p:spTgt spid="118"/>
                                        </p:tgtEl>
                                      </p:cBhvr>
                                    </p:animEffect>
                                  </p:childTnLst>
                                </p:cTn>
                              </p:par>
                              <p:par>
                                <p:cTn id="85" presetID="22" presetClass="entr" presetSubtype="2" fill="hold" grpId="0" nodeType="withEffect">
                                  <p:stCondLst>
                                    <p:cond delay="3500"/>
                                  </p:stCondLst>
                                  <p:childTnLst>
                                    <p:set>
                                      <p:cBhvr>
                                        <p:cTn id="86" dur="1" fill="hold">
                                          <p:stCondLst>
                                            <p:cond delay="0"/>
                                          </p:stCondLst>
                                        </p:cTn>
                                        <p:tgtEl>
                                          <p:spTgt spid="80"/>
                                        </p:tgtEl>
                                        <p:attrNameLst>
                                          <p:attrName>style.visibility</p:attrName>
                                        </p:attrNameLst>
                                      </p:cBhvr>
                                      <p:to>
                                        <p:strVal val="visible"/>
                                      </p:to>
                                    </p:set>
                                    <p:animEffect transition="in" filter="wipe(right)">
                                      <p:cBhvr>
                                        <p:cTn id="87" dur="1400"/>
                                        <p:tgtEl>
                                          <p:spTgt spid="80"/>
                                        </p:tgtEl>
                                      </p:cBhvr>
                                    </p:animEffect>
                                  </p:childTnLst>
                                </p:cTn>
                              </p:par>
                              <p:par>
                                <p:cTn id="88" presetID="22" presetClass="entr" presetSubtype="8" fill="hold" grpId="0" nodeType="withEffect">
                                  <p:stCondLst>
                                    <p:cond delay="4250"/>
                                  </p:stCondLst>
                                  <p:childTnLst>
                                    <p:set>
                                      <p:cBhvr>
                                        <p:cTn id="89" dur="1" fill="hold">
                                          <p:stCondLst>
                                            <p:cond delay="0"/>
                                          </p:stCondLst>
                                        </p:cTn>
                                        <p:tgtEl>
                                          <p:spTgt spid="74"/>
                                        </p:tgtEl>
                                        <p:attrNameLst>
                                          <p:attrName>style.visibility</p:attrName>
                                        </p:attrNameLst>
                                      </p:cBhvr>
                                      <p:to>
                                        <p:strVal val="visible"/>
                                      </p:to>
                                    </p:set>
                                    <p:animEffect transition="in" filter="wipe(left)">
                                      <p:cBhvr>
                                        <p:cTn id="90" dur="1400"/>
                                        <p:tgtEl>
                                          <p:spTgt spid="74"/>
                                        </p:tgtEl>
                                      </p:cBhvr>
                                    </p:animEffect>
                                  </p:childTnLst>
                                </p:cTn>
                              </p:par>
                              <p:par>
                                <p:cTn id="91" presetID="22" presetClass="entr" presetSubtype="2" fill="hold" grpId="0" nodeType="withEffect">
                                  <p:stCondLst>
                                    <p:cond delay="5000"/>
                                  </p:stCondLst>
                                  <p:childTnLst>
                                    <p:set>
                                      <p:cBhvr>
                                        <p:cTn id="92" dur="1" fill="hold">
                                          <p:stCondLst>
                                            <p:cond delay="0"/>
                                          </p:stCondLst>
                                        </p:cTn>
                                        <p:tgtEl>
                                          <p:spTgt spid="68"/>
                                        </p:tgtEl>
                                        <p:attrNameLst>
                                          <p:attrName>style.visibility</p:attrName>
                                        </p:attrNameLst>
                                      </p:cBhvr>
                                      <p:to>
                                        <p:strVal val="visible"/>
                                      </p:to>
                                    </p:set>
                                    <p:animEffect transition="in" filter="wipe(right)">
                                      <p:cBhvr>
                                        <p:cTn id="93" dur="1400"/>
                                        <p:tgtEl>
                                          <p:spTgt spid="68"/>
                                        </p:tgtEl>
                                      </p:cBhvr>
                                    </p:animEffect>
                                  </p:childTnLst>
                                </p:cTn>
                              </p:par>
                              <p:par>
                                <p:cTn id="94" presetID="22" presetClass="entr" presetSubtype="8" fill="hold" grpId="0" nodeType="withEffect">
                                  <p:stCondLst>
                                    <p:cond delay="5750"/>
                                  </p:stCondLst>
                                  <p:childTnLst>
                                    <p:set>
                                      <p:cBhvr>
                                        <p:cTn id="95" dur="1" fill="hold">
                                          <p:stCondLst>
                                            <p:cond delay="0"/>
                                          </p:stCondLst>
                                        </p:cTn>
                                        <p:tgtEl>
                                          <p:spTgt spid="76"/>
                                        </p:tgtEl>
                                        <p:attrNameLst>
                                          <p:attrName>style.visibility</p:attrName>
                                        </p:attrNameLst>
                                      </p:cBhvr>
                                      <p:to>
                                        <p:strVal val="visible"/>
                                      </p:to>
                                    </p:set>
                                    <p:animEffect transition="in" filter="wipe(left)">
                                      <p:cBhvr>
                                        <p:cTn id="96" dur="1400"/>
                                        <p:tgtEl>
                                          <p:spTgt spid="76"/>
                                        </p:tgtEl>
                                      </p:cBhvr>
                                    </p:animEffect>
                                  </p:childTnLst>
                                </p:cTn>
                              </p:par>
                              <p:par>
                                <p:cTn id="97" presetID="22" presetClass="entr" presetSubtype="8" fill="hold" grpId="0" nodeType="withEffect">
                                  <p:stCondLst>
                                    <p:cond delay="6750"/>
                                  </p:stCondLst>
                                  <p:childTnLst>
                                    <p:set>
                                      <p:cBhvr>
                                        <p:cTn id="98" dur="1" fill="hold">
                                          <p:stCondLst>
                                            <p:cond delay="0"/>
                                          </p:stCondLst>
                                        </p:cTn>
                                        <p:tgtEl>
                                          <p:spTgt spid="77"/>
                                        </p:tgtEl>
                                        <p:attrNameLst>
                                          <p:attrName>style.visibility</p:attrName>
                                        </p:attrNameLst>
                                      </p:cBhvr>
                                      <p:to>
                                        <p:strVal val="visible"/>
                                      </p:to>
                                    </p:set>
                                    <p:animEffect transition="in" filter="wipe(left)">
                                      <p:cBhvr>
                                        <p:cTn id="99" dur="1400"/>
                                        <p:tgtEl>
                                          <p:spTgt spid="77"/>
                                        </p:tgtEl>
                                      </p:cBhvr>
                                    </p:animEffect>
                                  </p:childTnLst>
                                </p:cTn>
                              </p:par>
                              <p:par>
                                <p:cTn id="100" presetID="22" presetClass="exit" presetSubtype="2" fill="hold" grpId="1" nodeType="withEffect">
                                  <p:stCondLst>
                                    <p:cond delay="4000"/>
                                  </p:stCondLst>
                                  <p:childTnLst>
                                    <p:animEffect transition="out" filter="wipe(right)">
                                      <p:cBhvr>
                                        <p:cTn id="101" dur="1500"/>
                                        <p:tgtEl>
                                          <p:spTgt spid="73"/>
                                        </p:tgtEl>
                                      </p:cBhvr>
                                    </p:animEffect>
                                    <p:set>
                                      <p:cBhvr>
                                        <p:cTn id="102" dur="1" fill="hold">
                                          <p:stCondLst>
                                            <p:cond delay="1499"/>
                                          </p:stCondLst>
                                        </p:cTn>
                                        <p:tgtEl>
                                          <p:spTgt spid="73"/>
                                        </p:tgtEl>
                                        <p:attrNameLst>
                                          <p:attrName>style.visibility</p:attrName>
                                        </p:attrNameLst>
                                      </p:cBhvr>
                                      <p:to>
                                        <p:strVal val="hidden"/>
                                      </p:to>
                                    </p:set>
                                  </p:childTnLst>
                                </p:cTn>
                              </p:par>
                              <p:par>
                                <p:cTn id="103" presetID="22" presetClass="exit" presetSubtype="2" fill="hold" grpId="1" nodeType="withEffect">
                                  <p:stCondLst>
                                    <p:cond delay="4500"/>
                                  </p:stCondLst>
                                  <p:childTnLst>
                                    <p:animEffect transition="out" filter="wipe(right)">
                                      <p:cBhvr>
                                        <p:cTn id="104" dur="1500"/>
                                        <p:tgtEl>
                                          <p:spTgt spid="66"/>
                                        </p:tgtEl>
                                      </p:cBhvr>
                                    </p:animEffect>
                                    <p:set>
                                      <p:cBhvr>
                                        <p:cTn id="105" dur="1" fill="hold">
                                          <p:stCondLst>
                                            <p:cond delay="1499"/>
                                          </p:stCondLst>
                                        </p:cTn>
                                        <p:tgtEl>
                                          <p:spTgt spid="66"/>
                                        </p:tgtEl>
                                        <p:attrNameLst>
                                          <p:attrName>style.visibility</p:attrName>
                                        </p:attrNameLst>
                                      </p:cBhvr>
                                      <p:to>
                                        <p:strVal val="hidden"/>
                                      </p:to>
                                    </p:set>
                                  </p:childTnLst>
                                </p:cTn>
                              </p:par>
                              <p:par>
                                <p:cTn id="106" presetID="22" presetClass="exit" presetSubtype="2" fill="hold" grpId="1" nodeType="withEffect">
                                  <p:stCondLst>
                                    <p:cond delay="5000"/>
                                  </p:stCondLst>
                                  <p:childTnLst>
                                    <p:animEffect transition="out" filter="wipe(right)">
                                      <p:cBhvr>
                                        <p:cTn id="107" dur="1500"/>
                                        <p:tgtEl>
                                          <p:spTgt spid="67"/>
                                        </p:tgtEl>
                                      </p:cBhvr>
                                    </p:animEffect>
                                    <p:set>
                                      <p:cBhvr>
                                        <p:cTn id="108" dur="1" fill="hold">
                                          <p:stCondLst>
                                            <p:cond delay="1499"/>
                                          </p:stCondLst>
                                        </p:cTn>
                                        <p:tgtEl>
                                          <p:spTgt spid="67"/>
                                        </p:tgtEl>
                                        <p:attrNameLst>
                                          <p:attrName>style.visibility</p:attrName>
                                        </p:attrNameLst>
                                      </p:cBhvr>
                                      <p:to>
                                        <p:strVal val="hidden"/>
                                      </p:to>
                                    </p:set>
                                  </p:childTnLst>
                                </p:cTn>
                              </p:par>
                              <p:par>
                                <p:cTn id="109" presetID="22" presetClass="exit" presetSubtype="2" fill="hold" grpId="1" nodeType="withEffect">
                                  <p:stCondLst>
                                    <p:cond delay="5250"/>
                                  </p:stCondLst>
                                  <p:childTnLst>
                                    <p:animEffect transition="out" filter="wipe(right)">
                                      <p:cBhvr>
                                        <p:cTn id="110" dur="1500"/>
                                        <p:tgtEl>
                                          <p:spTgt spid="70"/>
                                        </p:tgtEl>
                                      </p:cBhvr>
                                    </p:animEffect>
                                    <p:set>
                                      <p:cBhvr>
                                        <p:cTn id="111" dur="1" fill="hold">
                                          <p:stCondLst>
                                            <p:cond delay="1499"/>
                                          </p:stCondLst>
                                        </p:cTn>
                                        <p:tgtEl>
                                          <p:spTgt spid="70"/>
                                        </p:tgtEl>
                                        <p:attrNameLst>
                                          <p:attrName>style.visibility</p:attrName>
                                        </p:attrNameLst>
                                      </p:cBhvr>
                                      <p:to>
                                        <p:strVal val="hidden"/>
                                      </p:to>
                                    </p:set>
                                  </p:childTnLst>
                                </p:cTn>
                              </p:par>
                              <p:par>
                                <p:cTn id="112" presetID="22" presetClass="exit" presetSubtype="2" fill="hold" grpId="1" nodeType="withEffect">
                                  <p:stCondLst>
                                    <p:cond delay="6000"/>
                                  </p:stCondLst>
                                  <p:childTnLst>
                                    <p:animEffect transition="out" filter="wipe(right)">
                                      <p:cBhvr>
                                        <p:cTn id="113" dur="1500"/>
                                        <p:tgtEl>
                                          <p:spTgt spid="80"/>
                                        </p:tgtEl>
                                      </p:cBhvr>
                                    </p:animEffect>
                                    <p:set>
                                      <p:cBhvr>
                                        <p:cTn id="114" dur="1" fill="hold">
                                          <p:stCondLst>
                                            <p:cond delay="1499"/>
                                          </p:stCondLst>
                                        </p:cTn>
                                        <p:tgtEl>
                                          <p:spTgt spid="80"/>
                                        </p:tgtEl>
                                        <p:attrNameLst>
                                          <p:attrName>style.visibility</p:attrName>
                                        </p:attrNameLst>
                                      </p:cBhvr>
                                      <p:to>
                                        <p:strVal val="hidden"/>
                                      </p:to>
                                    </p:set>
                                  </p:childTnLst>
                                </p:cTn>
                              </p:par>
                              <p:par>
                                <p:cTn id="115" presetID="22" presetClass="exit" presetSubtype="2" fill="hold" grpId="1" nodeType="withEffect">
                                  <p:stCondLst>
                                    <p:cond delay="6250"/>
                                  </p:stCondLst>
                                  <p:childTnLst>
                                    <p:animEffect transition="out" filter="wipe(right)">
                                      <p:cBhvr>
                                        <p:cTn id="116" dur="1500"/>
                                        <p:tgtEl>
                                          <p:spTgt spid="74"/>
                                        </p:tgtEl>
                                      </p:cBhvr>
                                    </p:animEffect>
                                    <p:set>
                                      <p:cBhvr>
                                        <p:cTn id="117" dur="1" fill="hold">
                                          <p:stCondLst>
                                            <p:cond delay="1499"/>
                                          </p:stCondLst>
                                        </p:cTn>
                                        <p:tgtEl>
                                          <p:spTgt spid="74"/>
                                        </p:tgtEl>
                                        <p:attrNameLst>
                                          <p:attrName>style.visibility</p:attrName>
                                        </p:attrNameLst>
                                      </p:cBhvr>
                                      <p:to>
                                        <p:strVal val="hidden"/>
                                      </p:to>
                                    </p:set>
                                  </p:childTnLst>
                                </p:cTn>
                              </p:par>
                              <p:par>
                                <p:cTn id="118" presetID="22" presetClass="exit" presetSubtype="2" fill="hold" grpId="1" nodeType="withEffect">
                                  <p:stCondLst>
                                    <p:cond delay="6750"/>
                                  </p:stCondLst>
                                  <p:childTnLst>
                                    <p:animEffect transition="out" filter="wipe(right)">
                                      <p:cBhvr>
                                        <p:cTn id="119" dur="1500"/>
                                        <p:tgtEl>
                                          <p:spTgt spid="118"/>
                                        </p:tgtEl>
                                      </p:cBhvr>
                                    </p:animEffect>
                                    <p:set>
                                      <p:cBhvr>
                                        <p:cTn id="120" dur="1" fill="hold">
                                          <p:stCondLst>
                                            <p:cond delay="1499"/>
                                          </p:stCondLst>
                                        </p:cTn>
                                        <p:tgtEl>
                                          <p:spTgt spid="118"/>
                                        </p:tgtEl>
                                        <p:attrNameLst>
                                          <p:attrName>style.visibility</p:attrName>
                                        </p:attrNameLst>
                                      </p:cBhvr>
                                      <p:to>
                                        <p:strVal val="hidden"/>
                                      </p:to>
                                    </p:set>
                                  </p:childTnLst>
                                </p:cTn>
                              </p:par>
                              <p:par>
                                <p:cTn id="121" presetID="22" presetClass="exit" presetSubtype="2" fill="hold" grpId="1" nodeType="withEffect">
                                  <p:stCondLst>
                                    <p:cond delay="7250"/>
                                  </p:stCondLst>
                                  <p:childTnLst>
                                    <p:animEffect transition="out" filter="wipe(right)">
                                      <p:cBhvr>
                                        <p:cTn id="122" dur="1500"/>
                                        <p:tgtEl>
                                          <p:spTgt spid="68"/>
                                        </p:tgtEl>
                                      </p:cBhvr>
                                    </p:animEffect>
                                    <p:set>
                                      <p:cBhvr>
                                        <p:cTn id="123" dur="1" fill="hold">
                                          <p:stCondLst>
                                            <p:cond delay="1499"/>
                                          </p:stCondLst>
                                        </p:cTn>
                                        <p:tgtEl>
                                          <p:spTgt spid="68"/>
                                        </p:tgtEl>
                                        <p:attrNameLst>
                                          <p:attrName>style.visibility</p:attrName>
                                        </p:attrNameLst>
                                      </p:cBhvr>
                                      <p:to>
                                        <p:strVal val="hidden"/>
                                      </p:to>
                                    </p:set>
                                  </p:childTnLst>
                                </p:cTn>
                              </p:par>
                              <p:par>
                                <p:cTn id="124" presetID="22" presetClass="exit" presetSubtype="2" fill="hold" grpId="1" nodeType="withEffect">
                                  <p:stCondLst>
                                    <p:cond delay="7500"/>
                                  </p:stCondLst>
                                  <p:childTnLst>
                                    <p:animEffect transition="out" filter="wipe(right)">
                                      <p:cBhvr>
                                        <p:cTn id="125" dur="1500"/>
                                        <p:tgtEl>
                                          <p:spTgt spid="76"/>
                                        </p:tgtEl>
                                      </p:cBhvr>
                                    </p:animEffect>
                                    <p:set>
                                      <p:cBhvr>
                                        <p:cTn id="126" dur="1" fill="hold">
                                          <p:stCondLst>
                                            <p:cond delay="1499"/>
                                          </p:stCondLst>
                                        </p:cTn>
                                        <p:tgtEl>
                                          <p:spTgt spid="76"/>
                                        </p:tgtEl>
                                        <p:attrNameLst>
                                          <p:attrName>style.visibility</p:attrName>
                                        </p:attrNameLst>
                                      </p:cBhvr>
                                      <p:to>
                                        <p:strVal val="hidden"/>
                                      </p:to>
                                    </p:set>
                                  </p:childTnLst>
                                </p:cTn>
                              </p:par>
                              <p:par>
                                <p:cTn id="127" presetID="22" presetClass="exit" presetSubtype="2" fill="hold" grpId="1" nodeType="withEffect">
                                  <p:stCondLst>
                                    <p:cond delay="8500"/>
                                  </p:stCondLst>
                                  <p:childTnLst>
                                    <p:animEffect transition="out" filter="wipe(right)">
                                      <p:cBhvr>
                                        <p:cTn id="128" dur="1500"/>
                                        <p:tgtEl>
                                          <p:spTgt spid="77"/>
                                        </p:tgtEl>
                                      </p:cBhvr>
                                    </p:animEffect>
                                    <p:set>
                                      <p:cBhvr>
                                        <p:cTn id="129" dur="1" fill="hold">
                                          <p:stCondLst>
                                            <p:cond delay="1499"/>
                                          </p:stCondLst>
                                        </p:cTn>
                                        <p:tgtEl>
                                          <p:spTgt spid="77"/>
                                        </p:tgtEl>
                                        <p:attrNameLst>
                                          <p:attrName>style.visibility</p:attrName>
                                        </p:attrNameLst>
                                      </p:cBhvr>
                                      <p:to>
                                        <p:strVal val="hidden"/>
                                      </p:to>
                                    </p:set>
                                  </p:childTnLst>
                                </p:cTn>
                              </p:par>
                              <p:par>
                                <p:cTn id="130" presetID="22" presetClass="entr" presetSubtype="8" fill="hold" grpId="2" nodeType="withEffect">
                                  <p:stCondLst>
                                    <p:cond delay="10250"/>
                                  </p:stCondLst>
                                  <p:childTnLst>
                                    <p:set>
                                      <p:cBhvr>
                                        <p:cTn id="131" dur="1" fill="hold">
                                          <p:stCondLst>
                                            <p:cond delay="0"/>
                                          </p:stCondLst>
                                        </p:cTn>
                                        <p:tgtEl>
                                          <p:spTgt spid="73"/>
                                        </p:tgtEl>
                                        <p:attrNameLst>
                                          <p:attrName>style.visibility</p:attrName>
                                        </p:attrNameLst>
                                      </p:cBhvr>
                                      <p:to>
                                        <p:strVal val="visible"/>
                                      </p:to>
                                    </p:set>
                                    <p:animEffect transition="in" filter="wipe(left)">
                                      <p:cBhvr>
                                        <p:cTn id="132" dur="1500"/>
                                        <p:tgtEl>
                                          <p:spTgt spid="73"/>
                                        </p:tgtEl>
                                      </p:cBhvr>
                                    </p:animEffect>
                                  </p:childTnLst>
                                </p:cTn>
                              </p:par>
                              <p:par>
                                <p:cTn id="133" presetID="22" presetClass="entr" presetSubtype="8" fill="hold" grpId="2" nodeType="withEffect">
                                  <p:stCondLst>
                                    <p:cond delay="10750"/>
                                  </p:stCondLst>
                                  <p:childTnLst>
                                    <p:set>
                                      <p:cBhvr>
                                        <p:cTn id="134" dur="1" fill="hold">
                                          <p:stCondLst>
                                            <p:cond delay="0"/>
                                          </p:stCondLst>
                                        </p:cTn>
                                        <p:tgtEl>
                                          <p:spTgt spid="66"/>
                                        </p:tgtEl>
                                        <p:attrNameLst>
                                          <p:attrName>style.visibility</p:attrName>
                                        </p:attrNameLst>
                                      </p:cBhvr>
                                      <p:to>
                                        <p:strVal val="visible"/>
                                      </p:to>
                                    </p:set>
                                    <p:animEffect transition="in" filter="wipe(left)">
                                      <p:cBhvr>
                                        <p:cTn id="135" dur="1500"/>
                                        <p:tgtEl>
                                          <p:spTgt spid="66"/>
                                        </p:tgtEl>
                                      </p:cBhvr>
                                    </p:animEffect>
                                  </p:childTnLst>
                                </p:cTn>
                              </p:par>
                              <p:par>
                                <p:cTn id="136" presetID="22" presetClass="entr" presetSubtype="2" fill="hold" grpId="2" nodeType="withEffect">
                                  <p:stCondLst>
                                    <p:cond delay="11750"/>
                                  </p:stCondLst>
                                  <p:childTnLst>
                                    <p:set>
                                      <p:cBhvr>
                                        <p:cTn id="137" dur="1" fill="hold">
                                          <p:stCondLst>
                                            <p:cond delay="0"/>
                                          </p:stCondLst>
                                        </p:cTn>
                                        <p:tgtEl>
                                          <p:spTgt spid="67"/>
                                        </p:tgtEl>
                                        <p:attrNameLst>
                                          <p:attrName>style.visibility</p:attrName>
                                        </p:attrNameLst>
                                      </p:cBhvr>
                                      <p:to>
                                        <p:strVal val="visible"/>
                                      </p:to>
                                    </p:set>
                                    <p:animEffect transition="in" filter="wipe(right)">
                                      <p:cBhvr>
                                        <p:cTn id="138" dur="1500"/>
                                        <p:tgtEl>
                                          <p:spTgt spid="67"/>
                                        </p:tgtEl>
                                      </p:cBhvr>
                                    </p:animEffect>
                                  </p:childTnLst>
                                </p:cTn>
                              </p:par>
                              <p:par>
                                <p:cTn id="139" presetID="22" presetClass="entr" presetSubtype="8" fill="hold" grpId="2" nodeType="withEffect">
                                  <p:stCondLst>
                                    <p:cond delay="12500"/>
                                  </p:stCondLst>
                                  <p:childTnLst>
                                    <p:set>
                                      <p:cBhvr>
                                        <p:cTn id="140" dur="1" fill="hold">
                                          <p:stCondLst>
                                            <p:cond delay="0"/>
                                          </p:stCondLst>
                                        </p:cTn>
                                        <p:tgtEl>
                                          <p:spTgt spid="70"/>
                                        </p:tgtEl>
                                        <p:attrNameLst>
                                          <p:attrName>style.visibility</p:attrName>
                                        </p:attrNameLst>
                                      </p:cBhvr>
                                      <p:to>
                                        <p:strVal val="visible"/>
                                      </p:to>
                                    </p:set>
                                    <p:animEffect transition="in" filter="wipe(left)">
                                      <p:cBhvr>
                                        <p:cTn id="141" dur="1500"/>
                                        <p:tgtEl>
                                          <p:spTgt spid="70"/>
                                        </p:tgtEl>
                                      </p:cBhvr>
                                    </p:animEffect>
                                  </p:childTnLst>
                                </p:cTn>
                              </p:par>
                              <p:par>
                                <p:cTn id="142" presetID="22" presetClass="entr" presetSubtype="8" fill="hold" grpId="2" nodeType="withEffect">
                                  <p:stCondLst>
                                    <p:cond delay="13000"/>
                                  </p:stCondLst>
                                  <p:childTnLst>
                                    <p:set>
                                      <p:cBhvr>
                                        <p:cTn id="143" dur="1" fill="hold">
                                          <p:stCondLst>
                                            <p:cond delay="0"/>
                                          </p:stCondLst>
                                        </p:cTn>
                                        <p:tgtEl>
                                          <p:spTgt spid="80"/>
                                        </p:tgtEl>
                                        <p:attrNameLst>
                                          <p:attrName>style.visibility</p:attrName>
                                        </p:attrNameLst>
                                      </p:cBhvr>
                                      <p:to>
                                        <p:strVal val="visible"/>
                                      </p:to>
                                    </p:set>
                                    <p:animEffect transition="in" filter="wipe(left)">
                                      <p:cBhvr>
                                        <p:cTn id="144" dur="1500"/>
                                        <p:tgtEl>
                                          <p:spTgt spid="80"/>
                                        </p:tgtEl>
                                      </p:cBhvr>
                                    </p:animEffect>
                                  </p:childTnLst>
                                </p:cTn>
                              </p:par>
                              <p:par>
                                <p:cTn id="145" presetID="22" presetClass="entr" presetSubtype="8" fill="hold" grpId="2" nodeType="withEffect">
                                  <p:stCondLst>
                                    <p:cond delay="14000"/>
                                  </p:stCondLst>
                                  <p:childTnLst>
                                    <p:set>
                                      <p:cBhvr>
                                        <p:cTn id="146" dur="1" fill="hold">
                                          <p:stCondLst>
                                            <p:cond delay="0"/>
                                          </p:stCondLst>
                                        </p:cTn>
                                        <p:tgtEl>
                                          <p:spTgt spid="74"/>
                                        </p:tgtEl>
                                        <p:attrNameLst>
                                          <p:attrName>style.visibility</p:attrName>
                                        </p:attrNameLst>
                                      </p:cBhvr>
                                      <p:to>
                                        <p:strVal val="visible"/>
                                      </p:to>
                                    </p:set>
                                    <p:animEffect transition="in" filter="wipe(left)">
                                      <p:cBhvr>
                                        <p:cTn id="147" dur="1250"/>
                                        <p:tgtEl>
                                          <p:spTgt spid="74"/>
                                        </p:tgtEl>
                                      </p:cBhvr>
                                    </p:animEffect>
                                  </p:childTnLst>
                                </p:cTn>
                              </p:par>
                              <p:par>
                                <p:cTn id="148" presetID="22" presetClass="entr" presetSubtype="2" fill="hold" grpId="2" nodeType="withEffect">
                                  <p:stCondLst>
                                    <p:cond delay="14750"/>
                                  </p:stCondLst>
                                  <p:childTnLst>
                                    <p:set>
                                      <p:cBhvr>
                                        <p:cTn id="149" dur="1" fill="hold">
                                          <p:stCondLst>
                                            <p:cond delay="0"/>
                                          </p:stCondLst>
                                        </p:cTn>
                                        <p:tgtEl>
                                          <p:spTgt spid="68"/>
                                        </p:tgtEl>
                                        <p:attrNameLst>
                                          <p:attrName>style.visibility</p:attrName>
                                        </p:attrNameLst>
                                      </p:cBhvr>
                                      <p:to>
                                        <p:strVal val="visible"/>
                                      </p:to>
                                    </p:set>
                                    <p:animEffect transition="in" filter="wipe(right)">
                                      <p:cBhvr>
                                        <p:cTn id="150" dur="1250"/>
                                        <p:tgtEl>
                                          <p:spTgt spid="68"/>
                                        </p:tgtEl>
                                      </p:cBhvr>
                                    </p:animEffect>
                                  </p:childTnLst>
                                </p:cTn>
                              </p:par>
                              <p:par>
                                <p:cTn id="151" presetID="22" presetClass="entr" presetSubtype="8" fill="hold" grpId="2" nodeType="withEffect">
                                  <p:stCondLst>
                                    <p:cond delay="15500"/>
                                  </p:stCondLst>
                                  <p:childTnLst>
                                    <p:set>
                                      <p:cBhvr>
                                        <p:cTn id="152" dur="1" fill="hold">
                                          <p:stCondLst>
                                            <p:cond delay="0"/>
                                          </p:stCondLst>
                                        </p:cTn>
                                        <p:tgtEl>
                                          <p:spTgt spid="76"/>
                                        </p:tgtEl>
                                        <p:attrNameLst>
                                          <p:attrName>style.visibility</p:attrName>
                                        </p:attrNameLst>
                                      </p:cBhvr>
                                      <p:to>
                                        <p:strVal val="visible"/>
                                      </p:to>
                                    </p:set>
                                    <p:animEffect transition="in" filter="wipe(left)">
                                      <p:cBhvr>
                                        <p:cTn id="153" dur="1250"/>
                                        <p:tgtEl>
                                          <p:spTgt spid="76"/>
                                        </p:tgtEl>
                                      </p:cBhvr>
                                    </p:animEffect>
                                  </p:childTnLst>
                                </p:cTn>
                              </p:par>
                              <p:par>
                                <p:cTn id="154" presetID="22" presetClass="entr" presetSubtype="8" fill="hold" grpId="2" nodeType="withEffect">
                                  <p:stCondLst>
                                    <p:cond delay="16750"/>
                                  </p:stCondLst>
                                  <p:childTnLst>
                                    <p:set>
                                      <p:cBhvr>
                                        <p:cTn id="155" dur="1" fill="hold">
                                          <p:stCondLst>
                                            <p:cond delay="0"/>
                                          </p:stCondLst>
                                        </p:cTn>
                                        <p:tgtEl>
                                          <p:spTgt spid="77"/>
                                        </p:tgtEl>
                                        <p:attrNameLst>
                                          <p:attrName>style.visibility</p:attrName>
                                        </p:attrNameLst>
                                      </p:cBhvr>
                                      <p:to>
                                        <p:strVal val="visible"/>
                                      </p:to>
                                    </p:set>
                                    <p:animEffect transition="in" filter="wipe(left)">
                                      <p:cBhvr>
                                        <p:cTn id="156" dur="1250"/>
                                        <p:tgtEl>
                                          <p:spTgt spid="77"/>
                                        </p:tgtEl>
                                      </p:cBhvr>
                                    </p:animEffect>
                                  </p:childTnLst>
                                </p:cTn>
                              </p:par>
                              <p:par>
                                <p:cTn id="157" presetID="22" presetClass="entr" presetSubtype="8" fill="hold" grpId="0" nodeType="withEffect">
                                  <p:stCondLst>
                                    <p:cond delay="1750"/>
                                  </p:stCondLst>
                                  <p:childTnLst>
                                    <p:set>
                                      <p:cBhvr>
                                        <p:cTn id="158" dur="1" fill="hold">
                                          <p:stCondLst>
                                            <p:cond delay="0"/>
                                          </p:stCondLst>
                                        </p:cTn>
                                        <p:tgtEl>
                                          <p:spTgt spid="78"/>
                                        </p:tgtEl>
                                        <p:attrNameLst>
                                          <p:attrName>style.visibility</p:attrName>
                                        </p:attrNameLst>
                                      </p:cBhvr>
                                      <p:to>
                                        <p:strVal val="visible"/>
                                      </p:to>
                                    </p:set>
                                    <p:animEffect transition="in" filter="wipe(left)">
                                      <p:cBhvr>
                                        <p:cTn id="159" dur="1400"/>
                                        <p:tgtEl>
                                          <p:spTgt spid="78"/>
                                        </p:tgtEl>
                                      </p:cBhvr>
                                    </p:animEffect>
                                  </p:childTnLst>
                                </p:cTn>
                              </p:par>
                              <p:par>
                                <p:cTn id="160" presetID="22" presetClass="entr" presetSubtype="8" fill="hold" grpId="0" nodeType="withEffect">
                                  <p:stCondLst>
                                    <p:cond delay="3000"/>
                                  </p:stCondLst>
                                  <p:childTnLst>
                                    <p:set>
                                      <p:cBhvr>
                                        <p:cTn id="161" dur="1" fill="hold">
                                          <p:stCondLst>
                                            <p:cond delay="0"/>
                                          </p:stCondLst>
                                        </p:cTn>
                                        <p:tgtEl>
                                          <p:spTgt spid="92"/>
                                        </p:tgtEl>
                                        <p:attrNameLst>
                                          <p:attrName>style.visibility</p:attrName>
                                        </p:attrNameLst>
                                      </p:cBhvr>
                                      <p:to>
                                        <p:strVal val="visible"/>
                                      </p:to>
                                    </p:set>
                                    <p:animEffect transition="in" filter="wipe(left)">
                                      <p:cBhvr>
                                        <p:cTn id="162" dur="1400"/>
                                        <p:tgtEl>
                                          <p:spTgt spid="92"/>
                                        </p:tgtEl>
                                      </p:cBhvr>
                                    </p:animEffect>
                                  </p:childTnLst>
                                </p:cTn>
                              </p:par>
                              <p:par>
                                <p:cTn id="163" presetID="22" presetClass="entr" presetSubtype="8" fill="hold" grpId="0" nodeType="withEffect">
                                  <p:stCondLst>
                                    <p:cond delay="3750"/>
                                  </p:stCondLst>
                                  <p:childTnLst>
                                    <p:set>
                                      <p:cBhvr>
                                        <p:cTn id="164" dur="1" fill="hold">
                                          <p:stCondLst>
                                            <p:cond delay="0"/>
                                          </p:stCondLst>
                                        </p:cTn>
                                        <p:tgtEl>
                                          <p:spTgt spid="83"/>
                                        </p:tgtEl>
                                        <p:attrNameLst>
                                          <p:attrName>style.visibility</p:attrName>
                                        </p:attrNameLst>
                                      </p:cBhvr>
                                      <p:to>
                                        <p:strVal val="visible"/>
                                      </p:to>
                                    </p:set>
                                    <p:animEffect transition="in" filter="wipe(left)">
                                      <p:cBhvr>
                                        <p:cTn id="165" dur="1400"/>
                                        <p:tgtEl>
                                          <p:spTgt spid="83"/>
                                        </p:tgtEl>
                                      </p:cBhvr>
                                    </p:animEffect>
                                  </p:childTnLst>
                                </p:cTn>
                              </p:par>
                              <p:par>
                                <p:cTn id="166" presetID="22" presetClass="entr" presetSubtype="2" fill="hold" grpId="0" nodeType="withEffect">
                                  <p:stCondLst>
                                    <p:cond delay="4750"/>
                                  </p:stCondLst>
                                  <p:childTnLst>
                                    <p:set>
                                      <p:cBhvr>
                                        <p:cTn id="167" dur="1" fill="hold">
                                          <p:stCondLst>
                                            <p:cond delay="0"/>
                                          </p:stCondLst>
                                        </p:cTn>
                                        <p:tgtEl>
                                          <p:spTgt spid="69"/>
                                        </p:tgtEl>
                                        <p:attrNameLst>
                                          <p:attrName>style.visibility</p:attrName>
                                        </p:attrNameLst>
                                      </p:cBhvr>
                                      <p:to>
                                        <p:strVal val="visible"/>
                                      </p:to>
                                    </p:set>
                                    <p:animEffect transition="in" filter="wipe(right)">
                                      <p:cBhvr>
                                        <p:cTn id="168" dur="1400"/>
                                        <p:tgtEl>
                                          <p:spTgt spid="69"/>
                                        </p:tgtEl>
                                      </p:cBhvr>
                                    </p:animEffect>
                                  </p:childTnLst>
                                </p:cTn>
                              </p:par>
                              <p:par>
                                <p:cTn id="169" presetID="22" presetClass="entr" presetSubtype="8" fill="hold" grpId="0" nodeType="withEffect">
                                  <p:stCondLst>
                                    <p:cond delay="5500"/>
                                  </p:stCondLst>
                                  <p:childTnLst>
                                    <p:set>
                                      <p:cBhvr>
                                        <p:cTn id="170" dur="1" fill="hold">
                                          <p:stCondLst>
                                            <p:cond delay="0"/>
                                          </p:stCondLst>
                                        </p:cTn>
                                        <p:tgtEl>
                                          <p:spTgt spid="71"/>
                                        </p:tgtEl>
                                        <p:attrNameLst>
                                          <p:attrName>style.visibility</p:attrName>
                                        </p:attrNameLst>
                                      </p:cBhvr>
                                      <p:to>
                                        <p:strVal val="visible"/>
                                      </p:to>
                                    </p:set>
                                    <p:animEffect transition="in" filter="wipe(left)">
                                      <p:cBhvr>
                                        <p:cTn id="171" dur="1250"/>
                                        <p:tgtEl>
                                          <p:spTgt spid="71"/>
                                        </p:tgtEl>
                                      </p:cBhvr>
                                    </p:animEffect>
                                  </p:childTnLst>
                                </p:cTn>
                              </p:par>
                              <p:par>
                                <p:cTn id="172" presetID="22" presetClass="exit" presetSubtype="2" fill="hold" grpId="1" nodeType="withEffect">
                                  <p:stCondLst>
                                    <p:cond delay="6500"/>
                                  </p:stCondLst>
                                  <p:childTnLst>
                                    <p:animEffect transition="out" filter="wipe(right)">
                                      <p:cBhvr>
                                        <p:cTn id="173" dur="1500"/>
                                        <p:tgtEl>
                                          <p:spTgt spid="78"/>
                                        </p:tgtEl>
                                      </p:cBhvr>
                                    </p:animEffect>
                                    <p:set>
                                      <p:cBhvr>
                                        <p:cTn id="174" dur="1" fill="hold">
                                          <p:stCondLst>
                                            <p:cond delay="1499"/>
                                          </p:stCondLst>
                                        </p:cTn>
                                        <p:tgtEl>
                                          <p:spTgt spid="78"/>
                                        </p:tgtEl>
                                        <p:attrNameLst>
                                          <p:attrName>style.visibility</p:attrName>
                                        </p:attrNameLst>
                                      </p:cBhvr>
                                      <p:to>
                                        <p:strVal val="hidden"/>
                                      </p:to>
                                    </p:set>
                                  </p:childTnLst>
                                </p:cTn>
                              </p:par>
                              <p:par>
                                <p:cTn id="175" presetID="22" presetClass="exit" presetSubtype="2" fill="hold" grpId="1" nodeType="withEffect">
                                  <p:stCondLst>
                                    <p:cond delay="7500"/>
                                  </p:stCondLst>
                                  <p:childTnLst>
                                    <p:animEffect transition="out" filter="wipe(right)">
                                      <p:cBhvr>
                                        <p:cTn id="176" dur="1500"/>
                                        <p:tgtEl>
                                          <p:spTgt spid="92"/>
                                        </p:tgtEl>
                                      </p:cBhvr>
                                    </p:animEffect>
                                    <p:set>
                                      <p:cBhvr>
                                        <p:cTn id="177" dur="1" fill="hold">
                                          <p:stCondLst>
                                            <p:cond delay="1499"/>
                                          </p:stCondLst>
                                        </p:cTn>
                                        <p:tgtEl>
                                          <p:spTgt spid="92"/>
                                        </p:tgtEl>
                                        <p:attrNameLst>
                                          <p:attrName>style.visibility</p:attrName>
                                        </p:attrNameLst>
                                      </p:cBhvr>
                                      <p:to>
                                        <p:strVal val="hidden"/>
                                      </p:to>
                                    </p:set>
                                  </p:childTnLst>
                                </p:cTn>
                              </p:par>
                              <p:par>
                                <p:cTn id="178" presetID="22" presetClass="exit" presetSubtype="2" fill="hold" grpId="1" nodeType="withEffect">
                                  <p:stCondLst>
                                    <p:cond delay="8500"/>
                                  </p:stCondLst>
                                  <p:childTnLst>
                                    <p:animEffect transition="out" filter="wipe(right)">
                                      <p:cBhvr>
                                        <p:cTn id="179" dur="1500"/>
                                        <p:tgtEl>
                                          <p:spTgt spid="83"/>
                                        </p:tgtEl>
                                      </p:cBhvr>
                                    </p:animEffect>
                                    <p:set>
                                      <p:cBhvr>
                                        <p:cTn id="180" dur="1" fill="hold">
                                          <p:stCondLst>
                                            <p:cond delay="1499"/>
                                          </p:stCondLst>
                                        </p:cTn>
                                        <p:tgtEl>
                                          <p:spTgt spid="83"/>
                                        </p:tgtEl>
                                        <p:attrNameLst>
                                          <p:attrName>style.visibility</p:attrName>
                                        </p:attrNameLst>
                                      </p:cBhvr>
                                      <p:to>
                                        <p:strVal val="hidden"/>
                                      </p:to>
                                    </p:set>
                                  </p:childTnLst>
                                </p:cTn>
                              </p:par>
                              <p:par>
                                <p:cTn id="181" presetID="22" presetClass="exit" presetSubtype="2" fill="hold" grpId="1" nodeType="withEffect">
                                  <p:stCondLst>
                                    <p:cond delay="9000"/>
                                  </p:stCondLst>
                                  <p:childTnLst>
                                    <p:animEffect transition="out" filter="wipe(right)">
                                      <p:cBhvr>
                                        <p:cTn id="182" dur="1500"/>
                                        <p:tgtEl>
                                          <p:spTgt spid="69"/>
                                        </p:tgtEl>
                                      </p:cBhvr>
                                    </p:animEffect>
                                    <p:set>
                                      <p:cBhvr>
                                        <p:cTn id="183" dur="1" fill="hold">
                                          <p:stCondLst>
                                            <p:cond delay="1499"/>
                                          </p:stCondLst>
                                        </p:cTn>
                                        <p:tgtEl>
                                          <p:spTgt spid="69"/>
                                        </p:tgtEl>
                                        <p:attrNameLst>
                                          <p:attrName>style.visibility</p:attrName>
                                        </p:attrNameLst>
                                      </p:cBhvr>
                                      <p:to>
                                        <p:strVal val="hidden"/>
                                      </p:to>
                                    </p:set>
                                  </p:childTnLst>
                                </p:cTn>
                              </p:par>
                              <p:par>
                                <p:cTn id="184" presetID="22" presetClass="exit" presetSubtype="2" fill="hold" grpId="1" nodeType="withEffect">
                                  <p:stCondLst>
                                    <p:cond delay="9750"/>
                                  </p:stCondLst>
                                  <p:childTnLst>
                                    <p:animEffect transition="out" filter="wipe(right)">
                                      <p:cBhvr>
                                        <p:cTn id="185" dur="1500"/>
                                        <p:tgtEl>
                                          <p:spTgt spid="71"/>
                                        </p:tgtEl>
                                      </p:cBhvr>
                                    </p:animEffect>
                                    <p:set>
                                      <p:cBhvr>
                                        <p:cTn id="186" dur="1" fill="hold">
                                          <p:stCondLst>
                                            <p:cond delay="1499"/>
                                          </p:stCondLst>
                                        </p:cTn>
                                        <p:tgtEl>
                                          <p:spTgt spid="71"/>
                                        </p:tgtEl>
                                        <p:attrNameLst>
                                          <p:attrName>style.visibility</p:attrName>
                                        </p:attrNameLst>
                                      </p:cBhvr>
                                      <p:to>
                                        <p:strVal val="hidden"/>
                                      </p:to>
                                    </p:set>
                                  </p:childTnLst>
                                </p:cTn>
                              </p:par>
                              <p:par>
                                <p:cTn id="187" presetID="22" presetClass="entr" presetSubtype="8" fill="hold" grpId="2" nodeType="withEffect">
                                  <p:stCondLst>
                                    <p:cond delay="10500"/>
                                  </p:stCondLst>
                                  <p:childTnLst>
                                    <p:set>
                                      <p:cBhvr>
                                        <p:cTn id="188" dur="1" fill="hold">
                                          <p:stCondLst>
                                            <p:cond delay="0"/>
                                          </p:stCondLst>
                                        </p:cTn>
                                        <p:tgtEl>
                                          <p:spTgt spid="78"/>
                                        </p:tgtEl>
                                        <p:attrNameLst>
                                          <p:attrName>style.visibility</p:attrName>
                                        </p:attrNameLst>
                                      </p:cBhvr>
                                      <p:to>
                                        <p:strVal val="visible"/>
                                      </p:to>
                                    </p:set>
                                    <p:animEffect transition="in" filter="wipe(left)">
                                      <p:cBhvr>
                                        <p:cTn id="189" dur="1500"/>
                                        <p:tgtEl>
                                          <p:spTgt spid="78"/>
                                        </p:tgtEl>
                                      </p:cBhvr>
                                    </p:animEffect>
                                  </p:childTnLst>
                                </p:cTn>
                              </p:par>
                              <p:par>
                                <p:cTn id="190" presetID="22" presetClass="entr" presetSubtype="8" fill="hold" grpId="2" nodeType="withEffect">
                                  <p:stCondLst>
                                    <p:cond delay="12500"/>
                                  </p:stCondLst>
                                  <p:childTnLst>
                                    <p:set>
                                      <p:cBhvr>
                                        <p:cTn id="191" dur="1" fill="hold">
                                          <p:stCondLst>
                                            <p:cond delay="0"/>
                                          </p:stCondLst>
                                        </p:cTn>
                                        <p:tgtEl>
                                          <p:spTgt spid="92"/>
                                        </p:tgtEl>
                                        <p:attrNameLst>
                                          <p:attrName>style.visibility</p:attrName>
                                        </p:attrNameLst>
                                      </p:cBhvr>
                                      <p:to>
                                        <p:strVal val="visible"/>
                                      </p:to>
                                    </p:set>
                                    <p:animEffect transition="in" filter="wipe(left)">
                                      <p:cBhvr>
                                        <p:cTn id="192" dur="1500"/>
                                        <p:tgtEl>
                                          <p:spTgt spid="92"/>
                                        </p:tgtEl>
                                      </p:cBhvr>
                                    </p:animEffect>
                                  </p:childTnLst>
                                </p:cTn>
                              </p:par>
                              <p:par>
                                <p:cTn id="193" presetID="22" presetClass="entr" presetSubtype="2" fill="hold" grpId="2" nodeType="withEffect">
                                  <p:stCondLst>
                                    <p:cond delay="13500"/>
                                  </p:stCondLst>
                                  <p:childTnLst>
                                    <p:set>
                                      <p:cBhvr>
                                        <p:cTn id="194" dur="1" fill="hold">
                                          <p:stCondLst>
                                            <p:cond delay="0"/>
                                          </p:stCondLst>
                                        </p:cTn>
                                        <p:tgtEl>
                                          <p:spTgt spid="83"/>
                                        </p:tgtEl>
                                        <p:attrNameLst>
                                          <p:attrName>style.visibility</p:attrName>
                                        </p:attrNameLst>
                                      </p:cBhvr>
                                      <p:to>
                                        <p:strVal val="visible"/>
                                      </p:to>
                                    </p:set>
                                    <p:animEffect transition="in" filter="wipe(right)">
                                      <p:cBhvr>
                                        <p:cTn id="195" dur="1500"/>
                                        <p:tgtEl>
                                          <p:spTgt spid="83"/>
                                        </p:tgtEl>
                                      </p:cBhvr>
                                    </p:animEffect>
                                  </p:childTnLst>
                                </p:cTn>
                              </p:par>
                              <p:par>
                                <p:cTn id="196" presetID="22" presetClass="entr" presetSubtype="8" fill="hold" grpId="2" nodeType="withEffect">
                                  <p:stCondLst>
                                    <p:cond delay="14500"/>
                                  </p:stCondLst>
                                  <p:childTnLst>
                                    <p:set>
                                      <p:cBhvr>
                                        <p:cTn id="197" dur="1" fill="hold">
                                          <p:stCondLst>
                                            <p:cond delay="0"/>
                                          </p:stCondLst>
                                        </p:cTn>
                                        <p:tgtEl>
                                          <p:spTgt spid="69"/>
                                        </p:tgtEl>
                                        <p:attrNameLst>
                                          <p:attrName>style.visibility</p:attrName>
                                        </p:attrNameLst>
                                      </p:cBhvr>
                                      <p:to>
                                        <p:strVal val="visible"/>
                                      </p:to>
                                    </p:set>
                                    <p:animEffect transition="in" filter="wipe(left)">
                                      <p:cBhvr>
                                        <p:cTn id="198" dur="1500"/>
                                        <p:tgtEl>
                                          <p:spTgt spid="69"/>
                                        </p:tgtEl>
                                      </p:cBhvr>
                                    </p:animEffect>
                                  </p:childTnLst>
                                </p:cTn>
                              </p:par>
                              <p:par>
                                <p:cTn id="199" presetID="22" presetClass="entr" presetSubtype="8" fill="hold" grpId="2" nodeType="withEffect">
                                  <p:stCondLst>
                                    <p:cond delay="15250"/>
                                  </p:stCondLst>
                                  <p:childTnLst>
                                    <p:set>
                                      <p:cBhvr>
                                        <p:cTn id="200" dur="1" fill="hold">
                                          <p:stCondLst>
                                            <p:cond delay="0"/>
                                          </p:stCondLst>
                                        </p:cTn>
                                        <p:tgtEl>
                                          <p:spTgt spid="71"/>
                                        </p:tgtEl>
                                        <p:attrNameLst>
                                          <p:attrName>style.visibility</p:attrName>
                                        </p:attrNameLst>
                                      </p:cBhvr>
                                      <p:to>
                                        <p:strVal val="visible"/>
                                      </p:to>
                                    </p:set>
                                    <p:animEffect transition="in" filter="wipe(left)">
                                      <p:cBhvr>
                                        <p:cTn id="201" dur="1500"/>
                                        <p:tgtEl>
                                          <p:spTgt spid="71"/>
                                        </p:tgtEl>
                                      </p:cBhvr>
                                    </p:animEffect>
                                  </p:childTnLst>
                                </p:cTn>
                              </p:par>
                              <p:par>
                                <p:cTn id="202" presetID="22" presetClass="entr" presetSubtype="8" fill="hold" grpId="0" nodeType="withEffect">
                                  <p:stCondLst>
                                    <p:cond delay="2500"/>
                                  </p:stCondLst>
                                  <p:childTnLst>
                                    <p:set>
                                      <p:cBhvr>
                                        <p:cTn id="203" dur="1" fill="hold">
                                          <p:stCondLst>
                                            <p:cond delay="0"/>
                                          </p:stCondLst>
                                        </p:cTn>
                                        <p:tgtEl>
                                          <p:spTgt spid="79"/>
                                        </p:tgtEl>
                                        <p:attrNameLst>
                                          <p:attrName>style.visibility</p:attrName>
                                        </p:attrNameLst>
                                      </p:cBhvr>
                                      <p:to>
                                        <p:strVal val="visible"/>
                                      </p:to>
                                    </p:set>
                                    <p:animEffect transition="in" filter="wipe(left)">
                                      <p:cBhvr>
                                        <p:cTn id="204" dur="1400"/>
                                        <p:tgtEl>
                                          <p:spTgt spid="79"/>
                                        </p:tgtEl>
                                      </p:cBhvr>
                                    </p:animEffect>
                                  </p:childTnLst>
                                </p:cTn>
                              </p:par>
                              <p:par>
                                <p:cTn id="205" presetID="22" presetClass="entr" presetSubtype="2" fill="hold" grpId="0" nodeType="withEffect">
                                  <p:stCondLst>
                                    <p:cond delay="3500"/>
                                  </p:stCondLst>
                                  <p:childTnLst>
                                    <p:set>
                                      <p:cBhvr>
                                        <p:cTn id="206" dur="1" fill="hold">
                                          <p:stCondLst>
                                            <p:cond delay="0"/>
                                          </p:stCondLst>
                                        </p:cTn>
                                        <p:tgtEl>
                                          <p:spTgt spid="75"/>
                                        </p:tgtEl>
                                        <p:attrNameLst>
                                          <p:attrName>style.visibility</p:attrName>
                                        </p:attrNameLst>
                                      </p:cBhvr>
                                      <p:to>
                                        <p:strVal val="visible"/>
                                      </p:to>
                                    </p:set>
                                    <p:animEffect transition="in" filter="wipe(right)">
                                      <p:cBhvr>
                                        <p:cTn id="207" dur="1400"/>
                                        <p:tgtEl>
                                          <p:spTgt spid="75"/>
                                        </p:tgtEl>
                                      </p:cBhvr>
                                    </p:animEffect>
                                  </p:childTnLst>
                                </p:cTn>
                              </p:par>
                              <p:par>
                                <p:cTn id="208" presetID="22" presetClass="entr" presetSubtype="8" fill="hold" grpId="0" nodeType="withEffect">
                                  <p:stCondLst>
                                    <p:cond delay="4500"/>
                                  </p:stCondLst>
                                  <p:childTnLst>
                                    <p:set>
                                      <p:cBhvr>
                                        <p:cTn id="209" dur="1" fill="hold">
                                          <p:stCondLst>
                                            <p:cond delay="0"/>
                                          </p:stCondLst>
                                        </p:cTn>
                                        <p:tgtEl>
                                          <p:spTgt spid="81"/>
                                        </p:tgtEl>
                                        <p:attrNameLst>
                                          <p:attrName>style.visibility</p:attrName>
                                        </p:attrNameLst>
                                      </p:cBhvr>
                                      <p:to>
                                        <p:strVal val="visible"/>
                                      </p:to>
                                    </p:set>
                                    <p:animEffect transition="in" filter="wipe(left)">
                                      <p:cBhvr>
                                        <p:cTn id="210" dur="1400"/>
                                        <p:tgtEl>
                                          <p:spTgt spid="81"/>
                                        </p:tgtEl>
                                      </p:cBhvr>
                                    </p:animEffect>
                                  </p:childTnLst>
                                </p:cTn>
                              </p:par>
                              <p:par>
                                <p:cTn id="211" presetID="22" presetClass="entr" presetSubtype="8" fill="hold" grpId="0" nodeType="withEffect">
                                  <p:stCondLst>
                                    <p:cond delay="5250"/>
                                  </p:stCondLst>
                                  <p:childTnLst>
                                    <p:set>
                                      <p:cBhvr>
                                        <p:cTn id="212" dur="1" fill="hold">
                                          <p:stCondLst>
                                            <p:cond delay="0"/>
                                          </p:stCondLst>
                                        </p:cTn>
                                        <p:tgtEl>
                                          <p:spTgt spid="84"/>
                                        </p:tgtEl>
                                        <p:attrNameLst>
                                          <p:attrName>style.visibility</p:attrName>
                                        </p:attrNameLst>
                                      </p:cBhvr>
                                      <p:to>
                                        <p:strVal val="visible"/>
                                      </p:to>
                                    </p:set>
                                    <p:animEffect transition="in" filter="wipe(left)">
                                      <p:cBhvr>
                                        <p:cTn id="213" dur="1400"/>
                                        <p:tgtEl>
                                          <p:spTgt spid="84"/>
                                        </p:tgtEl>
                                      </p:cBhvr>
                                    </p:animEffect>
                                  </p:childTnLst>
                                </p:cTn>
                              </p:par>
                              <p:par>
                                <p:cTn id="214" presetID="22" presetClass="entr" presetSubtype="2" fill="hold" grpId="0" nodeType="withEffect">
                                  <p:stCondLst>
                                    <p:cond delay="6250"/>
                                  </p:stCondLst>
                                  <p:childTnLst>
                                    <p:set>
                                      <p:cBhvr>
                                        <p:cTn id="215" dur="1" fill="hold">
                                          <p:stCondLst>
                                            <p:cond delay="0"/>
                                          </p:stCondLst>
                                        </p:cTn>
                                        <p:tgtEl>
                                          <p:spTgt spid="82"/>
                                        </p:tgtEl>
                                        <p:attrNameLst>
                                          <p:attrName>style.visibility</p:attrName>
                                        </p:attrNameLst>
                                      </p:cBhvr>
                                      <p:to>
                                        <p:strVal val="visible"/>
                                      </p:to>
                                    </p:set>
                                    <p:animEffect transition="in" filter="wipe(right)">
                                      <p:cBhvr>
                                        <p:cTn id="216" dur="1400"/>
                                        <p:tgtEl>
                                          <p:spTgt spid="82"/>
                                        </p:tgtEl>
                                      </p:cBhvr>
                                    </p:animEffect>
                                  </p:childTnLst>
                                </p:cTn>
                              </p:par>
                              <p:par>
                                <p:cTn id="217" presetID="22" presetClass="entr" presetSubtype="8" fill="hold" grpId="0" nodeType="withEffect">
                                  <p:stCondLst>
                                    <p:cond delay="7000"/>
                                  </p:stCondLst>
                                  <p:childTnLst>
                                    <p:set>
                                      <p:cBhvr>
                                        <p:cTn id="218" dur="1" fill="hold">
                                          <p:stCondLst>
                                            <p:cond delay="0"/>
                                          </p:stCondLst>
                                        </p:cTn>
                                        <p:tgtEl>
                                          <p:spTgt spid="72"/>
                                        </p:tgtEl>
                                        <p:attrNameLst>
                                          <p:attrName>style.visibility</p:attrName>
                                        </p:attrNameLst>
                                      </p:cBhvr>
                                      <p:to>
                                        <p:strVal val="visible"/>
                                      </p:to>
                                    </p:set>
                                    <p:animEffect transition="in" filter="wipe(left)">
                                      <p:cBhvr>
                                        <p:cTn id="219" dur="1400"/>
                                        <p:tgtEl>
                                          <p:spTgt spid="72"/>
                                        </p:tgtEl>
                                      </p:cBhvr>
                                    </p:animEffect>
                                  </p:childTnLst>
                                </p:cTn>
                              </p:par>
                              <p:par>
                                <p:cTn id="220" presetID="22" presetClass="exit" presetSubtype="2" fill="hold" grpId="1" nodeType="withEffect">
                                  <p:stCondLst>
                                    <p:cond delay="5250"/>
                                  </p:stCondLst>
                                  <p:childTnLst>
                                    <p:animEffect transition="out" filter="wipe(right)">
                                      <p:cBhvr>
                                        <p:cTn id="221" dur="1500"/>
                                        <p:tgtEl>
                                          <p:spTgt spid="79"/>
                                        </p:tgtEl>
                                      </p:cBhvr>
                                    </p:animEffect>
                                    <p:set>
                                      <p:cBhvr>
                                        <p:cTn id="222" dur="1" fill="hold">
                                          <p:stCondLst>
                                            <p:cond delay="1499"/>
                                          </p:stCondLst>
                                        </p:cTn>
                                        <p:tgtEl>
                                          <p:spTgt spid="79"/>
                                        </p:tgtEl>
                                        <p:attrNameLst>
                                          <p:attrName>style.visibility</p:attrName>
                                        </p:attrNameLst>
                                      </p:cBhvr>
                                      <p:to>
                                        <p:strVal val="hidden"/>
                                      </p:to>
                                    </p:set>
                                  </p:childTnLst>
                                </p:cTn>
                              </p:par>
                              <p:par>
                                <p:cTn id="223" presetID="22" presetClass="exit" presetSubtype="2" fill="hold" grpId="1" nodeType="withEffect">
                                  <p:stCondLst>
                                    <p:cond delay="6000"/>
                                  </p:stCondLst>
                                  <p:childTnLst>
                                    <p:animEffect transition="out" filter="wipe(right)">
                                      <p:cBhvr>
                                        <p:cTn id="224" dur="1500"/>
                                        <p:tgtEl>
                                          <p:spTgt spid="75"/>
                                        </p:tgtEl>
                                      </p:cBhvr>
                                    </p:animEffect>
                                    <p:set>
                                      <p:cBhvr>
                                        <p:cTn id="225" dur="1" fill="hold">
                                          <p:stCondLst>
                                            <p:cond delay="1499"/>
                                          </p:stCondLst>
                                        </p:cTn>
                                        <p:tgtEl>
                                          <p:spTgt spid="75"/>
                                        </p:tgtEl>
                                        <p:attrNameLst>
                                          <p:attrName>style.visibility</p:attrName>
                                        </p:attrNameLst>
                                      </p:cBhvr>
                                      <p:to>
                                        <p:strVal val="hidden"/>
                                      </p:to>
                                    </p:set>
                                  </p:childTnLst>
                                </p:cTn>
                              </p:par>
                              <p:par>
                                <p:cTn id="226" presetID="22" presetClass="exit" presetSubtype="2" fill="hold" grpId="1" nodeType="withEffect">
                                  <p:stCondLst>
                                    <p:cond delay="6750"/>
                                  </p:stCondLst>
                                  <p:childTnLst>
                                    <p:animEffect transition="out" filter="wipe(right)">
                                      <p:cBhvr>
                                        <p:cTn id="227" dur="1500"/>
                                        <p:tgtEl>
                                          <p:spTgt spid="81"/>
                                        </p:tgtEl>
                                      </p:cBhvr>
                                    </p:animEffect>
                                    <p:set>
                                      <p:cBhvr>
                                        <p:cTn id="228" dur="1" fill="hold">
                                          <p:stCondLst>
                                            <p:cond delay="1499"/>
                                          </p:stCondLst>
                                        </p:cTn>
                                        <p:tgtEl>
                                          <p:spTgt spid="81"/>
                                        </p:tgtEl>
                                        <p:attrNameLst>
                                          <p:attrName>style.visibility</p:attrName>
                                        </p:attrNameLst>
                                      </p:cBhvr>
                                      <p:to>
                                        <p:strVal val="hidden"/>
                                      </p:to>
                                    </p:set>
                                  </p:childTnLst>
                                </p:cTn>
                              </p:par>
                              <p:par>
                                <p:cTn id="229" presetID="22" presetClass="exit" presetSubtype="2" fill="hold" grpId="1" nodeType="withEffect">
                                  <p:stCondLst>
                                    <p:cond delay="8000"/>
                                  </p:stCondLst>
                                  <p:childTnLst>
                                    <p:animEffect transition="out" filter="wipe(right)">
                                      <p:cBhvr>
                                        <p:cTn id="230" dur="1500"/>
                                        <p:tgtEl>
                                          <p:spTgt spid="84"/>
                                        </p:tgtEl>
                                      </p:cBhvr>
                                    </p:animEffect>
                                    <p:set>
                                      <p:cBhvr>
                                        <p:cTn id="231" dur="1" fill="hold">
                                          <p:stCondLst>
                                            <p:cond delay="1499"/>
                                          </p:stCondLst>
                                        </p:cTn>
                                        <p:tgtEl>
                                          <p:spTgt spid="84"/>
                                        </p:tgtEl>
                                        <p:attrNameLst>
                                          <p:attrName>style.visibility</p:attrName>
                                        </p:attrNameLst>
                                      </p:cBhvr>
                                      <p:to>
                                        <p:strVal val="hidden"/>
                                      </p:to>
                                    </p:set>
                                  </p:childTnLst>
                                </p:cTn>
                              </p:par>
                              <p:par>
                                <p:cTn id="232" presetID="22" presetClass="exit" presetSubtype="2" fill="hold" grpId="1" nodeType="withEffect">
                                  <p:stCondLst>
                                    <p:cond delay="8750"/>
                                  </p:stCondLst>
                                  <p:childTnLst>
                                    <p:animEffect transition="out" filter="wipe(right)">
                                      <p:cBhvr>
                                        <p:cTn id="233" dur="1500"/>
                                        <p:tgtEl>
                                          <p:spTgt spid="82"/>
                                        </p:tgtEl>
                                      </p:cBhvr>
                                    </p:animEffect>
                                    <p:set>
                                      <p:cBhvr>
                                        <p:cTn id="234" dur="1" fill="hold">
                                          <p:stCondLst>
                                            <p:cond delay="1499"/>
                                          </p:stCondLst>
                                        </p:cTn>
                                        <p:tgtEl>
                                          <p:spTgt spid="82"/>
                                        </p:tgtEl>
                                        <p:attrNameLst>
                                          <p:attrName>style.visibility</p:attrName>
                                        </p:attrNameLst>
                                      </p:cBhvr>
                                      <p:to>
                                        <p:strVal val="hidden"/>
                                      </p:to>
                                    </p:set>
                                  </p:childTnLst>
                                </p:cTn>
                              </p:par>
                              <p:par>
                                <p:cTn id="235" presetID="22" presetClass="exit" presetSubtype="2" fill="hold" grpId="1" nodeType="withEffect">
                                  <p:stCondLst>
                                    <p:cond delay="10000"/>
                                  </p:stCondLst>
                                  <p:childTnLst>
                                    <p:animEffect transition="out" filter="wipe(right)">
                                      <p:cBhvr>
                                        <p:cTn id="236" dur="1500"/>
                                        <p:tgtEl>
                                          <p:spTgt spid="72"/>
                                        </p:tgtEl>
                                      </p:cBhvr>
                                    </p:animEffect>
                                    <p:set>
                                      <p:cBhvr>
                                        <p:cTn id="237" dur="1" fill="hold">
                                          <p:stCondLst>
                                            <p:cond delay="1499"/>
                                          </p:stCondLst>
                                        </p:cTn>
                                        <p:tgtEl>
                                          <p:spTgt spid="72"/>
                                        </p:tgtEl>
                                        <p:attrNameLst>
                                          <p:attrName>style.visibility</p:attrName>
                                        </p:attrNameLst>
                                      </p:cBhvr>
                                      <p:to>
                                        <p:strVal val="hidden"/>
                                      </p:to>
                                    </p:set>
                                  </p:childTnLst>
                                </p:cTn>
                              </p:par>
                              <p:par>
                                <p:cTn id="238" presetID="22" presetClass="entr" presetSubtype="8" fill="hold" grpId="2" nodeType="withEffect">
                                  <p:stCondLst>
                                    <p:cond delay="9000"/>
                                  </p:stCondLst>
                                  <p:childTnLst>
                                    <p:set>
                                      <p:cBhvr>
                                        <p:cTn id="239" dur="1" fill="hold">
                                          <p:stCondLst>
                                            <p:cond delay="0"/>
                                          </p:stCondLst>
                                        </p:cTn>
                                        <p:tgtEl>
                                          <p:spTgt spid="79"/>
                                        </p:tgtEl>
                                        <p:attrNameLst>
                                          <p:attrName>style.visibility</p:attrName>
                                        </p:attrNameLst>
                                      </p:cBhvr>
                                      <p:to>
                                        <p:strVal val="visible"/>
                                      </p:to>
                                    </p:set>
                                    <p:animEffect transition="in" filter="wipe(left)">
                                      <p:cBhvr>
                                        <p:cTn id="240" dur="1500"/>
                                        <p:tgtEl>
                                          <p:spTgt spid="79"/>
                                        </p:tgtEl>
                                      </p:cBhvr>
                                    </p:animEffect>
                                  </p:childTnLst>
                                </p:cTn>
                              </p:par>
                              <p:par>
                                <p:cTn id="241" presetID="22" presetClass="entr" presetSubtype="8" fill="hold" grpId="2" nodeType="withEffect">
                                  <p:stCondLst>
                                    <p:cond delay="10000"/>
                                  </p:stCondLst>
                                  <p:childTnLst>
                                    <p:set>
                                      <p:cBhvr>
                                        <p:cTn id="242" dur="1" fill="hold">
                                          <p:stCondLst>
                                            <p:cond delay="0"/>
                                          </p:stCondLst>
                                        </p:cTn>
                                        <p:tgtEl>
                                          <p:spTgt spid="75"/>
                                        </p:tgtEl>
                                        <p:attrNameLst>
                                          <p:attrName>style.visibility</p:attrName>
                                        </p:attrNameLst>
                                      </p:cBhvr>
                                      <p:to>
                                        <p:strVal val="visible"/>
                                      </p:to>
                                    </p:set>
                                    <p:animEffect transition="in" filter="wipe(left)">
                                      <p:cBhvr>
                                        <p:cTn id="243" dur="1500"/>
                                        <p:tgtEl>
                                          <p:spTgt spid="75"/>
                                        </p:tgtEl>
                                      </p:cBhvr>
                                    </p:animEffect>
                                  </p:childTnLst>
                                </p:cTn>
                              </p:par>
                              <p:par>
                                <p:cTn id="244" presetID="22" presetClass="entr" presetSubtype="8" fill="hold" grpId="2" nodeType="withEffect">
                                  <p:stCondLst>
                                    <p:cond delay="10250"/>
                                  </p:stCondLst>
                                  <p:childTnLst>
                                    <p:set>
                                      <p:cBhvr>
                                        <p:cTn id="245" dur="1" fill="hold">
                                          <p:stCondLst>
                                            <p:cond delay="0"/>
                                          </p:stCondLst>
                                        </p:cTn>
                                        <p:tgtEl>
                                          <p:spTgt spid="81"/>
                                        </p:tgtEl>
                                        <p:attrNameLst>
                                          <p:attrName>style.visibility</p:attrName>
                                        </p:attrNameLst>
                                      </p:cBhvr>
                                      <p:to>
                                        <p:strVal val="visible"/>
                                      </p:to>
                                    </p:set>
                                    <p:animEffect transition="in" filter="wipe(left)">
                                      <p:cBhvr>
                                        <p:cTn id="246" dur="1500"/>
                                        <p:tgtEl>
                                          <p:spTgt spid="81"/>
                                        </p:tgtEl>
                                      </p:cBhvr>
                                    </p:animEffect>
                                  </p:childTnLst>
                                </p:cTn>
                              </p:par>
                              <p:par>
                                <p:cTn id="247" presetID="22" presetClass="entr" presetSubtype="2" fill="hold" grpId="2" nodeType="withEffect">
                                  <p:stCondLst>
                                    <p:cond delay="10750"/>
                                  </p:stCondLst>
                                  <p:childTnLst>
                                    <p:set>
                                      <p:cBhvr>
                                        <p:cTn id="248" dur="1" fill="hold">
                                          <p:stCondLst>
                                            <p:cond delay="0"/>
                                          </p:stCondLst>
                                        </p:cTn>
                                        <p:tgtEl>
                                          <p:spTgt spid="84"/>
                                        </p:tgtEl>
                                        <p:attrNameLst>
                                          <p:attrName>style.visibility</p:attrName>
                                        </p:attrNameLst>
                                      </p:cBhvr>
                                      <p:to>
                                        <p:strVal val="visible"/>
                                      </p:to>
                                    </p:set>
                                    <p:animEffect transition="in" filter="wipe(right)">
                                      <p:cBhvr>
                                        <p:cTn id="249" dur="1500"/>
                                        <p:tgtEl>
                                          <p:spTgt spid="84"/>
                                        </p:tgtEl>
                                      </p:cBhvr>
                                    </p:animEffect>
                                  </p:childTnLst>
                                </p:cTn>
                              </p:par>
                              <p:par>
                                <p:cTn id="250" presetID="22" presetClass="entr" presetSubtype="8" fill="hold" grpId="2" nodeType="withEffect">
                                  <p:stCondLst>
                                    <p:cond delay="11000"/>
                                  </p:stCondLst>
                                  <p:childTnLst>
                                    <p:set>
                                      <p:cBhvr>
                                        <p:cTn id="251" dur="1" fill="hold">
                                          <p:stCondLst>
                                            <p:cond delay="0"/>
                                          </p:stCondLst>
                                        </p:cTn>
                                        <p:tgtEl>
                                          <p:spTgt spid="82"/>
                                        </p:tgtEl>
                                        <p:attrNameLst>
                                          <p:attrName>style.visibility</p:attrName>
                                        </p:attrNameLst>
                                      </p:cBhvr>
                                      <p:to>
                                        <p:strVal val="visible"/>
                                      </p:to>
                                    </p:set>
                                    <p:animEffect transition="in" filter="wipe(left)">
                                      <p:cBhvr>
                                        <p:cTn id="252" dur="1500"/>
                                        <p:tgtEl>
                                          <p:spTgt spid="82"/>
                                        </p:tgtEl>
                                      </p:cBhvr>
                                    </p:animEffect>
                                  </p:childTnLst>
                                </p:cTn>
                              </p:par>
                              <p:par>
                                <p:cTn id="253" presetID="22" presetClass="entr" presetSubtype="8" fill="hold" grpId="2" nodeType="withEffect">
                                  <p:stCondLst>
                                    <p:cond delay="17000"/>
                                  </p:stCondLst>
                                  <p:childTnLst>
                                    <p:set>
                                      <p:cBhvr>
                                        <p:cTn id="254" dur="1" fill="hold">
                                          <p:stCondLst>
                                            <p:cond delay="0"/>
                                          </p:stCondLst>
                                        </p:cTn>
                                        <p:tgtEl>
                                          <p:spTgt spid="118"/>
                                        </p:tgtEl>
                                        <p:attrNameLst>
                                          <p:attrName>style.visibility</p:attrName>
                                        </p:attrNameLst>
                                      </p:cBhvr>
                                      <p:to>
                                        <p:strVal val="visible"/>
                                      </p:to>
                                    </p:set>
                                    <p:animEffect transition="in" filter="wipe(left)">
                                      <p:cBhvr>
                                        <p:cTn id="255" dur="1500"/>
                                        <p:tgtEl>
                                          <p:spTgt spid="118"/>
                                        </p:tgtEl>
                                      </p:cBhvr>
                                    </p:animEffect>
                                  </p:childTnLst>
                                </p:cTn>
                              </p:par>
                              <p:par>
                                <p:cTn id="256" presetID="22" presetClass="entr" presetSubtype="8" fill="hold" grpId="2" nodeType="withEffect">
                                  <p:stCondLst>
                                    <p:cond delay="11750"/>
                                  </p:stCondLst>
                                  <p:childTnLst>
                                    <p:set>
                                      <p:cBhvr>
                                        <p:cTn id="257" dur="1" fill="hold">
                                          <p:stCondLst>
                                            <p:cond delay="0"/>
                                          </p:stCondLst>
                                        </p:cTn>
                                        <p:tgtEl>
                                          <p:spTgt spid="72"/>
                                        </p:tgtEl>
                                        <p:attrNameLst>
                                          <p:attrName>style.visibility</p:attrName>
                                        </p:attrNameLst>
                                      </p:cBhvr>
                                      <p:to>
                                        <p:strVal val="visible"/>
                                      </p:to>
                                    </p:set>
                                    <p:animEffect transition="in" filter="wipe(left)">
                                      <p:cBhvr>
                                        <p:cTn id="258" dur="1500"/>
                                        <p:tgtEl>
                                          <p:spTgt spid="72"/>
                                        </p:tgtEl>
                                      </p:cBhvr>
                                    </p:animEffect>
                                  </p:childTnLst>
                                </p:cTn>
                              </p:par>
                              <p:par>
                                <p:cTn id="259" presetID="22" presetClass="entr" presetSubtype="8" fill="hold" grpId="0" nodeType="withEffect">
                                  <p:stCondLst>
                                    <p:cond delay="1750"/>
                                  </p:stCondLst>
                                  <p:childTnLst>
                                    <p:set>
                                      <p:cBhvr>
                                        <p:cTn id="260" dur="1" fill="hold">
                                          <p:stCondLst>
                                            <p:cond delay="0"/>
                                          </p:stCondLst>
                                        </p:cTn>
                                        <p:tgtEl>
                                          <p:spTgt spid="65"/>
                                        </p:tgtEl>
                                        <p:attrNameLst>
                                          <p:attrName>style.visibility</p:attrName>
                                        </p:attrNameLst>
                                      </p:cBhvr>
                                      <p:to>
                                        <p:strVal val="visible"/>
                                      </p:to>
                                    </p:set>
                                    <p:animEffect transition="in" filter="wipe(left)">
                                      <p:cBhvr>
                                        <p:cTn id="261" dur="1400"/>
                                        <p:tgtEl>
                                          <p:spTgt spid="65"/>
                                        </p:tgtEl>
                                      </p:cBhvr>
                                    </p:animEffect>
                                  </p:childTnLst>
                                </p:cTn>
                              </p:par>
                              <p:par>
                                <p:cTn id="262" presetID="22" presetClass="exit" presetSubtype="2" fill="hold" grpId="1" nodeType="withEffect">
                                  <p:stCondLst>
                                    <p:cond delay="6250"/>
                                  </p:stCondLst>
                                  <p:childTnLst>
                                    <p:animEffect transition="out" filter="wipe(right)">
                                      <p:cBhvr>
                                        <p:cTn id="263" dur="1500"/>
                                        <p:tgtEl>
                                          <p:spTgt spid="65"/>
                                        </p:tgtEl>
                                      </p:cBhvr>
                                    </p:animEffect>
                                    <p:set>
                                      <p:cBhvr>
                                        <p:cTn id="264" dur="1" fill="hold">
                                          <p:stCondLst>
                                            <p:cond delay="1499"/>
                                          </p:stCondLst>
                                        </p:cTn>
                                        <p:tgtEl>
                                          <p:spTgt spid="65"/>
                                        </p:tgtEl>
                                        <p:attrNameLst>
                                          <p:attrName>style.visibility</p:attrName>
                                        </p:attrNameLst>
                                      </p:cBhvr>
                                      <p:to>
                                        <p:strVal val="hidden"/>
                                      </p:to>
                                    </p:set>
                                  </p:childTnLst>
                                </p:cTn>
                              </p:par>
                              <p:par>
                                <p:cTn id="265" presetID="22" presetClass="entr" presetSubtype="8" fill="hold" grpId="2" nodeType="withEffect">
                                  <p:stCondLst>
                                    <p:cond delay="10500"/>
                                  </p:stCondLst>
                                  <p:childTnLst>
                                    <p:set>
                                      <p:cBhvr>
                                        <p:cTn id="266" dur="1" fill="hold">
                                          <p:stCondLst>
                                            <p:cond delay="0"/>
                                          </p:stCondLst>
                                        </p:cTn>
                                        <p:tgtEl>
                                          <p:spTgt spid="65"/>
                                        </p:tgtEl>
                                        <p:attrNameLst>
                                          <p:attrName>style.visibility</p:attrName>
                                        </p:attrNameLst>
                                      </p:cBhvr>
                                      <p:to>
                                        <p:strVal val="visible"/>
                                      </p:to>
                                    </p:set>
                                    <p:animEffect transition="in" filter="wipe(left)">
                                      <p:cBhvr>
                                        <p:cTn id="267" dur="1500"/>
                                        <p:tgtEl>
                                          <p:spTgt spid="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animBg="1"/>
      <p:bldP spid="65" grpId="1" animBg="1"/>
      <p:bldP spid="65" grpId="2" animBg="1"/>
      <p:bldP spid="66" grpId="0" animBg="1"/>
      <p:bldP spid="66" grpId="1" animBg="1"/>
      <p:bldP spid="66" grpId="2" animBg="1"/>
      <p:bldP spid="67" grpId="0" animBg="1"/>
      <p:bldP spid="67" grpId="1" animBg="1"/>
      <p:bldP spid="67" grpId="2" animBg="1"/>
      <p:bldP spid="68" grpId="0" animBg="1"/>
      <p:bldP spid="68" grpId="1" animBg="1"/>
      <p:bldP spid="68" grpId="2" animBg="1"/>
      <p:bldP spid="69" grpId="0" animBg="1"/>
      <p:bldP spid="69" grpId="1" animBg="1"/>
      <p:bldP spid="69" grpId="2" animBg="1"/>
      <p:bldP spid="70" grpId="0" animBg="1"/>
      <p:bldP spid="70" grpId="1" animBg="1"/>
      <p:bldP spid="70" grpId="2" animBg="1"/>
      <p:bldP spid="71" grpId="0" animBg="1"/>
      <p:bldP spid="71" grpId="1" animBg="1"/>
      <p:bldP spid="71" grpId="2" animBg="1"/>
      <p:bldP spid="72" grpId="0" animBg="1"/>
      <p:bldP spid="72" grpId="1" animBg="1"/>
      <p:bldP spid="72" grpId="2" animBg="1"/>
      <p:bldP spid="73" grpId="0" animBg="1"/>
      <p:bldP spid="73" grpId="1" animBg="1"/>
      <p:bldP spid="73" grpId="2" animBg="1"/>
      <p:bldP spid="74" grpId="0" animBg="1"/>
      <p:bldP spid="74" grpId="1" animBg="1"/>
      <p:bldP spid="74" grpId="2" animBg="1"/>
      <p:bldP spid="75" grpId="0" animBg="1"/>
      <p:bldP spid="75" grpId="1" animBg="1"/>
      <p:bldP spid="75" grpId="2" animBg="1"/>
      <p:bldP spid="76" grpId="0" animBg="1"/>
      <p:bldP spid="76" grpId="1" animBg="1"/>
      <p:bldP spid="76" grpId="2" animBg="1"/>
      <p:bldP spid="77" grpId="0" animBg="1"/>
      <p:bldP spid="77" grpId="1" animBg="1"/>
      <p:bldP spid="77" grpId="2" animBg="1"/>
      <p:bldP spid="78" grpId="0" animBg="1"/>
      <p:bldP spid="78" grpId="1" animBg="1"/>
      <p:bldP spid="78" grpId="2" animBg="1"/>
      <p:bldP spid="79" grpId="0" animBg="1"/>
      <p:bldP spid="79" grpId="1" animBg="1"/>
      <p:bldP spid="79" grpId="2" animBg="1"/>
      <p:bldP spid="80" grpId="0" animBg="1"/>
      <p:bldP spid="80" grpId="1" animBg="1"/>
      <p:bldP spid="80" grpId="2" animBg="1"/>
      <p:bldP spid="81" grpId="0" animBg="1"/>
      <p:bldP spid="81" grpId="1" animBg="1"/>
      <p:bldP spid="81" grpId="2" animBg="1"/>
      <p:bldP spid="82" grpId="0" animBg="1"/>
      <p:bldP spid="82" grpId="1" animBg="1"/>
      <p:bldP spid="82" grpId="2" animBg="1"/>
      <p:bldP spid="83" grpId="0" animBg="1"/>
      <p:bldP spid="83" grpId="1" animBg="1"/>
      <p:bldP spid="83" grpId="2" animBg="1"/>
      <p:bldP spid="84" grpId="0" animBg="1"/>
      <p:bldP spid="84" grpId="1" animBg="1"/>
      <p:bldP spid="84" grpId="2" animBg="1"/>
      <p:bldP spid="85" grpId="0" animBg="1"/>
      <p:bldP spid="85" grpId="1" animBg="1"/>
      <p:bldP spid="86" grpId="0" animBg="1"/>
      <p:bldP spid="86" grpId="1" animBg="1"/>
      <p:bldP spid="87" grpId="0" animBg="1"/>
      <p:bldP spid="87" grpId="1" animBg="1"/>
      <p:bldP spid="88" grpId="0" animBg="1"/>
      <p:bldP spid="88" grpId="1" animBg="1"/>
      <p:bldP spid="89" grpId="0" animBg="1"/>
      <p:bldP spid="89" grpId="1" animBg="1"/>
      <p:bldP spid="90" grpId="0" animBg="1"/>
      <p:bldP spid="90" grpId="1" animBg="1"/>
      <p:bldP spid="91" grpId="0" animBg="1"/>
      <p:bldP spid="91" grpId="1" animBg="1"/>
      <p:bldP spid="92" grpId="0" animBg="1"/>
      <p:bldP spid="92" grpId="1" animBg="1"/>
      <p:bldP spid="92" grpId="2" animBg="1"/>
      <p:bldP spid="117" grpId="0" animBg="1"/>
      <p:bldP spid="117" grpId="1" animBg="1"/>
      <p:bldP spid="118" grpId="0" animBg="1"/>
      <p:bldP spid="118" grpId="1" animBg="1"/>
      <p:bldP spid="118" grpId="2" animBg="1"/>
    </p:bld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type="obj" preserve="1">
  <p:cSld name="Code slide">
    <p:spTree>
      <p:nvGrpSpPr>
        <p:cNvPr id="1" name=""/>
        <p:cNvGrpSpPr/>
        <p:nvPr/>
      </p:nvGrpSpPr>
      <p:grpSpPr>
        <a:xfrm>
          <a:off x="0" y="0"/>
          <a:ext cx="0" cy="0"/>
          <a:chOff x="0" y="0"/>
          <a:chExt cx="0" cy="0"/>
        </a:xfrm>
      </p:grpSpPr>
      <p:sp>
        <p:nvSpPr>
          <p:cNvPr id="4" name="Rectangle 3"/>
          <p:cNvSpPr/>
          <p:nvPr userDrawn="1"/>
        </p:nvSpPr>
        <p:spPr>
          <a:xfrm>
            <a:off x="9476509" y="6043353"/>
            <a:ext cx="2715491" cy="814647"/>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pic>
        <p:nvPicPr>
          <p:cNvPr id="1026" name="Picture 2" descr="C:\Users\wmmih\AppData\Local\Temp\SNAGHTML126d09d4.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16569" y="1825625"/>
            <a:ext cx="11975431" cy="5080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hasCustomPrompt="1"/>
          </p:nvPr>
        </p:nvSpPr>
        <p:spPr>
          <a:xfrm>
            <a:off x="838200" y="2019299"/>
            <a:ext cx="10515600" cy="4157663"/>
          </a:xfrm>
        </p:spPr>
        <p:txBody>
          <a:bodyPr/>
          <a:lstStyle>
            <a:lvl1pPr marL="0" indent="0">
              <a:buNone/>
              <a:defRPr/>
            </a:lvl1pPr>
          </a:lstStyle>
          <a:p>
            <a:r>
              <a:rPr lang="en-US" sz="2800" dirty="0">
                <a:solidFill>
                  <a:srgbClr val="0000FF"/>
                </a:solidFill>
                <a:latin typeface="Consolas" panose="020B0609020204030204" pitchFamily="49" charset="0"/>
              </a:rPr>
              <a:t>function</a:t>
            </a:r>
            <a:r>
              <a:rPr lang="en-US" sz="2800" dirty="0">
                <a:solidFill>
                  <a:srgbClr val="000000"/>
                </a:solidFill>
                <a:latin typeface="Consolas" panose="020B0609020204030204" pitchFamily="49" charset="0"/>
              </a:rPr>
              <a:t> foo(x) {</a:t>
            </a:r>
          </a:p>
          <a:p>
            <a:r>
              <a:rPr lang="en-US" sz="2800" dirty="0">
                <a:solidFill>
                  <a:srgbClr val="000000"/>
                </a:solidFill>
                <a:latin typeface="Consolas" panose="020B0609020204030204" pitchFamily="49" charset="0"/>
              </a:rPr>
              <a:t>    </a:t>
            </a:r>
            <a:r>
              <a:rPr lang="en-US" sz="2800" dirty="0">
                <a:solidFill>
                  <a:srgbClr val="0000FF"/>
                </a:solidFill>
                <a:latin typeface="Consolas" panose="020B0609020204030204" pitchFamily="49" charset="0"/>
              </a:rPr>
              <a:t>return</a:t>
            </a:r>
            <a:r>
              <a:rPr lang="en-US" sz="2800" dirty="0">
                <a:solidFill>
                  <a:srgbClr val="000000"/>
                </a:solidFill>
                <a:latin typeface="Consolas" panose="020B0609020204030204" pitchFamily="49" charset="0"/>
              </a:rPr>
              <a:t> ++x;</a:t>
            </a:r>
          </a:p>
          <a:p>
            <a:r>
              <a:rPr lang="en-US" sz="2800" dirty="0">
                <a:solidFill>
                  <a:srgbClr val="000000"/>
                </a:solidFill>
                <a:latin typeface="Consolas" panose="020B0609020204030204" pitchFamily="49" charset="0"/>
              </a:rPr>
              <a:t>}</a:t>
            </a:r>
            <a:endParaRPr lang="en-US" dirty="0"/>
          </a:p>
        </p:txBody>
      </p:sp>
    </p:spTree>
    <p:extLst>
      <p:ext uri="{BB962C8B-B14F-4D97-AF65-F5344CB8AC3E}">
        <p14:creationId xmlns:p14="http://schemas.microsoft.com/office/powerpoint/2010/main" val="294779941"/>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1_Code slide fullpage">
    <p:spTree>
      <p:nvGrpSpPr>
        <p:cNvPr id="1" name=""/>
        <p:cNvGrpSpPr/>
        <p:nvPr/>
      </p:nvGrpSpPr>
      <p:grpSpPr>
        <a:xfrm>
          <a:off x="0" y="0"/>
          <a:ext cx="0" cy="0"/>
          <a:chOff x="0" y="0"/>
          <a:chExt cx="0" cy="0"/>
        </a:xfrm>
      </p:grpSpPr>
      <p:sp>
        <p:nvSpPr>
          <p:cNvPr id="4" name="Rectangle 3"/>
          <p:cNvSpPr/>
          <p:nvPr userDrawn="1"/>
        </p:nvSpPr>
        <p:spPr>
          <a:xfrm>
            <a:off x="9476509" y="6043353"/>
            <a:ext cx="2715491" cy="814647"/>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pic>
        <p:nvPicPr>
          <p:cNvPr id="1026" name="Picture 2" descr="C:\Users\wmmih\AppData\Local\Temp\SNAGHTML126d09d4.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16569" y="114300"/>
            <a:ext cx="11975431" cy="6791325"/>
          </a:xfrm>
          <a:prstGeom prst="rect">
            <a:avLst/>
          </a:prstGeom>
          <a:noFill/>
          <a:extLst>
            <a:ext uri="{909E8E84-426E-40DD-AFC4-6F175D3DCCD1}">
              <a14:hiddenFill xmlns:a14="http://schemas.microsoft.com/office/drawing/2010/main">
                <a:solidFill>
                  <a:srgbClr val="FFFFFF"/>
                </a:solidFill>
              </a14:hiddenFill>
            </a:ext>
          </a:extLst>
        </p:spPr>
      </p:pic>
      <p:sp>
        <p:nvSpPr>
          <p:cNvPr id="3" name="Content Placeholder 2"/>
          <p:cNvSpPr>
            <a:spLocks noGrp="1"/>
          </p:cNvSpPr>
          <p:nvPr>
            <p:ph idx="1" hasCustomPrompt="1"/>
          </p:nvPr>
        </p:nvSpPr>
        <p:spPr>
          <a:xfrm>
            <a:off x="635000" y="457200"/>
            <a:ext cx="11290300" cy="6019799"/>
          </a:xfrm>
        </p:spPr>
        <p:txBody>
          <a:bodyPr/>
          <a:lstStyle>
            <a:lvl1pPr marL="0" indent="0">
              <a:buNone/>
              <a:defRPr/>
            </a:lvl1pPr>
          </a:lstStyle>
          <a:p>
            <a:r>
              <a:rPr lang="en-US" sz="2800" dirty="0">
                <a:solidFill>
                  <a:srgbClr val="0000FF"/>
                </a:solidFill>
                <a:latin typeface="Consolas" panose="020B0609020204030204" pitchFamily="49" charset="0"/>
              </a:rPr>
              <a:t>function</a:t>
            </a:r>
            <a:r>
              <a:rPr lang="en-US" sz="2800" dirty="0">
                <a:solidFill>
                  <a:srgbClr val="000000"/>
                </a:solidFill>
                <a:latin typeface="Consolas" panose="020B0609020204030204" pitchFamily="49" charset="0"/>
              </a:rPr>
              <a:t> foo(x) {</a:t>
            </a:r>
          </a:p>
          <a:p>
            <a:r>
              <a:rPr lang="en-US" sz="2800" dirty="0">
                <a:solidFill>
                  <a:srgbClr val="000000"/>
                </a:solidFill>
                <a:latin typeface="Consolas" panose="020B0609020204030204" pitchFamily="49" charset="0"/>
              </a:rPr>
              <a:t>    </a:t>
            </a:r>
            <a:r>
              <a:rPr lang="en-US" sz="2800" dirty="0">
                <a:solidFill>
                  <a:srgbClr val="0000FF"/>
                </a:solidFill>
                <a:latin typeface="Consolas" panose="020B0609020204030204" pitchFamily="49" charset="0"/>
              </a:rPr>
              <a:t>return</a:t>
            </a:r>
            <a:r>
              <a:rPr lang="en-US" sz="2800" dirty="0">
                <a:solidFill>
                  <a:srgbClr val="000000"/>
                </a:solidFill>
                <a:latin typeface="Consolas" panose="020B0609020204030204" pitchFamily="49" charset="0"/>
              </a:rPr>
              <a:t> ++x;</a:t>
            </a:r>
          </a:p>
          <a:p>
            <a:r>
              <a:rPr lang="en-US" sz="2800" dirty="0">
                <a:solidFill>
                  <a:srgbClr val="000000"/>
                </a:solidFill>
                <a:latin typeface="Consolas" panose="020B0609020204030204" pitchFamily="49" charset="0"/>
              </a:rPr>
              <a:t>}</a:t>
            </a:r>
            <a:endParaRPr lang="en-US" dirty="0"/>
          </a:p>
        </p:txBody>
      </p:sp>
    </p:spTree>
    <p:extLst>
      <p:ext uri="{BB962C8B-B14F-4D97-AF65-F5344CB8AC3E}">
        <p14:creationId xmlns:p14="http://schemas.microsoft.com/office/powerpoint/2010/main" val="4220182068"/>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136812837"/>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1495266"/>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7609940"/>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838200" y="6356350"/>
            <a:ext cx="2743200" cy="365125"/>
          </a:xfrm>
          <a:prstGeom prst="rect">
            <a:avLst/>
          </a:prstGeom>
        </p:spPr>
        <p:txBody>
          <a:bodyPr/>
          <a:lstStyle/>
          <a:p>
            <a:fld id="{BA60C446-6CB1-44A3-A74E-6FB4AF0231F5}" type="datetimeFigureOut">
              <a:rPr lang="en-US" smtClean="0"/>
              <a:t>4/30/2019</a:t>
            </a:fld>
            <a:endParaRPr lang="en-US"/>
          </a:p>
        </p:txBody>
      </p:sp>
      <p:sp>
        <p:nvSpPr>
          <p:cNvPr id="4" name="Footer Placeholder 3"/>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8610600" y="6356350"/>
            <a:ext cx="2743200" cy="365125"/>
          </a:xfrm>
          <a:prstGeom prst="rect">
            <a:avLst/>
          </a:prstGeom>
        </p:spPr>
        <p:txBody>
          <a:bodyPr/>
          <a:lstStyle/>
          <a:p>
            <a:fld id="{0D3A142A-D24A-413B-90C5-E160E7C05A0A}" type="slidenum">
              <a:rPr lang="en-US" smtClean="0"/>
              <a:t>‹#›</a:t>
            </a:fld>
            <a:endParaRPr lang="en-US"/>
          </a:p>
        </p:txBody>
      </p:sp>
    </p:spTree>
    <p:extLst>
      <p:ext uri="{BB962C8B-B14F-4D97-AF65-F5344CB8AC3E}">
        <p14:creationId xmlns:p14="http://schemas.microsoft.com/office/powerpoint/2010/main" val="1135980005"/>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1106644"/>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1390429242"/>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3418549571"/>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603110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tx1"/>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tx1"/>
                </a:solidFill>
                <a:latin typeface="Arial"/>
                <a:cs typeface="Arial"/>
              </a:defRPr>
            </a:lvl1pPr>
          </a:lstStyle>
          <a:p>
            <a:r>
              <a:rPr lang="nl-NL"/>
              <a:t>Klik om de stijl te bewerken</a:t>
            </a:r>
            <a:endParaRPr lang="fr-FR"/>
          </a:p>
        </p:txBody>
      </p:sp>
      <p:cxnSp>
        <p:nvCxnSpPr>
          <p:cNvPr id="8" name="Connecteur droit 7"/>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7" name="Image 6"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3755170458"/>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34994128"/>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155426378"/>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1"/>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1"/>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229568382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7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tx2"/>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tx2"/>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37586164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hapter">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prstClr val="white"/>
              </a:solidFill>
            </a:endParaRPr>
          </a:p>
        </p:txBody>
      </p:sp>
      <p:sp>
        <p:nvSpPr>
          <p:cNvPr id="6" name="Titre 5"/>
          <p:cNvSpPr>
            <a:spLocks noGrp="1"/>
          </p:cNvSpPr>
          <p:nvPr>
            <p:ph type="title"/>
          </p:nvPr>
        </p:nvSpPr>
        <p:spPr>
          <a:xfrm>
            <a:off x="838200" y="3653220"/>
            <a:ext cx="10515600" cy="1187457"/>
          </a:xfrm>
          <a:prstGeom prst="rect">
            <a:avLst/>
          </a:prstGeom>
        </p:spPr>
        <p:txBody>
          <a:bodyPr anchor="b">
            <a:normAutofit/>
          </a:bodyPr>
          <a:lstStyle>
            <a:lvl1pPr>
              <a:defRPr sz="3200">
                <a:solidFill>
                  <a:schemeClr val="accent1"/>
                </a:solidFill>
              </a:defRPr>
            </a:lvl1pPr>
          </a:lstStyle>
          <a:p>
            <a:r>
              <a:rPr lang="en-GB"/>
              <a:t>Modifiez le style du titre</a:t>
            </a:r>
          </a:p>
        </p:txBody>
      </p:sp>
      <p:sp>
        <p:nvSpPr>
          <p:cNvPr id="7" name="Rectangle 6"/>
          <p:cNvSpPr/>
          <p:nvPr userDrawn="1"/>
        </p:nvSpPr>
        <p:spPr>
          <a:xfrm>
            <a:off x="-2225" y="606634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
        <p:nvSpPr>
          <p:cNvPr id="3" name="Espace réservé du texte 2"/>
          <p:cNvSpPr>
            <a:spLocks noGrp="1"/>
          </p:cNvSpPr>
          <p:nvPr>
            <p:ph type="body" sz="quarter" idx="11"/>
          </p:nvPr>
        </p:nvSpPr>
        <p:spPr>
          <a:xfrm>
            <a:off x="838200" y="4813583"/>
            <a:ext cx="10543117" cy="983968"/>
          </a:xfrm>
        </p:spPr>
        <p:txBody>
          <a:bodyPr/>
          <a:lstStyle>
            <a:lvl1pPr marL="0" indent="0" algn="ctr">
              <a:buFontTx/>
              <a:buNone/>
              <a:defRPr sz="2400">
                <a:solidFill>
                  <a:schemeClr val="accent2"/>
                </a:solidFill>
              </a:defRPr>
            </a:lvl1pPr>
          </a:lstStyle>
          <a:p>
            <a:pPr lvl="0"/>
            <a:endParaRPr lang="en-GB"/>
          </a:p>
        </p:txBody>
      </p:sp>
      <p:grpSp>
        <p:nvGrpSpPr>
          <p:cNvPr id="19" name="Groupe 18" hidden="1"/>
          <p:cNvGrpSpPr/>
          <p:nvPr userDrawn="1"/>
        </p:nvGrpSpPr>
        <p:grpSpPr>
          <a:xfrm rot="20057793">
            <a:off x="-613277" y="1966879"/>
            <a:ext cx="1226557" cy="1226557"/>
            <a:chOff x="4580002" y="2570126"/>
            <a:chExt cx="439952" cy="439952"/>
          </a:xfrm>
        </p:grpSpPr>
        <p:sp>
          <p:nvSpPr>
            <p:cNvPr id="32" name="Ellipse 31"/>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33"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34"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5"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6"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7"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8"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sp>
        <p:nvSpPr>
          <p:cNvPr id="111" name="Espace réservé pour une image  110"/>
          <p:cNvSpPr>
            <a:spLocks noGrp="1"/>
          </p:cNvSpPr>
          <p:nvPr>
            <p:ph type="pic" sz="quarter" idx="10"/>
          </p:nvPr>
        </p:nvSpPr>
        <p:spPr>
          <a:xfrm>
            <a:off x="0" y="2"/>
            <a:ext cx="12188317" cy="3343148"/>
          </a:xfrm>
          <a:custGeom>
            <a:avLst/>
            <a:gdLst>
              <a:gd name="connsiteX0" fmla="*/ 0 w 9141238"/>
              <a:gd name="connsiteY0" fmla="*/ 0 h 2507361"/>
              <a:gd name="connsiteX1" fmla="*/ 9141238 w 9141238"/>
              <a:gd name="connsiteY1" fmla="*/ 10160 h 2507361"/>
              <a:gd name="connsiteX2" fmla="*/ 9133840 w 9141238"/>
              <a:gd name="connsiteY2" fmla="*/ 2170430 h 2507361"/>
              <a:gd name="connsiteX3" fmla="*/ 2762782 w 9141238"/>
              <a:gd name="connsiteY3" fmla="*/ 2507361 h 2507361"/>
              <a:gd name="connsiteX4" fmla="*/ 2746139 w 9141238"/>
              <a:gd name="connsiteY4" fmla="*/ 2442020 h 2507361"/>
              <a:gd name="connsiteX5" fmla="*/ 2416736 w 9141238"/>
              <a:gd name="connsiteY5" fmla="*/ 2326687 h 2507361"/>
              <a:gd name="connsiteX6" fmla="*/ 2338592 w 9141238"/>
              <a:gd name="connsiteY6" fmla="*/ 2385825 h 2507361"/>
              <a:gd name="connsiteX7" fmla="*/ 2292338 w 9141238"/>
              <a:gd name="connsiteY7" fmla="*/ 2464954 h 2507361"/>
              <a:gd name="connsiteX8" fmla="*/ 454666 w 9141238"/>
              <a:gd name="connsiteY8" fmla="*/ 2041515 h 2507361"/>
              <a:gd name="connsiteX9" fmla="*/ 469157 w 9141238"/>
              <a:gd name="connsiteY9" fmla="*/ 1942001 h 2507361"/>
              <a:gd name="connsiteX10" fmla="*/ 424076 w 9141238"/>
              <a:gd name="connsiteY10" fmla="*/ 1765003 h 2507361"/>
              <a:gd name="connsiteX11" fmla="*/ 75929 w 9141238"/>
              <a:gd name="connsiteY11" fmla="*/ 1509291 h 2507361"/>
              <a:gd name="connsiteX12" fmla="*/ 0 w 9141238"/>
              <a:gd name="connsiteY12" fmla="*/ 1505592 h 2507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1238" h="2507361">
                <a:moveTo>
                  <a:pt x="0" y="0"/>
                </a:moveTo>
                <a:lnTo>
                  <a:pt x="9141238" y="10160"/>
                </a:lnTo>
                <a:lnTo>
                  <a:pt x="9133840" y="2170430"/>
                </a:lnTo>
                <a:lnTo>
                  <a:pt x="2762782" y="2507361"/>
                </a:lnTo>
                <a:lnTo>
                  <a:pt x="2746139" y="2442020"/>
                </a:lnTo>
                <a:cubicBezTo>
                  <a:pt x="2687025" y="2319210"/>
                  <a:pt x="2539547" y="2267574"/>
                  <a:pt x="2416736" y="2326687"/>
                </a:cubicBezTo>
                <a:cubicBezTo>
                  <a:pt x="2386034" y="2341466"/>
                  <a:pt x="2359780" y="2361767"/>
                  <a:pt x="2338592" y="2385825"/>
                </a:cubicBezTo>
                <a:lnTo>
                  <a:pt x="2292338" y="2464954"/>
                </a:lnTo>
                <a:lnTo>
                  <a:pt x="454666" y="2041515"/>
                </a:lnTo>
                <a:lnTo>
                  <a:pt x="469157" y="1942001"/>
                </a:lnTo>
                <a:cubicBezTo>
                  <a:pt x="466262" y="1882322"/>
                  <a:pt x="451619" y="1822226"/>
                  <a:pt x="424076" y="1765003"/>
                </a:cubicBezTo>
                <a:cubicBezTo>
                  <a:pt x="355216" y="1621945"/>
                  <a:pt x="222023" y="1530705"/>
                  <a:pt x="75929" y="1509291"/>
                </a:cubicBezTo>
                <a:lnTo>
                  <a:pt x="0" y="1505592"/>
                </a:lnTo>
                <a:close/>
              </a:path>
            </a:pathLst>
          </a:custGeom>
          <a:solidFill>
            <a:schemeClr val="bg1">
              <a:lumMod val="95000"/>
            </a:schemeClr>
          </a:solidFill>
        </p:spPr>
        <p:txBody>
          <a:bodyPr wrap="square">
            <a:noAutofit/>
          </a:bodyPr>
          <a:lstStyle>
            <a:lvl1pPr>
              <a:defRPr>
                <a:noFill/>
              </a:defRPr>
            </a:lvl1pPr>
          </a:lstStyle>
          <a:p>
            <a:endParaRPr lang="en-GB"/>
          </a:p>
        </p:txBody>
      </p:sp>
      <p:grpSp>
        <p:nvGrpSpPr>
          <p:cNvPr id="94" name="Groupe 93"/>
          <p:cNvGrpSpPr/>
          <p:nvPr userDrawn="1"/>
        </p:nvGrpSpPr>
        <p:grpSpPr>
          <a:xfrm rot="20057793">
            <a:off x="3035980" y="3068823"/>
            <a:ext cx="658099" cy="658099"/>
            <a:chOff x="4580002" y="2570126"/>
            <a:chExt cx="439952" cy="439952"/>
          </a:xfrm>
        </p:grpSpPr>
        <p:sp>
          <p:nvSpPr>
            <p:cNvPr id="95" name="Ellipse 94"/>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96"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97"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8"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9"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0"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1"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102" name="Groupe 101"/>
          <p:cNvGrpSpPr/>
          <p:nvPr userDrawn="1"/>
        </p:nvGrpSpPr>
        <p:grpSpPr>
          <a:xfrm rot="20057793">
            <a:off x="-600439" y="2005178"/>
            <a:ext cx="1226557" cy="1226557"/>
            <a:chOff x="4580002" y="2570126"/>
            <a:chExt cx="439952" cy="439952"/>
          </a:xfrm>
        </p:grpSpPr>
        <p:sp>
          <p:nvSpPr>
            <p:cNvPr id="103" name="Ellipse 102"/>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104"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105"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6"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7"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8"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9"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pic>
        <p:nvPicPr>
          <p:cNvPr id="44" name="Image 6" descr="Log_AXIANS_CRVB.jpg">
            <a:extLst>
              <a:ext uri="{FF2B5EF4-FFF2-40B4-BE49-F238E27FC236}">
                <a16:creationId xmlns:a16="http://schemas.microsoft.com/office/drawing/2014/main" id="{FCC66C4E-ED9E-46A4-8FEA-72EC6EDBE1CA}"/>
              </a:ext>
            </a:extLst>
          </p:cNvPr>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13662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3"/>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3"/>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36299115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4"/>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4"/>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415999404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5"/>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5"/>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245700469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5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2"/>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2"/>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57534840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6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6"/>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6"/>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168381329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65905" cy="1103387"/>
          </a:xfrm>
        </p:spPr>
        <p:txBody>
          <a:bodyPr/>
          <a:lstStyle/>
          <a:p>
            <a:r>
              <a:rPr lang="fr-FR" err="1"/>
              <a:t>titel</a:t>
            </a:r>
            <a:endParaRPr lang="fr-FR"/>
          </a:p>
        </p:txBody>
      </p:sp>
      <p:sp>
        <p:nvSpPr>
          <p:cNvPr id="3" name="Espace réservé du contenu 2"/>
          <p:cNvSpPr>
            <a:spLocks noGrp="1"/>
          </p:cNvSpPr>
          <p:nvPr>
            <p:ph idx="1"/>
          </p:nvPr>
        </p:nvSpPr>
        <p:spPr>
          <a:xfrm>
            <a:off x="345585" y="1612901"/>
            <a:ext cx="11404033" cy="4533748"/>
          </a:xfrm>
        </p:spPr>
        <p:txBody>
          <a:bodyPr/>
          <a:lstStyle/>
          <a:p>
            <a:pPr lvl="0"/>
            <a:r>
              <a:rPr lang="nl-NL"/>
              <a:t>Klik om de modelstijlen te bewerken</a:t>
            </a:r>
          </a:p>
          <a:p>
            <a:pPr lvl="1"/>
            <a:r>
              <a:rPr lang="nl-NL"/>
              <a:t>Tweede niveau</a:t>
            </a:r>
          </a:p>
          <a:p>
            <a:pPr lvl="2"/>
            <a:r>
              <a:rPr lang="nl-NL"/>
              <a:t>Derde niveau</a:t>
            </a:r>
          </a:p>
          <a:p>
            <a:pPr lvl="3"/>
            <a:r>
              <a:rPr lang="nl-NL"/>
              <a:t>Vierde niveau</a:t>
            </a:r>
          </a:p>
        </p:txBody>
      </p:sp>
    </p:spTree>
    <p:extLst>
      <p:ext uri="{BB962C8B-B14F-4D97-AF65-F5344CB8AC3E}">
        <p14:creationId xmlns:p14="http://schemas.microsoft.com/office/powerpoint/2010/main" val="194313592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Graphiqu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65905" cy="1103387"/>
          </a:xfrm>
        </p:spPr>
        <p:txBody>
          <a:bodyPr/>
          <a:lstStyle/>
          <a:p>
            <a:r>
              <a:rPr lang="fr-FR" err="1"/>
              <a:t>titel</a:t>
            </a:r>
            <a:endParaRPr lang="fr-FR"/>
          </a:p>
        </p:txBody>
      </p:sp>
      <p:sp>
        <p:nvSpPr>
          <p:cNvPr id="9" name="Espace réservé du graphique 8"/>
          <p:cNvSpPr>
            <a:spLocks noGrp="1"/>
          </p:cNvSpPr>
          <p:nvPr>
            <p:ph type="chart" sz="quarter" idx="12"/>
          </p:nvPr>
        </p:nvSpPr>
        <p:spPr>
          <a:xfrm>
            <a:off x="342900" y="1611440"/>
            <a:ext cx="11406717" cy="4704593"/>
          </a:xfrm>
        </p:spPr>
        <p:txBody>
          <a:bodyPr>
            <a:normAutofit/>
          </a:bodyPr>
          <a:lstStyle>
            <a:lvl1pPr>
              <a:defRPr sz="2133"/>
            </a:lvl1pPr>
          </a:lstStyle>
          <a:p>
            <a:r>
              <a:rPr lang="nl-NL"/>
              <a:t>Klik op het pictogram als u een grafiek wilt toevoegen</a:t>
            </a:r>
            <a:endParaRPr lang="fr-FR"/>
          </a:p>
        </p:txBody>
      </p:sp>
    </p:spTree>
    <p:extLst>
      <p:ext uri="{BB962C8B-B14F-4D97-AF65-F5344CB8AC3E}">
        <p14:creationId xmlns:p14="http://schemas.microsoft.com/office/powerpoint/2010/main" val="295818997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e et Graphiqu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65905" cy="1103387"/>
          </a:xfrm>
        </p:spPr>
        <p:txBody>
          <a:bodyPr/>
          <a:lstStyle>
            <a:lvl1pPr>
              <a:defRPr/>
            </a:lvl1pPr>
          </a:lstStyle>
          <a:p>
            <a:r>
              <a:rPr lang="fr-FR" err="1"/>
              <a:t>titel</a:t>
            </a:r>
            <a:endParaRPr lang="fr-FR"/>
          </a:p>
        </p:txBody>
      </p:sp>
      <p:sp>
        <p:nvSpPr>
          <p:cNvPr id="4" name="Espace réservé du contenu 3"/>
          <p:cNvSpPr>
            <a:spLocks noGrp="1"/>
          </p:cNvSpPr>
          <p:nvPr>
            <p:ph sz="half" idx="2"/>
          </p:nvPr>
        </p:nvSpPr>
        <p:spPr>
          <a:xfrm>
            <a:off x="343859" y="1612900"/>
            <a:ext cx="11405760" cy="548672"/>
          </a:xfrm>
        </p:spPr>
        <p:txBody>
          <a:bodyPr>
            <a:noAutofit/>
          </a:bodyPr>
          <a:lstStyle>
            <a:lvl1pPr>
              <a:defRPr sz="2133"/>
            </a:lvl1pPr>
            <a:lvl2pPr>
              <a:defRPr sz="1867"/>
            </a:lvl2pPr>
            <a:lvl3pPr>
              <a:defRPr sz="1600"/>
            </a:lvl3pPr>
            <a:lvl4pPr>
              <a:defRPr sz="1467"/>
            </a:lvl4pPr>
            <a:lvl5pPr>
              <a:defRPr sz="1467"/>
            </a:lvl5pPr>
            <a:lvl6pPr>
              <a:defRPr sz="2133"/>
            </a:lvl6pPr>
            <a:lvl7pPr>
              <a:defRPr sz="2133"/>
            </a:lvl7pPr>
            <a:lvl8pPr>
              <a:defRPr sz="2133"/>
            </a:lvl8pPr>
            <a:lvl9pPr>
              <a:defRPr sz="2133"/>
            </a:lvl9pPr>
          </a:lstStyle>
          <a:p>
            <a:pPr lvl="0"/>
            <a:r>
              <a:rPr lang="nl-NL"/>
              <a:t>Klik om de modelstijlen te bewerken</a:t>
            </a:r>
          </a:p>
          <a:p>
            <a:pPr lvl="1"/>
            <a:r>
              <a:rPr lang="nl-NL"/>
              <a:t>Tweede niveau</a:t>
            </a:r>
          </a:p>
          <a:p>
            <a:pPr lvl="2"/>
            <a:r>
              <a:rPr lang="nl-NL"/>
              <a:t>Derde niveau</a:t>
            </a:r>
          </a:p>
          <a:p>
            <a:pPr lvl="3"/>
            <a:r>
              <a:rPr lang="nl-NL"/>
              <a:t>Vierde niveau</a:t>
            </a:r>
          </a:p>
        </p:txBody>
      </p:sp>
      <p:sp>
        <p:nvSpPr>
          <p:cNvPr id="11" name="Espace réservé du graphique 10"/>
          <p:cNvSpPr>
            <a:spLocks noGrp="1"/>
          </p:cNvSpPr>
          <p:nvPr>
            <p:ph type="chart" sz="quarter" idx="13"/>
          </p:nvPr>
        </p:nvSpPr>
        <p:spPr>
          <a:xfrm>
            <a:off x="342902" y="2178172"/>
            <a:ext cx="11406716" cy="3889253"/>
          </a:xfrm>
        </p:spPr>
        <p:txBody>
          <a:bodyPr/>
          <a:lstStyle/>
          <a:p>
            <a:r>
              <a:rPr lang="nl-NL"/>
              <a:t>Klik op het pictogram als u een grafiek wilt toevoegen</a:t>
            </a:r>
            <a:endParaRPr lang="fr-FR"/>
          </a:p>
        </p:txBody>
      </p:sp>
    </p:spTree>
    <p:extLst>
      <p:ext uri="{BB962C8B-B14F-4D97-AF65-F5344CB8AC3E}">
        <p14:creationId xmlns:p14="http://schemas.microsoft.com/office/powerpoint/2010/main" val="119474909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ableau">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p>
            <a:r>
              <a:rPr lang="fr-FR" err="1"/>
              <a:t>titel</a:t>
            </a:r>
            <a:endParaRPr lang="fr-FR"/>
          </a:p>
        </p:txBody>
      </p:sp>
      <p:sp>
        <p:nvSpPr>
          <p:cNvPr id="4" name="Espace réservé du tableau 3"/>
          <p:cNvSpPr>
            <a:spLocks noGrp="1"/>
          </p:cNvSpPr>
          <p:nvPr>
            <p:ph type="tbl" sz="quarter" idx="12"/>
          </p:nvPr>
        </p:nvSpPr>
        <p:spPr>
          <a:xfrm>
            <a:off x="342900" y="1612900"/>
            <a:ext cx="11406717" cy="4659087"/>
          </a:xfrm>
        </p:spPr>
        <p:txBody>
          <a:bodyPr/>
          <a:lstStyle/>
          <a:p>
            <a:r>
              <a:rPr lang="nl-NL"/>
              <a:t>Klik op het pictogram als u een tabel wilt toevoegen</a:t>
            </a:r>
            <a:endParaRPr lang="fr-FR"/>
          </a:p>
        </p:txBody>
      </p:sp>
    </p:spTree>
    <p:extLst>
      <p:ext uri="{BB962C8B-B14F-4D97-AF65-F5344CB8AC3E}">
        <p14:creationId xmlns:p14="http://schemas.microsoft.com/office/powerpoint/2010/main" val="260309700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e et Imag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79127" cy="1103387"/>
          </a:xfrm>
        </p:spPr>
        <p:txBody>
          <a:bodyPr/>
          <a:lstStyle>
            <a:lvl1pPr>
              <a:defRPr/>
            </a:lvl1pPr>
          </a:lstStyle>
          <a:p>
            <a:r>
              <a:rPr lang="fr-FR" err="1"/>
              <a:t>titel</a:t>
            </a:r>
            <a:endParaRPr lang="fr-FR"/>
          </a:p>
        </p:txBody>
      </p:sp>
      <p:sp>
        <p:nvSpPr>
          <p:cNvPr id="4" name="Espace réservé du contenu 3"/>
          <p:cNvSpPr>
            <a:spLocks noGrp="1"/>
          </p:cNvSpPr>
          <p:nvPr>
            <p:ph sz="half" idx="2"/>
          </p:nvPr>
        </p:nvSpPr>
        <p:spPr>
          <a:xfrm>
            <a:off x="343858" y="1612900"/>
            <a:ext cx="5875609" cy="4548717"/>
          </a:xfrm>
        </p:spPr>
        <p:txBody>
          <a:bodyPr>
            <a:noAutofit/>
          </a:bodyPr>
          <a:lstStyle>
            <a:lvl1pPr>
              <a:lnSpc>
                <a:spcPct val="90000"/>
              </a:lnSpc>
              <a:defRPr sz="2133"/>
            </a:lvl1pPr>
            <a:lvl2pPr>
              <a:lnSpc>
                <a:spcPct val="90000"/>
              </a:lnSpc>
              <a:defRPr sz="1867"/>
            </a:lvl2pPr>
            <a:lvl3pPr>
              <a:lnSpc>
                <a:spcPct val="90000"/>
              </a:lnSpc>
              <a:defRPr sz="1600"/>
            </a:lvl3pPr>
            <a:lvl4pPr>
              <a:lnSpc>
                <a:spcPct val="90000"/>
              </a:lnSpc>
              <a:defRPr sz="1467"/>
            </a:lvl4pPr>
            <a:lvl5pPr>
              <a:lnSpc>
                <a:spcPct val="90000"/>
              </a:lnSpc>
              <a:defRPr sz="1600"/>
            </a:lvl5pPr>
            <a:lvl6pPr>
              <a:defRPr sz="2133"/>
            </a:lvl6pPr>
            <a:lvl7pPr>
              <a:defRPr sz="2133"/>
            </a:lvl7pPr>
            <a:lvl8pPr>
              <a:defRPr sz="2133"/>
            </a:lvl8pPr>
            <a:lvl9pPr>
              <a:defRPr sz="2133"/>
            </a:lvl9pPr>
          </a:lstStyle>
          <a:p>
            <a:pPr lvl="0"/>
            <a:r>
              <a:rPr lang="nl-NL"/>
              <a:t>Klik om de modelstijlen te bewerken</a:t>
            </a:r>
          </a:p>
          <a:p>
            <a:pPr lvl="1"/>
            <a:r>
              <a:rPr lang="nl-NL"/>
              <a:t>Tweede niveau</a:t>
            </a:r>
          </a:p>
          <a:p>
            <a:pPr lvl="2"/>
            <a:r>
              <a:rPr lang="nl-NL"/>
              <a:t>Derde niveau</a:t>
            </a:r>
          </a:p>
          <a:p>
            <a:pPr lvl="3"/>
            <a:r>
              <a:rPr lang="nl-NL"/>
              <a:t>Vierde niveau</a:t>
            </a:r>
          </a:p>
        </p:txBody>
      </p:sp>
      <p:sp>
        <p:nvSpPr>
          <p:cNvPr id="6" name="Espace réservé pour une image  5"/>
          <p:cNvSpPr>
            <a:spLocks noGrp="1" noChangeAspect="1"/>
          </p:cNvSpPr>
          <p:nvPr>
            <p:ph type="pic" sz="quarter" idx="12"/>
          </p:nvPr>
        </p:nvSpPr>
        <p:spPr>
          <a:xfrm>
            <a:off x="6416163" y="1612900"/>
            <a:ext cx="5329221" cy="4548717"/>
          </a:xfrm>
        </p:spPr>
        <p:txBody>
          <a:bodyPr/>
          <a:lstStyle/>
          <a:p>
            <a:r>
              <a:rPr lang="nl-NL"/>
              <a:t>Klik op het pictogram als u een afbeelding wilt toevoegen</a:t>
            </a:r>
            <a:endParaRPr lang="fr-FR"/>
          </a:p>
        </p:txBody>
      </p:sp>
    </p:spTree>
    <p:extLst>
      <p:ext uri="{BB962C8B-B14F-4D97-AF65-F5344CB8AC3E}">
        <p14:creationId xmlns:p14="http://schemas.microsoft.com/office/powerpoint/2010/main" val="335327603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12"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3"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4"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15" name="Rectangle 14"/>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
        <p:nvSpPr>
          <p:cNvPr id="16"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3" name="Espace réservé du contenu 2"/>
          <p:cNvSpPr>
            <a:spLocks noGrp="1"/>
          </p:cNvSpPr>
          <p:nvPr>
            <p:ph idx="1" hasCustomPrompt="1"/>
          </p:nvPr>
        </p:nvSpPr>
        <p:spPr/>
        <p:txBody>
          <a:bodyPr/>
          <a:lstStyle/>
          <a:p>
            <a:pPr lvl="0"/>
            <a:r>
              <a:rPr lang="en-GB" err="1"/>
              <a:t>Modifiez</a:t>
            </a:r>
            <a:r>
              <a:rPr lang="en-GB"/>
              <a:t> les styles du </a:t>
            </a:r>
            <a:r>
              <a:rPr lang="en-GB" err="1"/>
              <a:t>texte</a:t>
            </a:r>
            <a:r>
              <a:rPr lang="en-GB"/>
              <a:t> du masque</a:t>
            </a:r>
          </a:p>
          <a:p>
            <a:pPr lvl="1"/>
            <a:r>
              <a:rPr lang="en-GB" err="1"/>
              <a:t>Deuxième</a:t>
            </a:r>
            <a:r>
              <a:rPr lang="en-GB"/>
              <a:t> </a:t>
            </a:r>
            <a:r>
              <a:rPr lang="en-GB" err="1"/>
              <a:t>niveau</a:t>
            </a:r>
            <a:endParaRPr lang="en-GB"/>
          </a:p>
          <a:p>
            <a:pPr lvl="2"/>
            <a:r>
              <a:rPr lang="en-GB" err="1"/>
              <a:t>Troisième</a:t>
            </a:r>
            <a:r>
              <a:rPr lang="en-GB"/>
              <a:t> </a:t>
            </a:r>
            <a:r>
              <a:rPr lang="en-GB" err="1"/>
              <a:t>niveau</a:t>
            </a:r>
            <a:endParaRPr lang="en-GB"/>
          </a:p>
          <a:p>
            <a:pPr lvl="3"/>
            <a:r>
              <a:rPr lang="en-GB" err="1"/>
              <a:t>Quatrième</a:t>
            </a:r>
            <a:r>
              <a:rPr lang="en-GB"/>
              <a:t> </a:t>
            </a:r>
            <a:r>
              <a:rPr lang="en-GB" err="1"/>
              <a:t>niveau</a:t>
            </a:r>
            <a:endParaRPr lang="en-GB"/>
          </a:p>
        </p:txBody>
      </p:sp>
      <p:sp>
        <p:nvSpPr>
          <p:cNvPr id="4" name="Titre 3"/>
          <p:cNvSpPr>
            <a:spLocks noGrp="1"/>
          </p:cNvSpPr>
          <p:nvPr>
            <p:ph type="title"/>
          </p:nvPr>
        </p:nvSpPr>
        <p:spPr/>
        <p:txBody>
          <a:bodyPr/>
          <a:lstStyle>
            <a:lvl1pPr>
              <a:defRPr>
                <a:solidFill>
                  <a:schemeClr val="accent1"/>
                </a:solidFill>
              </a:defRPr>
            </a:lvl1pPr>
          </a:lstStyle>
          <a:p>
            <a:r>
              <a:rPr lang="en-GB"/>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pic>
        <p:nvPicPr>
          <p:cNvPr id="11" name="Image 6" descr="Log_AXIANS_CRVB.jpg">
            <a:extLst>
              <a:ext uri="{FF2B5EF4-FFF2-40B4-BE49-F238E27FC236}">
                <a16:creationId xmlns:a16="http://schemas.microsoft.com/office/drawing/2014/main" id="{817EA76E-BD62-42B7-BE2E-2B8DA50FD0C9}"/>
              </a:ext>
            </a:extLst>
          </p:cNvPr>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2099150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grpId="0" nodeType="withEffect">
                                  <p:stCondLst>
                                    <p:cond delay="0"/>
                                  </p:stCondLst>
                                  <p:childTnLst>
                                    <p:animRot by="21600000">
                                      <p:cBhvr>
                                        <p:cTn id="6" dur="4000" fill="hold"/>
                                        <p:tgtEl>
                                          <p:spTgt spid="14"/>
                                        </p:tgtEl>
                                        <p:attrNameLst>
                                          <p:attrName>r</p:attrName>
                                        </p:attrNameLst>
                                      </p:cBhvr>
                                    </p:animRot>
                                  </p:childTnLst>
                                </p:cTn>
                              </p:par>
                              <p:par>
                                <p:cTn id="7" presetID="8" presetClass="emph" presetSubtype="0" repeatCount="indefinite" fill="hold" grpId="0" nodeType="withEffect">
                                  <p:stCondLst>
                                    <p:cond delay="0"/>
                                  </p:stCondLst>
                                  <p:childTnLst>
                                    <p:animRot by="-21600000">
                                      <p:cBhvr>
                                        <p:cTn id="8" dur="4000" fill="hold"/>
                                        <p:tgtEl>
                                          <p:spTgt spid="12"/>
                                        </p:tgtEl>
                                        <p:attrNameLst>
                                          <p:attrName>r</p:attrName>
                                        </p:attrNameLst>
                                      </p:cBhvr>
                                    </p:animRot>
                                  </p:childTnLst>
                                </p:cTn>
                              </p:par>
                              <p:par>
                                <p:cTn id="9" presetID="8" presetClass="emph" presetSubtype="0" repeatCount="indefinite" fill="hold" grpId="0" nodeType="withEffect">
                                  <p:stCondLst>
                                    <p:cond delay="0"/>
                                  </p:stCondLst>
                                  <p:childTnLst>
                                    <p:animRot by="21600000">
                                      <p:cBhvr>
                                        <p:cTn id="10" dur="4000" fill="hold"/>
                                        <p:tgtEl>
                                          <p:spTgt spid="16"/>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 grpId="0" animBg="1"/>
      <p:bldP spid="16" grpId="0" animBg="1"/>
    </p:bld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 image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79127" cy="1103387"/>
          </a:xfrm>
        </p:spPr>
        <p:txBody>
          <a:bodyPr/>
          <a:lstStyle>
            <a:lvl1pPr>
              <a:defRPr/>
            </a:lvl1pPr>
          </a:lstStyle>
          <a:p>
            <a:r>
              <a:rPr lang="fr-FR" err="1"/>
              <a:t>titel</a:t>
            </a:r>
            <a:endParaRPr lang="fr-FR"/>
          </a:p>
        </p:txBody>
      </p:sp>
      <p:sp>
        <p:nvSpPr>
          <p:cNvPr id="6" name="Espace réservé pour une image  5"/>
          <p:cNvSpPr>
            <a:spLocks noGrp="1" noChangeAspect="1"/>
          </p:cNvSpPr>
          <p:nvPr>
            <p:ph type="pic" sz="quarter" idx="12"/>
          </p:nvPr>
        </p:nvSpPr>
        <p:spPr>
          <a:xfrm>
            <a:off x="6553202" y="1621367"/>
            <a:ext cx="5192183" cy="4540251"/>
          </a:xfrm>
        </p:spPr>
        <p:txBody>
          <a:bodyPr/>
          <a:lstStyle/>
          <a:p>
            <a:r>
              <a:rPr lang="nl-NL"/>
              <a:t>Klik op het pictogram als u een afbeelding wilt toevoegen</a:t>
            </a:r>
            <a:endParaRPr lang="fr-FR"/>
          </a:p>
        </p:txBody>
      </p:sp>
      <p:sp>
        <p:nvSpPr>
          <p:cNvPr id="7" name="Espace réservé pour une image  5"/>
          <p:cNvSpPr>
            <a:spLocks noGrp="1" noChangeAspect="1"/>
          </p:cNvSpPr>
          <p:nvPr>
            <p:ph type="pic" sz="quarter" idx="13"/>
          </p:nvPr>
        </p:nvSpPr>
        <p:spPr>
          <a:xfrm>
            <a:off x="467784" y="1621367"/>
            <a:ext cx="5907616" cy="1781696"/>
          </a:xfrm>
        </p:spPr>
        <p:txBody>
          <a:bodyPr/>
          <a:lstStyle/>
          <a:p>
            <a:r>
              <a:rPr lang="nl-NL"/>
              <a:t>Klik op het pictogram als u een afbeelding wilt toevoegen</a:t>
            </a:r>
            <a:endParaRPr lang="fr-FR"/>
          </a:p>
        </p:txBody>
      </p:sp>
      <p:sp>
        <p:nvSpPr>
          <p:cNvPr id="9" name="Espace réservé pour une image  5"/>
          <p:cNvSpPr>
            <a:spLocks noGrp="1" noChangeAspect="1"/>
          </p:cNvSpPr>
          <p:nvPr>
            <p:ph type="pic" sz="quarter" idx="14"/>
          </p:nvPr>
        </p:nvSpPr>
        <p:spPr>
          <a:xfrm>
            <a:off x="467784" y="3577366"/>
            <a:ext cx="5907616" cy="2584252"/>
          </a:xfrm>
        </p:spPr>
        <p:txBody>
          <a:bodyPr/>
          <a:lstStyle/>
          <a:p>
            <a:r>
              <a:rPr lang="nl-NL"/>
              <a:t>Klik op het pictogram als u een afbeelding wilt toevoegen</a:t>
            </a:r>
            <a:endParaRPr lang="fr-FR"/>
          </a:p>
        </p:txBody>
      </p:sp>
    </p:spTree>
    <p:extLst>
      <p:ext uri="{BB962C8B-B14F-4D97-AF65-F5344CB8AC3E}">
        <p14:creationId xmlns:p14="http://schemas.microsoft.com/office/powerpoint/2010/main" val="72693878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ernière page">
    <p:spTree>
      <p:nvGrpSpPr>
        <p:cNvPr id="1" name=""/>
        <p:cNvGrpSpPr/>
        <p:nvPr/>
      </p:nvGrpSpPr>
      <p:grpSpPr>
        <a:xfrm>
          <a:off x="0" y="0"/>
          <a:ext cx="0" cy="0"/>
          <a:chOff x="0" y="0"/>
          <a:chExt cx="0" cy="0"/>
        </a:xfrm>
      </p:grpSpPr>
      <p:sp>
        <p:nvSpPr>
          <p:cNvPr id="5" name="Rectangle 4"/>
          <p:cNvSpPr/>
          <p:nvPr userDrawn="1"/>
        </p:nvSpPr>
        <p:spPr bwMode="auto">
          <a:xfrm>
            <a:off x="-1" y="-31161"/>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1" y="4837535"/>
            <a:ext cx="9081348" cy="2028608"/>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 name="connsiteX0" fmla="*/ 234 w 10653"/>
              <a:gd name="connsiteY0" fmla="*/ 3 h 10018"/>
              <a:gd name="connsiteX1" fmla="*/ 605 w 10653"/>
              <a:gd name="connsiteY1" fmla="*/ 0 h 10018"/>
              <a:gd name="connsiteX2" fmla="*/ 934 w 10653"/>
              <a:gd name="connsiteY2" fmla="*/ 36 h 10018"/>
              <a:gd name="connsiteX3" fmla="*/ 1261 w 10653"/>
              <a:gd name="connsiteY3" fmla="*/ 77 h 10018"/>
              <a:gd name="connsiteX4" fmla="*/ 1546 w 10653"/>
              <a:gd name="connsiteY4" fmla="*/ 129 h 10018"/>
              <a:gd name="connsiteX5" fmla="*/ 1821 w 10653"/>
              <a:gd name="connsiteY5" fmla="*/ 172 h 10018"/>
              <a:gd name="connsiteX6" fmla="*/ 2136 w 10653"/>
              <a:gd name="connsiteY6" fmla="*/ 262 h 10018"/>
              <a:gd name="connsiteX7" fmla="*/ 2435 w 10653"/>
              <a:gd name="connsiteY7" fmla="*/ 337 h 10018"/>
              <a:gd name="connsiteX8" fmla="*/ 2866 w 10653"/>
              <a:gd name="connsiteY8" fmla="*/ 472 h 10018"/>
              <a:gd name="connsiteX9" fmla="*/ 3304 w 10653"/>
              <a:gd name="connsiteY9" fmla="*/ 648 h 10018"/>
              <a:gd name="connsiteX10" fmla="*/ 3835 w 10653"/>
              <a:gd name="connsiteY10" fmla="*/ 875 h 10018"/>
              <a:gd name="connsiteX11" fmla="*/ 4191 w 10653"/>
              <a:gd name="connsiteY11" fmla="*/ 1051 h 10018"/>
              <a:gd name="connsiteX12" fmla="*/ 4658 w 10653"/>
              <a:gd name="connsiteY12" fmla="*/ 1316 h 10018"/>
              <a:gd name="connsiteX13" fmla="*/ 5278 w 10653"/>
              <a:gd name="connsiteY13" fmla="*/ 1713 h 10018"/>
              <a:gd name="connsiteX14" fmla="*/ 5798 w 10653"/>
              <a:gd name="connsiteY14" fmla="*/ 2098 h 10018"/>
              <a:gd name="connsiteX15" fmla="*/ 6199 w 10653"/>
              <a:gd name="connsiteY15" fmla="*/ 2403 h 10018"/>
              <a:gd name="connsiteX16" fmla="*/ 6389 w 10653"/>
              <a:gd name="connsiteY16" fmla="*/ 2566 h 10018"/>
              <a:gd name="connsiteX17" fmla="*/ 6587 w 10653"/>
              <a:gd name="connsiteY17" fmla="*/ 2751 h 10018"/>
              <a:gd name="connsiteX18" fmla="*/ 6852 w 10653"/>
              <a:gd name="connsiteY18" fmla="*/ 2992 h 10018"/>
              <a:gd name="connsiteX19" fmla="*/ 7420 w 10653"/>
              <a:gd name="connsiteY19" fmla="*/ 3548 h 10018"/>
              <a:gd name="connsiteX20" fmla="*/ 7951 w 10653"/>
              <a:gd name="connsiteY20" fmla="*/ 4142 h 10018"/>
              <a:gd name="connsiteX21" fmla="*/ 8564 w 10653"/>
              <a:gd name="connsiteY21" fmla="*/ 4923 h 10018"/>
              <a:gd name="connsiteX22" fmla="*/ 9082 w 10653"/>
              <a:gd name="connsiteY22" fmla="*/ 5637 h 10018"/>
              <a:gd name="connsiteX23" fmla="*/ 9617 w 10653"/>
              <a:gd name="connsiteY23" fmla="*/ 6484 h 10018"/>
              <a:gd name="connsiteX24" fmla="*/ 10000 w 10653"/>
              <a:gd name="connsiteY24" fmla="*/ 10003 h 10018"/>
              <a:gd name="connsiteX25" fmla="*/ 2 w 10653"/>
              <a:gd name="connsiteY25" fmla="*/ 10018 h 10018"/>
              <a:gd name="connsiteX26" fmla="*/ 0 w 10653"/>
              <a:gd name="connsiteY26" fmla="*/ 8 h 10018"/>
              <a:gd name="connsiteX27" fmla="*/ 234 w 10653"/>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564 w 10000"/>
              <a:gd name="connsiteY21" fmla="*/ 4923 h 10018"/>
              <a:gd name="connsiteX22" fmla="*/ 9082 w 10000"/>
              <a:gd name="connsiteY22" fmla="*/ 5637 h 10018"/>
              <a:gd name="connsiteX23" fmla="*/ 9617 w 10000"/>
              <a:gd name="connsiteY23" fmla="*/ 648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564 w 10000"/>
              <a:gd name="connsiteY21" fmla="*/ 4923 h 10018"/>
              <a:gd name="connsiteX22" fmla="*/ 9082 w 10000"/>
              <a:gd name="connsiteY22" fmla="*/ 5637 h 10018"/>
              <a:gd name="connsiteX23" fmla="*/ 9235 w 10000"/>
              <a:gd name="connsiteY23" fmla="*/ 7770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564 w 10000"/>
              <a:gd name="connsiteY21" fmla="*/ 4923 h 10018"/>
              <a:gd name="connsiteX22" fmla="*/ 8460 w 10000"/>
              <a:gd name="connsiteY22" fmla="*/ 7244 h 10018"/>
              <a:gd name="connsiteX23" fmla="*/ 9235 w 10000"/>
              <a:gd name="connsiteY23" fmla="*/ 7770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9235 w 10000"/>
              <a:gd name="connsiteY23" fmla="*/ 7770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8888 w 10000"/>
              <a:gd name="connsiteY23" fmla="*/ 8573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8888 w 10000"/>
              <a:gd name="connsiteY23" fmla="*/ 8573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580 w 10000"/>
              <a:gd name="connsiteY20" fmla="*/ 6914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580 w 10000"/>
              <a:gd name="connsiteY20" fmla="*/ 6914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7 w 10000"/>
              <a:gd name="connsiteY20" fmla="*/ 5789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7 w 10000"/>
              <a:gd name="connsiteY20" fmla="*/ 5789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7 w 10000"/>
              <a:gd name="connsiteY20" fmla="*/ 5789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270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160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56 w 10000"/>
              <a:gd name="connsiteY3" fmla="*/ 171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56 w 10000"/>
              <a:gd name="connsiteY3" fmla="*/ 171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7 h 10022"/>
              <a:gd name="connsiteX1" fmla="*/ 605 w 10000"/>
              <a:gd name="connsiteY1" fmla="*/ 4 h 10022"/>
              <a:gd name="connsiteX2" fmla="*/ 934 w 10000"/>
              <a:gd name="connsiteY2" fmla="*/ 118 h 10022"/>
              <a:gd name="connsiteX3" fmla="*/ 1256 w 10000"/>
              <a:gd name="connsiteY3" fmla="*/ 175 h 10022"/>
              <a:gd name="connsiteX4" fmla="*/ 1523 w 10000"/>
              <a:gd name="connsiteY4" fmla="*/ 258 h 10022"/>
              <a:gd name="connsiteX5" fmla="*/ 1793 w 10000"/>
              <a:gd name="connsiteY5" fmla="*/ 348 h 10022"/>
              <a:gd name="connsiteX6" fmla="*/ 2089 w 10000"/>
              <a:gd name="connsiteY6" fmla="*/ 454 h 10022"/>
              <a:gd name="connsiteX7" fmla="*/ 2379 w 10000"/>
              <a:gd name="connsiteY7" fmla="*/ 560 h 10022"/>
              <a:gd name="connsiteX8" fmla="*/ 2791 w 10000"/>
              <a:gd name="connsiteY8" fmla="*/ 742 h 10022"/>
              <a:gd name="connsiteX9" fmla="*/ 3192 w 10000"/>
              <a:gd name="connsiteY9" fmla="*/ 934 h 10022"/>
              <a:gd name="connsiteX10" fmla="*/ 3639 w 10000"/>
              <a:gd name="connsiteY10" fmla="*/ 1208 h 10022"/>
              <a:gd name="connsiteX11" fmla="*/ 4158 w 10000"/>
              <a:gd name="connsiteY11" fmla="*/ 1541 h 10022"/>
              <a:gd name="connsiteX12" fmla="*/ 4555 w 10000"/>
              <a:gd name="connsiteY12" fmla="*/ 1837 h 10022"/>
              <a:gd name="connsiteX13" fmla="*/ 5092 w 10000"/>
              <a:gd name="connsiteY13" fmla="*/ 2265 h 10022"/>
              <a:gd name="connsiteX14" fmla="*/ 5546 w 10000"/>
              <a:gd name="connsiteY14" fmla="*/ 2713 h 10022"/>
              <a:gd name="connsiteX15" fmla="*/ 5882 w 10000"/>
              <a:gd name="connsiteY15" fmla="*/ 3050 h 10022"/>
              <a:gd name="connsiteX16" fmla="*/ 6165 w 10000"/>
              <a:gd name="connsiteY16" fmla="*/ 3338 h 10022"/>
              <a:gd name="connsiteX17" fmla="*/ 6498 w 10000"/>
              <a:gd name="connsiteY17" fmla="*/ 3758 h 10022"/>
              <a:gd name="connsiteX18" fmla="*/ 6796 w 10000"/>
              <a:gd name="connsiteY18" fmla="*/ 4108 h 10022"/>
              <a:gd name="connsiteX19" fmla="*/ 7299 w 10000"/>
              <a:gd name="connsiteY19" fmla="*/ 4821 h 10022"/>
              <a:gd name="connsiteX20" fmla="*/ 7862 w 10000"/>
              <a:gd name="connsiteY20" fmla="*/ 5668 h 10022"/>
              <a:gd name="connsiteX21" fmla="*/ 8298 w 10000"/>
              <a:gd name="connsiteY21" fmla="*/ 6438 h 10022"/>
              <a:gd name="connsiteX22" fmla="*/ 8926 w 10000"/>
              <a:gd name="connsiteY22" fmla="*/ 7650 h 10022"/>
              <a:gd name="connsiteX23" fmla="*/ 9486 w 10000"/>
              <a:gd name="connsiteY23" fmla="*/ 8858 h 10022"/>
              <a:gd name="connsiteX24" fmla="*/ 10000 w 10000"/>
              <a:gd name="connsiteY24" fmla="*/ 10007 h 10022"/>
              <a:gd name="connsiteX25" fmla="*/ 2 w 10000"/>
              <a:gd name="connsiteY25" fmla="*/ 10022 h 10022"/>
              <a:gd name="connsiteX26" fmla="*/ 0 w 10000"/>
              <a:gd name="connsiteY26" fmla="*/ 12 h 10022"/>
              <a:gd name="connsiteX27" fmla="*/ 234 w 10000"/>
              <a:gd name="connsiteY27" fmla="*/ 7 h 10022"/>
              <a:gd name="connsiteX0" fmla="*/ 234 w 10000"/>
              <a:gd name="connsiteY0" fmla="*/ 7 h 10022"/>
              <a:gd name="connsiteX1" fmla="*/ 605 w 10000"/>
              <a:gd name="connsiteY1" fmla="*/ 4 h 10022"/>
              <a:gd name="connsiteX2" fmla="*/ 934 w 10000"/>
              <a:gd name="connsiteY2" fmla="*/ 118 h 10022"/>
              <a:gd name="connsiteX3" fmla="*/ 1256 w 10000"/>
              <a:gd name="connsiteY3" fmla="*/ 175 h 10022"/>
              <a:gd name="connsiteX4" fmla="*/ 1523 w 10000"/>
              <a:gd name="connsiteY4" fmla="*/ 258 h 10022"/>
              <a:gd name="connsiteX5" fmla="*/ 1793 w 10000"/>
              <a:gd name="connsiteY5" fmla="*/ 348 h 10022"/>
              <a:gd name="connsiteX6" fmla="*/ 2089 w 10000"/>
              <a:gd name="connsiteY6" fmla="*/ 454 h 10022"/>
              <a:gd name="connsiteX7" fmla="*/ 2379 w 10000"/>
              <a:gd name="connsiteY7" fmla="*/ 560 h 10022"/>
              <a:gd name="connsiteX8" fmla="*/ 2791 w 10000"/>
              <a:gd name="connsiteY8" fmla="*/ 742 h 10022"/>
              <a:gd name="connsiteX9" fmla="*/ 3192 w 10000"/>
              <a:gd name="connsiteY9" fmla="*/ 934 h 10022"/>
              <a:gd name="connsiteX10" fmla="*/ 3639 w 10000"/>
              <a:gd name="connsiteY10" fmla="*/ 1208 h 10022"/>
              <a:gd name="connsiteX11" fmla="*/ 4158 w 10000"/>
              <a:gd name="connsiteY11" fmla="*/ 1541 h 10022"/>
              <a:gd name="connsiteX12" fmla="*/ 4555 w 10000"/>
              <a:gd name="connsiteY12" fmla="*/ 1837 h 10022"/>
              <a:gd name="connsiteX13" fmla="*/ 5092 w 10000"/>
              <a:gd name="connsiteY13" fmla="*/ 2265 h 10022"/>
              <a:gd name="connsiteX14" fmla="*/ 5546 w 10000"/>
              <a:gd name="connsiteY14" fmla="*/ 2713 h 10022"/>
              <a:gd name="connsiteX15" fmla="*/ 5882 w 10000"/>
              <a:gd name="connsiteY15" fmla="*/ 3050 h 10022"/>
              <a:gd name="connsiteX16" fmla="*/ 6165 w 10000"/>
              <a:gd name="connsiteY16" fmla="*/ 3338 h 10022"/>
              <a:gd name="connsiteX17" fmla="*/ 6498 w 10000"/>
              <a:gd name="connsiteY17" fmla="*/ 3758 h 10022"/>
              <a:gd name="connsiteX18" fmla="*/ 6796 w 10000"/>
              <a:gd name="connsiteY18" fmla="*/ 4108 h 10022"/>
              <a:gd name="connsiteX19" fmla="*/ 7299 w 10000"/>
              <a:gd name="connsiteY19" fmla="*/ 4821 h 10022"/>
              <a:gd name="connsiteX20" fmla="*/ 7862 w 10000"/>
              <a:gd name="connsiteY20" fmla="*/ 5668 h 10022"/>
              <a:gd name="connsiteX21" fmla="*/ 8298 w 10000"/>
              <a:gd name="connsiteY21" fmla="*/ 6438 h 10022"/>
              <a:gd name="connsiteX22" fmla="*/ 8926 w 10000"/>
              <a:gd name="connsiteY22" fmla="*/ 7650 h 10022"/>
              <a:gd name="connsiteX23" fmla="*/ 9486 w 10000"/>
              <a:gd name="connsiteY23" fmla="*/ 8858 h 10022"/>
              <a:gd name="connsiteX24" fmla="*/ 10000 w 10000"/>
              <a:gd name="connsiteY24" fmla="*/ 10007 h 10022"/>
              <a:gd name="connsiteX25" fmla="*/ 2 w 10000"/>
              <a:gd name="connsiteY25" fmla="*/ 10022 h 10022"/>
              <a:gd name="connsiteX26" fmla="*/ 0 w 10000"/>
              <a:gd name="connsiteY26" fmla="*/ 12 h 10022"/>
              <a:gd name="connsiteX27" fmla="*/ 234 w 10000"/>
              <a:gd name="connsiteY27" fmla="*/ 7 h 10022"/>
              <a:gd name="connsiteX0" fmla="*/ 234 w 10000"/>
              <a:gd name="connsiteY0" fmla="*/ 0 h 10015"/>
              <a:gd name="connsiteX1" fmla="*/ 600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0"/>
              <a:gd name="connsiteY0" fmla="*/ 0 h 10015"/>
              <a:gd name="connsiteX1" fmla="*/ 600 w 10000"/>
              <a:gd name="connsiteY1" fmla="*/ 60 h 10015"/>
              <a:gd name="connsiteX2" fmla="*/ 629 w 10000"/>
              <a:gd name="connsiteY2" fmla="*/ 82 h 10015"/>
              <a:gd name="connsiteX3" fmla="*/ 934 w 10000"/>
              <a:gd name="connsiteY3" fmla="*/ 111 h 10015"/>
              <a:gd name="connsiteX4" fmla="*/ 1256 w 10000"/>
              <a:gd name="connsiteY4" fmla="*/ 168 h 10015"/>
              <a:gd name="connsiteX5" fmla="*/ 1523 w 10000"/>
              <a:gd name="connsiteY5" fmla="*/ 251 h 10015"/>
              <a:gd name="connsiteX6" fmla="*/ 1793 w 10000"/>
              <a:gd name="connsiteY6" fmla="*/ 341 h 10015"/>
              <a:gd name="connsiteX7" fmla="*/ 2089 w 10000"/>
              <a:gd name="connsiteY7" fmla="*/ 447 h 10015"/>
              <a:gd name="connsiteX8" fmla="*/ 2379 w 10000"/>
              <a:gd name="connsiteY8" fmla="*/ 553 h 10015"/>
              <a:gd name="connsiteX9" fmla="*/ 2791 w 10000"/>
              <a:gd name="connsiteY9" fmla="*/ 735 h 10015"/>
              <a:gd name="connsiteX10" fmla="*/ 3192 w 10000"/>
              <a:gd name="connsiteY10" fmla="*/ 927 h 10015"/>
              <a:gd name="connsiteX11" fmla="*/ 3639 w 10000"/>
              <a:gd name="connsiteY11" fmla="*/ 1201 h 10015"/>
              <a:gd name="connsiteX12" fmla="*/ 4158 w 10000"/>
              <a:gd name="connsiteY12" fmla="*/ 1534 h 10015"/>
              <a:gd name="connsiteX13" fmla="*/ 4555 w 10000"/>
              <a:gd name="connsiteY13" fmla="*/ 1830 h 10015"/>
              <a:gd name="connsiteX14" fmla="*/ 5092 w 10000"/>
              <a:gd name="connsiteY14" fmla="*/ 2258 h 10015"/>
              <a:gd name="connsiteX15" fmla="*/ 5546 w 10000"/>
              <a:gd name="connsiteY15" fmla="*/ 2706 h 10015"/>
              <a:gd name="connsiteX16" fmla="*/ 5882 w 10000"/>
              <a:gd name="connsiteY16" fmla="*/ 3043 h 10015"/>
              <a:gd name="connsiteX17" fmla="*/ 6165 w 10000"/>
              <a:gd name="connsiteY17" fmla="*/ 3331 h 10015"/>
              <a:gd name="connsiteX18" fmla="*/ 6498 w 10000"/>
              <a:gd name="connsiteY18" fmla="*/ 3751 h 10015"/>
              <a:gd name="connsiteX19" fmla="*/ 6796 w 10000"/>
              <a:gd name="connsiteY19" fmla="*/ 4101 h 10015"/>
              <a:gd name="connsiteX20" fmla="*/ 7299 w 10000"/>
              <a:gd name="connsiteY20" fmla="*/ 4814 h 10015"/>
              <a:gd name="connsiteX21" fmla="*/ 7862 w 10000"/>
              <a:gd name="connsiteY21" fmla="*/ 5661 h 10015"/>
              <a:gd name="connsiteX22" fmla="*/ 8298 w 10000"/>
              <a:gd name="connsiteY22" fmla="*/ 6431 h 10015"/>
              <a:gd name="connsiteX23" fmla="*/ 8926 w 10000"/>
              <a:gd name="connsiteY23" fmla="*/ 7643 h 10015"/>
              <a:gd name="connsiteX24" fmla="*/ 9486 w 10000"/>
              <a:gd name="connsiteY24" fmla="*/ 8851 h 10015"/>
              <a:gd name="connsiteX25" fmla="*/ 10000 w 10000"/>
              <a:gd name="connsiteY25" fmla="*/ 10000 h 10015"/>
              <a:gd name="connsiteX26" fmla="*/ 2 w 10000"/>
              <a:gd name="connsiteY26" fmla="*/ 10015 h 10015"/>
              <a:gd name="connsiteX27" fmla="*/ 0 w 10000"/>
              <a:gd name="connsiteY27" fmla="*/ 5 h 10015"/>
              <a:gd name="connsiteX28" fmla="*/ 234 w 10000"/>
              <a:gd name="connsiteY28" fmla="*/ 0 h 10015"/>
              <a:gd name="connsiteX0" fmla="*/ 234 w 10000"/>
              <a:gd name="connsiteY0" fmla="*/ 0 h 10015"/>
              <a:gd name="connsiteX1" fmla="*/ 600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0"/>
              <a:gd name="connsiteY0" fmla="*/ 0 h 10015"/>
              <a:gd name="connsiteX1" fmla="*/ 586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0"/>
              <a:gd name="connsiteY0" fmla="*/ 0 h 10015"/>
              <a:gd name="connsiteX1" fmla="*/ 586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29 w 10000"/>
              <a:gd name="connsiteY0" fmla="*/ 26 h 10010"/>
              <a:gd name="connsiteX1" fmla="*/ 586 w 10000"/>
              <a:gd name="connsiteY1" fmla="*/ 55 h 10010"/>
              <a:gd name="connsiteX2" fmla="*/ 934 w 10000"/>
              <a:gd name="connsiteY2" fmla="*/ 106 h 10010"/>
              <a:gd name="connsiteX3" fmla="*/ 1256 w 10000"/>
              <a:gd name="connsiteY3" fmla="*/ 163 h 10010"/>
              <a:gd name="connsiteX4" fmla="*/ 1523 w 10000"/>
              <a:gd name="connsiteY4" fmla="*/ 246 h 10010"/>
              <a:gd name="connsiteX5" fmla="*/ 1793 w 10000"/>
              <a:gd name="connsiteY5" fmla="*/ 336 h 10010"/>
              <a:gd name="connsiteX6" fmla="*/ 2089 w 10000"/>
              <a:gd name="connsiteY6" fmla="*/ 442 h 10010"/>
              <a:gd name="connsiteX7" fmla="*/ 2379 w 10000"/>
              <a:gd name="connsiteY7" fmla="*/ 548 h 10010"/>
              <a:gd name="connsiteX8" fmla="*/ 2791 w 10000"/>
              <a:gd name="connsiteY8" fmla="*/ 730 h 10010"/>
              <a:gd name="connsiteX9" fmla="*/ 3192 w 10000"/>
              <a:gd name="connsiteY9" fmla="*/ 922 h 10010"/>
              <a:gd name="connsiteX10" fmla="*/ 3639 w 10000"/>
              <a:gd name="connsiteY10" fmla="*/ 1196 h 10010"/>
              <a:gd name="connsiteX11" fmla="*/ 4158 w 10000"/>
              <a:gd name="connsiteY11" fmla="*/ 1529 h 10010"/>
              <a:gd name="connsiteX12" fmla="*/ 4555 w 10000"/>
              <a:gd name="connsiteY12" fmla="*/ 1825 h 10010"/>
              <a:gd name="connsiteX13" fmla="*/ 5092 w 10000"/>
              <a:gd name="connsiteY13" fmla="*/ 2253 h 10010"/>
              <a:gd name="connsiteX14" fmla="*/ 5546 w 10000"/>
              <a:gd name="connsiteY14" fmla="*/ 2701 h 10010"/>
              <a:gd name="connsiteX15" fmla="*/ 5882 w 10000"/>
              <a:gd name="connsiteY15" fmla="*/ 3038 h 10010"/>
              <a:gd name="connsiteX16" fmla="*/ 6165 w 10000"/>
              <a:gd name="connsiteY16" fmla="*/ 3326 h 10010"/>
              <a:gd name="connsiteX17" fmla="*/ 6498 w 10000"/>
              <a:gd name="connsiteY17" fmla="*/ 3746 h 10010"/>
              <a:gd name="connsiteX18" fmla="*/ 6796 w 10000"/>
              <a:gd name="connsiteY18" fmla="*/ 4096 h 10010"/>
              <a:gd name="connsiteX19" fmla="*/ 7299 w 10000"/>
              <a:gd name="connsiteY19" fmla="*/ 4809 h 10010"/>
              <a:gd name="connsiteX20" fmla="*/ 7862 w 10000"/>
              <a:gd name="connsiteY20" fmla="*/ 5656 h 10010"/>
              <a:gd name="connsiteX21" fmla="*/ 8298 w 10000"/>
              <a:gd name="connsiteY21" fmla="*/ 6426 h 10010"/>
              <a:gd name="connsiteX22" fmla="*/ 8926 w 10000"/>
              <a:gd name="connsiteY22" fmla="*/ 7638 h 10010"/>
              <a:gd name="connsiteX23" fmla="*/ 9486 w 10000"/>
              <a:gd name="connsiteY23" fmla="*/ 8846 h 10010"/>
              <a:gd name="connsiteX24" fmla="*/ 10000 w 10000"/>
              <a:gd name="connsiteY24" fmla="*/ 9995 h 10010"/>
              <a:gd name="connsiteX25" fmla="*/ 2 w 10000"/>
              <a:gd name="connsiteY25" fmla="*/ 10010 h 10010"/>
              <a:gd name="connsiteX26" fmla="*/ 0 w 10000"/>
              <a:gd name="connsiteY26" fmla="*/ 0 h 10010"/>
              <a:gd name="connsiteX27" fmla="*/ 229 w 10000"/>
              <a:gd name="connsiteY27" fmla="*/ 26 h 10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0000" h="10010">
                <a:moveTo>
                  <a:pt x="229" y="26"/>
                </a:moveTo>
                <a:cubicBezTo>
                  <a:pt x="353" y="44"/>
                  <a:pt x="469" y="42"/>
                  <a:pt x="586" y="55"/>
                </a:cubicBezTo>
                <a:cubicBezTo>
                  <a:pt x="703" y="68"/>
                  <a:pt x="818" y="89"/>
                  <a:pt x="934" y="106"/>
                </a:cubicBezTo>
                <a:cubicBezTo>
                  <a:pt x="1046" y="124"/>
                  <a:pt x="1149" y="144"/>
                  <a:pt x="1256" y="163"/>
                </a:cubicBezTo>
                <a:lnTo>
                  <a:pt x="1523" y="246"/>
                </a:lnTo>
                <a:lnTo>
                  <a:pt x="1793" y="336"/>
                </a:lnTo>
                <a:lnTo>
                  <a:pt x="2089" y="442"/>
                </a:lnTo>
                <a:cubicBezTo>
                  <a:pt x="2187" y="477"/>
                  <a:pt x="2262" y="500"/>
                  <a:pt x="2379" y="548"/>
                </a:cubicBezTo>
                <a:cubicBezTo>
                  <a:pt x="2496" y="596"/>
                  <a:pt x="2654" y="669"/>
                  <a:pt x="2791" y="730"/>
                </a:cubicBezTo>
                <a:cubicBezTo>
                  <a:pt x="2927" y="792"/>
                  <a:pt x="3051" y="844"/>
                  <a:pt x="3192" y="922"/>
                </a:cubicBezTo>
                <a:cubicBezTo>
                  <a:pt x="3333" y="1000"/>
                  <a:pt x="3490" y="1105"/>
                  <a:pt x="3639" y="1196"/>
                </a:cubicBezTo>
                <a:cubicBezTo>
                  <a:pt x="3800" y="1297"/>
                  <a:pt x="4005" y="1424"/>
                  <a:pt x="4158" y="1529"/>
                </a:cubicBezTo>
                <a:cubicBezTo>
                  <a:pt x="4311" y="1634"/>
                  <a:pt x="4399" y="1704"/>
                  <a:pt x="4555" y="1825"/>
                </a:cubicBezTo>
                <a:cubicBezTo>
                  <a:pt x="4711" y="1946"/>
                  <a:pt x="4913" y="2110"/>
                  <a:pt x="5092" y="2253"/>
                </a:cubicBezTo>
                <a:cubicBezTo>
                  <a:pt x="5257" y="2399"/>
                  <a:pt x="5395" y="2552"/>
                  <a:pt x="5546" y="2701"/>
                </a:cubicBezTo>
                <a:cubicBezTo>
                  <a:pt x="5678" y="2832"/>
                  <a:pt x="5770" y="2926"/>
                  <a:pt x="5882" y="3038"/>
                </a:cubicBezTo>
                <a:cubicBezTo>
                  <a:pt x="5985" y="3142"/>
                  <a:pt x="6062" y="3208"/>
                  <a:pt x="6165" y="3326"/>
                </a:cubicBezTo>
                <a:cubicBezTo>
                  <a:pt x="6268" y="3444"/>
                  <a:pt x="6387" y="3606"/>
                  <a:pt x="6498" y="3746"/>
                </a:cubicBezTo>
                <a:cubicBezTo>
                  <a:pt x="6603" y="3874"/>
                  <a:pt x="6697" y="3979"/>
                  <a:pt x="6796" y="4096"/>
                </a:cubicBezTo>
                <a:cubicBezTo>
                  <a:pt x="6930" y="4273"/>
                  <a:pt x="7131" y="4571"/>
                  <a:pt x="7299" y="4809"/>
                </a:cubicBezTo>
                <a:cubicBezTo>
                  <a:pt x="7477" y="5069"/>
                  <a:pt x="7696" y="5387"/>
                  <a:pt x="7862" y="5656"/>
                </a:cubicBezTo>
                <a:cubicBezTo>
                  <a:pt x="8028" y="5925"/>
                  <a:pt x="8121" y="6096"/>
                  <a:pt x="8298" y="6426"/>
                </a:cubicBezTo>
                <a:cubicBezTo>
                  <a:pt x="8475" y="6756"/>
                  <a:pt x="8728" y="7235"/>
                  <a:pt x="8926" y="7638"/>
                </a:cubicBezTo>
                <a:cubicBezTo>
                  <a:pt x="9124" y="8041"/>
                  <a:pt x="9299" y="8443"/>
                  <a:pt x="9486" y="8846"/>
                </a:cubicBezTo>
                <a:cubicBezTo>
                  <a:pt x="9665" y="9239"/>
                  <a:pt x="9829" y="9612"/>
                  <a:pt x="10000" y="9995"/>
                </a:cubicBezTo>
                <a:lnTo>
                  <a:pt x="2" y="10010"/>
                </a:lnTo>
                <a:cubicBezTo>
                  <a:pt x="1" y="6673"/>
                  <a:pt x="1" y="3337"/>
                  <a:pt x="0" y="0"/>
                </a:cubicBezTo>
                <a:lnTo>
                  <a:pt x="229" y="26"/>
                </a:lnTo>
                <a:close/>
              </a:path>
            </a:pathLst>
          </a:custGeom>
          <a:solidFill>
            <a:srgbClr val="005EB8"/>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16" name="Forme libre 9"/>
          <p:cNvSpPr>
            <a:spLocks/>
          </p:cNvSpPr>
          <p:nvPr userDrawn="1"/>
        </p:nvSpPr>
        <p:spPr bwMode="auto">
          <a:xfrm rot="10800000">
            <a:off x="6631118" y="3710519"/>
            <a:ext cx="5594919" cy="3171028"/>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944 w 9996"/>
              <a:gd name="connsiteY43" fmla="*/ 9282 h 10000"/>
              <a:gd name="connsiteX44" fmla="*/ 3363 w 9996"/>
              <a:gd name="connsiteY44" fmla="*/ 9466 h 10000"/>
              <a:gd name="connsiteX45" fmla="*/ 2656 w 9996"/>
              <a:gd name="connsiteY45" fmla="*/ 9645 h 10000"/>
              <a:gd name="connsiteX46" fmla="*/ 2282 w 9996"/>
              <a:gd name="connsiteY46" fmla="*/ 9724 h 10000"/>
              <a:gd name="connsiteX47" fmla="*/ 1523 w 9996"/>
              <a:gd name="connsiteY47" fmla="*/ 9852 h 10000"/>
              <a:gd name="connsiteX48" fmla="*/ 1016 w 9996"/>
              <a:gd name="connsiteY48" fmla="*/ 9920 h 10000"/>
              <a:gd name="connsiteX49" fmla="*/ 559 w 9996"/>
              <a:gd name="connsiteY49" fmla="*/ 9972 h 10000"/>
              <a:gd name="connsiteX50" fmla="*/ 183 w 9996"/>
              <a:gd name="connsiteY50" fmla="*/ 10000 h 10000"/>
              <a:gd name="connsiteX51" fmla="*/ 16 w 9996"/>
              <a:gd name="connsiteY51" fmla="*/ 9999 h 10000"/>
              <a:gd name="connsiteX52" fmla="*/ 8 w 9996"/>
              <a:gd name="connsiteY52" fmla="*/ 9201 h 10000"/>
              <a:gd name="connsiteX53" fmla="*/ 8 w 9996"/>
              <a:gd name="connsiteY53" fmla="*/ 8650 h 10000"/>
              <a:gd name="connsiteX54" fmla="*/ 8 w 9996"/>
              <a:gd name="connsiteY54" fmla="*/ 6881 h 10000"/>
              <a:gd name="connsiteX55" fmla="*/ 0 w 9996"/>
              <a:gd name="connsiteY55" fmla="*/ 3 h 10000"/>
              <a:gd name="connsiteX56" fmla="*/ 234 w 9996"/>
              <a:gd name="connsiteY5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273 w 10000"/>
              <a:gd name="connsiteY22" fmla="*/ 4256 h 10000"/>
              <a:gd name="connsiteX23" fmla="*/ 9502 w 10000"/>
              <a:gd name="connsiteY23" fmla="*/ 4494 h 10000"/>
              <a:gd name="connsiteX24" fmla="*/ 9803 w 10000"/>
              <a:gd name="connsiteY24" fmla="*/ 4800 h 10000"/>
              <a:gd name="connsiteX25" fmla="*/ 10000 w 10000"/>
              <a:gd name="connsiteY25" fmla="*/ 4997 h 10000"/>
              <a:gd name="connsiteX26" fmla="*/ 9849 w 10000"/>
              <a:gd name="connsiteY26" fmla="*/ 5173 h 10000"/>
              <a:gd name="connsiteX27" fmla="*/ 9634 w 10000"/>
              <a:gd name="connsiteY27" fmla="*/ 5400 h 10000"/>
              <a:gd name="connsiteX28" fmla="*/ 9428 w 10000"/>
              <a:gd name="connsiteY28" fmla="*/ 5610 h 10000"/>
              <a:gd name="connsiteX29" fmla="*/ 9170 w 10000"/>
              <a:gd name="connsiteY29" fmla="*/ 5866 h 10000"/>
              <a:gd name="connsiteX30" fmla="*/ 8840 w 10000"/>
              <a:gd name="connsiteY30" fmla="*/ 6164 h 10000"/>
              <a:gd name="connsiteX31" fmla="*/ 8671 w 10000"/>
              <a:gd name="connsiteY31" fmla="*/ 6318 h 10000"/>
              <a:gd name="connsiteX32" fmla="*/ 8416 w 10000"/>
              <a:gd name="connsiteY32" fmla="*/ 6540 h 10000"/>
              <a:gd name="connsiteX33" fmla="*/ 8192 w 10000"/>
              <a:gd name="connsiteY33" fmla="*/ 6735 h 10000"/>
              <a:gd name="connsiteX34" fmla="*/ 7942 w 10000"/>
              <a:gd name="connsiteY34" fmla="*/ 6933 h 10000"/>
              <a:gd name="connsiteX35" fmla="*/ 7587 w 10000"/>
              <a:gd name="connsiteY35" fmla="*/ 7208 h 10000"/>
              <a:gd name="connsiteX36" fmla="*/ 7210 w 10000"/>
              <a:gd name="connsiteY36" fmla="*/ 7493 h 10000"/>
              <a:gd name="connsiteX37" fmla="*/ 6833 w 10000"/>
              <a:gd name="connsiteY37" fmla="*/ 7759 h 10000"/>
              <a:gd name="connsiteX38" fmla="*/ 6464 w 10000"/>
              <a:gd name="connsiteY38" fmla="*/ 8005 h 10000"/>
              <a:gd name="connsiteX39" fmla="*/ 5967 w 10000"/>
              <a:gd name="connsiteY39" fmla="*/ 8319 h 10000"/>
              <a:gd name="connsiteX40" fmla="*/ 5537 w 10000"/>
              <a:gd name="connsiteY40" fmla="*/ 8575 h 10000"/>
              <a:gd name="connsiteX41" fmla="*/ 5181 w 10000"/>
              <a:gd name="connsiteY41" fmla="*/ 8761 h 10000"/>
              <a:gd name="connsiteX42" fmla="*/ 4786 w 10000"/>
              <a:gd name="connsiteY42" fmla="*/ 8948 h 10000"/>
              <a:gd name="connsiteX43" fmla="*/ 4370 w 10000"/>
              <a:gd name="connsiteY43" fmla="*/ 9125 h 10000"/>
              <a:gd name="connsiteX44" fmla="*/ 3946 w 10000"/>
              <a:gd name="connsiteY44" fmla="*/ 9282 h 10000"/>
              <a:gd name="connsiteX45" fmla="*/ 3364 w 10000"/>
              <a:gd name="connsiteY45" fmla="*/ 9466 h 10000"/>
              <a:gd name="connsiteX46" fmla="*/ 2657 w 10000"/>
              <a:gd name="connsiteY46" fmla="*/ 9645 h 10000"/>
              <a:gd name="connsiteX47" fmla="*/ 2283 w 10000"/>
              <a:gd name="connsiteY47" fmla="*/ 9724 h 10000"/>
              <a:gd name="connsiteX48" fmla="*/ 1524 w 10000"/>
              <a:gd name="connsiteY48" fmla="*/ 9852 h 10000"/>
              <a:gd name="connsiteX49" fmla="*/ 1016 w 10000"/>
              <a:gd name="connsiteY49" fmla="*/ 9920 h 10000"/>
              <a:gd name="connsiteX50" fmla="*/ 559 w 10000"/>
              <a:gd name="connsiteY50" fmla="*/ 9972 h 10000"/>
              <a:gd name="connsiteX51" fmla="*/ 183 w 10000"/>
              <a:gd name="connsiteY51" fmla="*/ 10000 h 10000"/>
              <a:gd name="connsiteX52" fmla="*/ 16 w 10000"/>
              <a:gd name="connsiteY52" fmla="*/ 9999 h 10000"/>
              <a:gd name="connsiteX53" fmla="*/ 8 w 10000"/>
              <a:gd name="connsiteY53" fmla="*/ 9201 h 10000"/>
              <a:gd name="connsiteX54" fmla="*/ 8 w 10000"/>
              <a:gd name="connsiteY54" fmla="*/ 8650 h 10000"/>
              <a:gd name="connsiteX55" fmla="*/ 8 w 10000"/>
              <a:gd name="connsiteY55" fmla="*/ 6881 h 10000"/>
              <a:gd name="connsiteX56" fmla="*/ 0 w 10000"/>
              <a:gd name="connsiteY56" fmla="*/ 3 h 10000"/>
              <a:gd name="connsiteX57" fmla="*/ 234 w 10000"/>
              <a:gd name="connsiteY5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809 w 10000"/>
              <a:gd name="connsiteY20" fmla="*/ 3826 h 10000"/>
              <a:gd name="connsiteX21" fmla="*/ 9273 w 10000"/>
              <a:gd name="connsiteY21" fmla="*/ 4256 h 10000"/>
              <a:gd name="connsiteX22" fmla="*/ 9502 w 10000"/>
              <a:gd name="connsiteY22" fmla="*/ 4494 h 10000"/>
              <a:gd name="connsiteX23" fmla="*/ 9803 w 10000"/>
              <a:gd name="connsiteY23" fmla="*/ 4800 h 10000"/>
              <a:gd name="connsiteX24" fmla="*/ 10000 w 10000"/>
              <a:gd name="connsiteY24" fmla="*/ 4997 h 10000"/>
              <a:gd name="connsiteX25" fmla="*/ 9849 w 10000"/>
              <a:gd name="connsiteY25" fmla="*/ 5173 h 10000"/>
              <a:gd name="connsiteX26" fmla="*/ 9634 w 10000"/>
              <a:gd name="connsiteY26" fmla="*/ 5400 h 10000"/>
              <a:gd name="connsiteX27" fmla="*/ 9428 w 10000"/>
              <a:gd name="connsiteY27" fmla="*/ 5610 h 10000"/>
              <a:gd name="connsiteX28" fmla="*/ 9170 w 10000"/>
              <a:gd name="connsiteY28" fmla="*/ 5866 h 10000"/>
              <a:gd name="connsiteX29" fmla="*/ 8840 w 10000"/>
              <a:gd name="connsiteY29" fmla="*/ 6164 h 10000"/>
              <a:gd name="connsiteX30" fmla="*/ 8671 w 10000"/>
              <a:gd name="connsiteY30" fmla="*/ 6318 h 10000"/>
              <a:gd name="connsiteX31" fmla="*/ 8416 w 10000"/>
              <a:gd name="connsiteY31" fmla="*/ 6540 h 10000"/>
              <a:gd name="connsiteX32" fmla="*/ 8192 w 10000"/>
              <a:gd name="connsiteY32" fmla="*/ 6735 h 10000"/>
              <a:gd name="connsiteX33" fmla="*/ 7942 w 10000"/>
              <a:gd name="connsiteY33" fmla="*/ 6933 h 10000"/>
              <a:gd name="connsiteX34" fmla="*/ 7587 w 10000"/>
              <a:gd name="connsiteY34" fmla="*/ 7208 h 10000"/>
              <a:gd name="connsiteX35" fmla="*/ 7210 w 10000"/>
              <a:gd name="connsiteY35" fmla="*/ 7493 h 10000"/>
              <a:gd name="connsiteX36" fmla="*/ 6833 w 10000"/>
              <a:gd name="connsiteY36" fmla="*/ 7759 h 10000"/>
              <a:gd name="connsiteX37" fmla="*/ 6464 w 10000"/>
              <a:gd name="connsiteY37" fmla="*/ 8005 h 10000"/>
              <a:gd name="connsiteX38" fmla="*/ 5967 w 10000"/>
              <a:gd name="connsiteY38" fmla="*/ 8319 h 10000"/>
              <a:gd name="connsiteX39" fmla="*/ 5537 w 10000"/>
              <a:gd name="connsiteY39" fmla="*/ 8575 h 10000"/>
              <a:gd name="connsiteX40" fmla="*/ 5181 w 10000"/>
              <a:gd name="connsiteY40" fmla="*/ 8761 h 10000"/>
              <a:gd name="connsiteX41" fmla="*/ 4786 w 10000"/>
              <a:gd name="connsiteY41" fmla="*/ 8948 h 10000"/>
              <a:gd name="connsiteX42" fmla="*/ 4370 w 10000"/>
              <a:gd name="connsiteY42" fmla="*/ 9125 h 10000"/>
              <a:gd name="connsiteX43" fmla="*/ 3946 w 10000"/>
              <a:gd name="connsiteY43" fmla="*/ 9282 h 10000"/>
              <a:gd name="connsiteX44" fmla="*/ 3364 w 10000"/>
              <a:gd name="connsiteY44" fmla="*/ 9466 h 10000"/>
              <a:gd name="connsiteX45" fmla="*/ 2657 w 10000"/>
              <a:gd name="connsiteY45" fmla="*/ 9645 h 10000"/>
              <a:gd name="connsiteX46" fmla="*/ 2283 w 10000"/>
              <a:gd name="connsiteY46" fmla="*/ 9724 h 10000"/>
              <a:gd name="connsiteX47" fmla="*/ 1524 w 10000"/>
              <a:gd name="connsiteY47" fmla="*/ 9852 h 10000"/>
              <a:gd name="connsiteX48" fmla="*/ 1016 w 10000"/>
              <a:gd name="connsiteY48" fmla="*/ 9920 h 10000"/>
              <a:gd name="connsiteX49" fmla="*/ 559 w 10000"/>
              <a:gd name="connsiteY49" fmla="*/ 9972 h 10000"/>
              <a:gd name="connsiteX50" fmla="*/ 183 w 10000"/>
              <a:gd name="connsiteY50" fmla="*/ 10000 h 10000"/>
              <a:gd name="connsiteX51" fmla="*/ 16 w 10000"/>
              <a:gd name="connsiteY51" fmla="*/ 9999 h 10000"/>
              <a:gd name="connsiteX52" fmla="*/ 8 w 10000"/>
              <a:gd name="connsiteY52" fmla="*/ 9201 h 10000"/>
              <a:gd name="connsiteX53" fmla="*/ 8 w 10000"/>
              <a:gd name="connsiteY53" fmla="*/ 8650 h 10000"/>
              <a:gd name="connsiteX54" fmla="*/ 8 w 10000"/>
              <a:gd name="connsiteY54" fmla="*/ 6881 h 10000"/>
              <a:gd name="connsiteX55" fmla="*/ 0 w 10000"/>
              <a:gd name="connsiteY55" fmla="*/ 3 h 10000"/>
              <a:gd name="connsiteX56" fmla="*/ 234 w 10000"/>
              <a:gd name="connsiteY5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8809 w 10000"/>
              <a:gd name="connsiteY19" fmla="*/ 3826 h 10000"/>
              <a:gd name="connsiteX20" fmla="*/ 9273 w 10000"/>
              <a:gd name="connsiteY20" fmla="*/ 4256 h 10000"/>
              <a:gd name="connsiteX21" fmla="*/ 9502 w 10000"/>
              <a:gd name="connsiteY21" fmla="*/ 4494 h 10000"/>
              <a:gd name="connsiteX22" fmla="*/ 9803 w 10000"/>
              <a:gd name="connsiteY22" fmla="*/ 4800 h 10000"/>
              <a:gd name="connsiteX23" fmla="*/ 10000 w 10000"/>
              <a:gd name="connsiteY23" fmla="*/ 4997 h 10000"/>
              <a:gd name="connsiteX24" fmla="*/ 9849 w 10000"/>
              <a:gd name="connsiteY24" fmla="*/ 5173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946 w 10000"/>
              <a:gd name="connsiteY42" fmla="*/ 9282 h 10000"/>
              <a:gd name="connsiteX43" fmla="*/ 3364 w 10000"/>
              <a:gd name="connsiteY43" fmla="*/ 9466 h 10000"/>
              <a:gd name="connsiteX44" fmla="*/ 2657 w 10000"/>
              <a:gd name="connsiteY44" fmla="*/ 9645 h 10000"/>
              <a:gd name="connsiteX45" fmla="*/ 2283 w 10000"/>
              <a:gd name="connsiteY45" fmla="*/ 9724 h 10000"/>
              <a:gd name="connsiteX46" fmla="*/ 1524 w 10000"/>
              <a:gd name="connsiteY46" fmla="*/ 9852 h 10000"/>
              <a:gd name="connsiteX47" fmla="*/ 1016 w 10000"/>
              <a:gd name="connsiteY47" fmla="*/ 9920 h 10000"/>
              <a:gd name="connsiteX48" fmla="*/ 559 w 10000"/>
              <a:gd name="connsiteY48" fmla="*/ 9972 h 10000"/>
              <a:gd name="connsiteX49" fmla="*/ 183 w 10000"/>
              <a:gd name="connsiteY49" fmla="*/ 10000 h 10000"/>
              <a:gd name="connsiteX50" fmla="*/ 16 w 10000"/>
              <a:gd name="connsiteY50" fmla="*/ 9999 h 10000"/>
              <a:gd name="connsiteX51" fmla="*/ 8 w 10000"/>
              <a:gd name="connsiteY51" fmla="*/ 9201 h 10000"/>
              <a:gd name="connsiteX52" fmla="*/ 8 w 10000"/>
              <a:gd name="connsiteY52" fmla="*/ 8650 h 10000"/>
              <a:gd name="connsiteX53" fmla="*/ 8 w 10000"/>
              <a:gd name="connsiteY53" fmla="*/ 6881 h 10000"/>
              <a:gd name="connsiteX54" fmla="*/ 0 w 10000"/>
              <a:gd name="connsiteY54" fmla="*/ 3 h 10000"/>
              <a:gd name="connsiteX55" fmla="*/ 234 w 10000"/>
              <a:gd name="connsiteY55"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7005 w 10014"/>
              <a:gd name="connsiteY17" fmla="*/ 2362 h 10000"/>
              <a:gd name="connsiteX18" fmla="*/ 7469 w 10014"/>
              <a:gd name="connsiteY18" fmla="*/ 2705 h 10000"/>
              <a:gd name="connsiteX19" fmla="*/ 8823 w 10014"/>
              <a:gd name="connsiteY19" fmla="*/ 3826 h 10000"/>
              <a:gd name="connsiteX20" fmla="*/ 9287 w 10014"/>
              <a:gd name="connsiteY20" fmla="*/ 4256 h 10000"/>
              <a:gd name="connsiteX21" fmla="*/ 9516 w 10014"/>
              <a:gd name="connsiteY21" fmla="*/ 4494 h 10000"/>
              <a:gd name="connsiteX22" fmla="*/ 9817 w 10014"/>
              <a:gd name="connsiteY22" fmla="*/ 4800 h 10000"/>
              <a:gd name="connsiteX23" fmla="*/ 10014 w 10014"/>
              <a:gd name="connsiteY23" fmla="*/ 4997 h 10000"/>
              <a:gd name="connsiteX24" fmla="*/ 9863 w 10014"/>
              <a:gd name="connsiteY24" fmla="*/ 5173 h 10000"/>
              <a:gd name="connsiteX25" fmla="*/ 9648 w 10014"/>
              <a:gd name="connsiteY25" fmla="*/ 5400 h 10000"/>
              <a:gd name="connsiteX26" fmla="*/ 9442 w 10014"/>
              <a:gd name="connsiteY26" fmla="*/ 5610 h 10000"/>
              <a:gd name="connsiteX27" fmla="*/ 9184 w 10014"/>
              <a:gd name="connsiteY27" fmla="*/ 5866 h 10000"/>
              <a:gd name="connsiteX28" fmla="*/ 8854 w 10014"/>
              <a:gd name="connsiteY28" fmla="*/ 6164 h 10000"/>
              <a:gd name="connsiteX29" fmla="*/ 8685 w 10014"/>
              <a:gd name="connsiteY29" fmla="*/ 6318 h 10000"/>
              <a:gd name="connsiteX30" fmla="*/ 8430 w 10014"/>
              <a:gd name="connsiteY30" fmla="*/ 6540 h 10000"/>
              <a:gd name="connsiteX31" fmla="*/ 8206 w 10014"/>
              <a:gd name="connsiteY31" fmla="*/ 6735 h 10000"/>
              <a:gd name="connsiteX32" fmla="*/ 7956 w 10014"/>
              <a:gd name="connsiteY32" fmla="*/ 6933 h 10000"/>
              <a:gd name="connsiteX33" fmla="*/ 7601 w 10014"/>
              <a:gd name="connsiteY33" fmla="*/ 7208 h 10000"/>
              <a:gd name="connsiteX34" fmla="*/ 7224 w 10014"/>
              <a:gd name="connsiteY34" fmla="*/ 7493 h 10000"/>
              <a:gd name="connsiteX35" fmla="*/ 6847 w 10014"/>
              <a:gd name="connsiteY35" fmla="*/ 7759 h 10000"/>
              <a:gd name="connsiteX36" fmla="*/ 6478 w 10014"/>
              <a:gd name="connsiteY36" fmla="*/ 8005 h 10000"/>
              <a:gd name="connsiteX37" fmla="*/ 5981 w 10014"/>
              <a:gd name="connsiteY37" fmla="*/ 8319 h 10000"/>
              <a:gd name="connsiteX38" fmla="*/ 5551 w 10014"/>
              <a:gd name="connsiteY38" fmla="*/ 8575 h 10000"/>
              <a:gd name="connsiteX39" fmla="*/ 5195 w 10014"/>
              <a:gd name="connsiteY39" fmla="*/ 8761 h 10000"/>
              <a:gd name="connsiteX40" fmla="*/ 4800 w 10014"/>
              <a:gd name="connsiteY40" fmla="*/ 8948 h 10000"/>
              <a:gd name="connsiteX41" fmla="*/ 4384 w 10014"/>
              <a:gd name="connsiteY41" fmla="*/ 9125 h 10000"/>
              <a:gd name="connsiteX42" fmla="*/ 3960 w 10014"/>
              <a:gd name="connsiteY42" fmla="*/ 9282 h 10000"/>
              <a:gd name="connsiteX43" fmla="*/ 3378 w 10014"/>
              <a:gd name="connsiteY43" fmla="*/ 9466 h 10000"/>
              <a:gd name="connsiteX44" fmla="*/ 2671 w 10014"/>
              <a:gd name="connsiteY44" fmla="*/ 9645 h 10000"/>
              <a:gd name="connsiteX45" fmla="*/ 2297 w 10014"/>
              <a:gd name="connsiteY45" fmla="*/ 9724 h 10000"/>
              <a:gd name="connsiteX46" fmla="*/ 1538 w 10014"/>
              <a:gd name="connsiteY46" fmla="*/ 9852 h 10000"/>
              <a:gd name="connsiteX47" fmla="*/ 1030 w 10014"/>
              <a:gd name="connsiteY47" fmla="*/ 9920 h 10000"/>
              <a:gd name="connsiteX48" fmla="*/ 573 w 10014"/>
              <a:gd name="connsiteY48" fmla="*/ 9972 h 10000"/>
              <a:gd name="connsiteX49" fmla="*/ 197 w 10014"/>
              <a:gd name="connsiteY49" fmla="*/ 10000 h 10000"/>
              <a:gd name="connsiteX50" fmla="*/ 30 w 10014"/>
              <a:gd name="connsiteY50" fmla="*/ 9999 h 10000"/>
              <a:gd name="connsiteX51" fmla="*/ 22 w 10014"/>
              <a:gd name="connsiteY51" fmla="*/ 9201 h 10000"/>
              <a:gd name="connsiteX52" fmla="*/ 22 w 10014"/>
              <a:gd name="connsiteY52" fmla="*/ 8650 h 10000"/>
              <a:gd name="connsiteX53" fmla="*/ 22 w 10014"/>
              <a:gd name="connsiteY53" fmla="*/ 6881 h 10000"/>
              <a:gd name="connsiteX54" fmla="*/ 21 w 10014"/>
              <a:gd name="connsiteY54" fmla="*/ 4264 h 10000"/>
              <a:gd name="connsiteX55" fmla="*/ 14 w 10014"/>
              <a:gd name="connsiteY55" fmla="*/ 3 h 10000"/>
              <a:gd name="connsiteX56" fmla="*/ 248 w 10014"/>
              <a:gd name="connsiteY56"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7005 w 10014"/>
              <a:gd name="connsiteY17" fmla="*/ 2362 h 10000"/>
              <a:gd name="connsiteX18" fmla="*/ 7469 w 10014"/>
              <a:gd name="connsiteY18" fmla="*/ 2705 h 10000"/>
              <a:gd name="connsiteX19" fmla="*/ 9287 w 10014"/>
              <a:gd name="connsiteY19" fmla="*/ 4256 h 10000"/>
              <a:gd name="connsiteX20" fmla="*/ 9516 w 10014"/>
              <a:gd name="connsiteY20" fmla="*/ 4494 h 10000"/>
              <a:gd name="connsiteX21" fmla="*/ 9817 w 10014"/>
              <a:gd name="connsiteY21" fmla="*/ 4800 h 10000"/>
              <a:gd name="connsiteX22" fmla="*/ 10014 w 10014"/>
              <a:gd name="connsiteY22" fmla="*/ 4997 h 10000"/>
              <a:gd name="connsiteX23" fmla="*/ 9863 w 10014"/>
              <a:gd name="connsiteY23" fmla="*/ 5173 h 10000"/>
              <a:gd name="connsiteX24" fmla="*/ 9648 w 10014"/>
              <a:gd name="connsiteY24" fmla="*/ 5400 h 10000"/>
              <a:gd name="connsiteX25" fmla="*/ 9442 w 10014"/>
              <a:gd name="connsiteY25" fmla="*/ 5610 h 10000"/>
              <a:gd name="connsiteX26" fmla="*/ 9184 w 10014"/>
              <a:gd name="connsiteY26" fmla="*/ 5866 h 10000"/>
              <a:gd name="connsiteX27" fmla="*/ 8854 w 10014"/>
              <a:gd name="connsiteY27" fmla="*/ 6164 h 10000"/>
              <a:gd name="connsiteX28" fmla="*/ 8685 w 10014"/>
              <a:gd name="connsiteY28" fmla="*/ 6318 h 10000"/>
              <a:gd name="connsiteX29" fmla="*/ 8430 w 10014"/>
              <a:gd name="connsiteY29" fmla="*/ 6540 h 10000"/>
              <a:gd name="connsiteX30" fmla="*/ 8206 w 10014"/>
              <a:gd name="connsiteY30" fmla="*/ 6735 h 10000"/>
              <a:gd name="connsiteX31" fmla="*/ 7956 w 10014"/>
              <a:gd name="connsiteY31" fmla="*/ 6933 h 10000"/>
              <a:gd name="connsiteX32" fmla="*/ 7601 w 10014"/>
              <a:gd name="connsiteY32" fmla="*/ 7208 h 10000"/>
              <a:gd name="connsiteX33" fmla="*/ 7224 w 10014"/>
              <a:gd name="connsiteY33" fmla="*/ 7493 h 10000"/>
              <a:gd name="connsiteX34" fmla="*/ 6847 w 10014"/>
              <a:gd name="connsiteY34" fmla="*/ 7759 h 10000"/>
              <a:gd name="connsiteX35" fmla="*/ 6478 w 10014"/>
              <a:gd name="connsiteY35" fmla="*/ 8005 h 10000"/>
              <a:gd name="connsiteX36" fmla="*/ 5981 w 10014"/>
              <a:gd name="connsiteY36" fmla="*/ 8319 h 10000"/>
              <a:gd name="connsiteX37" fmla="*/ 5551 w 10014"/>
              <a:gd name="connsiteY37" fmla="*/ 8575 h 10000"/>
              <a:gd name="connsiteX38" fmla="*/ 5195 w 10014"/>
              <a:gd name="connsiteY38" fmla="*/ 8761 h 10000"/>
              <a:gd name="connsiteX39" fmla="*/ 4800 w 10014"/>
              <a:gd name="connsiteY39" fmla="*/ 8948 h 10000"/>
              <a:gd name="connsiteX40" fmla="*/ 4384 w 10014"/>
              <a:gd name="connsiteY40" fmla="*/ 9125 h 10000"/>
              <a:gd name="connsiteX41" fmla="*/ 3960 w 10014"/>
              <a:gd name="connsiteY41" fmla="*/ 9282 h 10000"/>
              <a:gd name="connsiteX42" fmla="*/ 3378 w 10014"/>
              <a:gd name="connsiteY42" fmla="*/ 9466 h 10000"/>
              <a:gd name="connsiteX43" fmla="*/ 2671 w 10014"/>
              <a:gd name="connsiteY43" fmla="*/ 9645 h 10000"/>
              <a:gd name="connsiteX44" fmla="*/ 2297 w 10014"/>
              <a:gd name="connsiteY44" fmla="*/ 9724 h 10000"/>
              <a:gd name="connsiteX45" fmla="*/ 1538 w 10014"/>
              <a:gd name="connsiteY45" fmla="*/ 9852 h 10000"/>
              <a:gd name="connsiteX46" fmla="*/ 1030 w 10014"/>
              <a:gd name="connsiteY46" fmla="*/ 9920 h 10000"/>
              <a:gd name="connsiteX47" fmla="*/ 573 w 10014"/>
              <a:gd name="connsiteY47" fmla="*/ 9972 h 10000"/>
              <a:gd name="connsiteX48" fmla="*/ 197 w 10014"/>
              <a:gd name="connsiteY48" fmla="*/ 10000 h 10000"/>
              <a:gd name="connsiteX49" fmla="*/ 30 w 10014"/>
              <a:gd name="connsiteY49" fmla="*/ 9999 h 10000"/>
              <a:gd name="connsiteX50" fmla="*/ 22 w 10014"/>
              <a:gd name="connsiteY50" fmla="*/ 9201 h 10000"/>
              <a:gd name="connsiteX51" fmla="*/ 22 w 10014"/>
              <a:gd name="connsiteY51" fmla="*/ 8650 h 10000"/>
              <a:gd name="connsiteX52" fmla="*/ 22 w 10014"/>
              <a:gd name="connsiteY52" fmla="*/ 6881 h 10000"/>
              <a:gd name="connsiteX53" fmla="*/ 21 w 10014"/>
              <a:gd name="connsiteY53" fmla="*/ 4264 h 10000"/>
              <a:gd name="connsiteX54" fmla="*/ 14 w 10014"/>
              <a:gd name="connsiteY54" fmla="*/ 3 h 10000"/>
              <a:gd name="connsiteX55" fmla="*/ 248 w 10014"/>
              <a:gd name="connsiteY55"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7005 w 10014"/>
              <a:gd name="connsiteY17" fmla="*/ 2362 h 10000"/>
              <a:gd name="connsiteX18" fmla="*/ 9287 w 10014"/>
              <a:gd name="connsiteY18" fmla="*/ 4256 h 10000"/>
              <a:gd name="connsiteX19" fmla="*/ 9516 w 10014"/>
              <a:gd name="connsiteY19" fmla="*/ 4494 h 10000"/>
              <a:gd name="connsiteX20" fmla="*/ 9817 w 10014"/>
              <a:gd name="connsiteY20" fmla="*/ 4800 h 10000"/>
              <a:gd name="connsiteX21" fmla="*/ 10014 w 10014"/>
              <a:gd name="connsiteY21" fmla="*/ 4997 h 10000"/>
              <a:gd name="connsiteX22" fmla="*/ 9863 w 10014"/>
              <a:gd name="connsiteY22" fmla="*/ 5173 h 10000"/>
              <a:gd name="connsiteX23" fmla="*/ 9648 w 10014"/>
              <a:gd name="connsiteY23" fmla="*/ 5400 h 10000"/>
              <a:gd name="connsiteX24" fmla="*/ 9442 w 10014"/>
              <a:gd name="connsiteY24" fmla="*/ 5610 h 10000"/>
              <a:gd name="connsiteX25" fmla="*/ 9184 w 10014"/>
              <a:gd name="connsiteY25" fmla="*/ 5866 h 10000"/>
              <a:gd name="connsiteX26" fmla="*/ 8854 w 10014"/>
              <a:gd name="connsiteY26" fmla="*/ 6164 h 10000"/>
              <a:gd name="connsiteX27" fmla="*/ 8685 w 10014"/>
              <a:gd name="connsiteY27" fmla="*/ 6318 h 10000"/>
              <a:gd name="connsiteX28" fmla="*/ 8430 w 10014"/>
              <a:gd name="connsiteY28" fmla="*/ 6540 h 10000"/>
              <a:gd name="connsiteX29" fmla="*/ 8206 w 10014"/>
              <a:gd name="connsiteY29" fmla="*/ 6735 h 10000"/>
              <a:gd name="connsiteX30" fmla="*/ 7956 w 10014"/>
              <a:gd name="connsiteY30" fmla="*/ 6933 h 10000"/>
              <a:gd name="connsiteX31" fmla="*/ 7601 w 10014"/>
              <a:gd name="connsiteY31" fmla="*/ 7208 h 10000"/>
              <a:gd name="connsiteX32" fmla="*/ 7224 w 10014"/>
              <a:gd name="connsiteY32" fmla="*/ 7493 h 10000"/>
              <a:gd name="connsiteX33" fmla="*/ 6847 w 10014"/>
              <a:gd name="connsiteY33" fmla="*/ 7759 h 10000"/>
              <a:gd name="connsiteX34" fmla="*/ 6478 w 10014"/>
              <a:gd name="connsiteY34" fmla="*/ 8005 h 10000"/>
              <a:gd name="connsiteX35" fmla="*/ 5981 w 10014"/>
              <a:gd name="connsiteY35" fmla="*/ 8319 h 10000"/>
              <a:gd name="connsiteX36" fmla="*/ 5551 w 10014"/>
              <a:gd name="connsiteY36" fmla="*/ 8575 h 10000"/>
              <a:gd name="connsiteX37" fmla="*/ 5195 w 10014"/>
              <a:gd name="connsiteY37" fmla="*/ 8761 h 10000"/>
              <a:gd name="connsiteX38" fmla="*/ 4800 w 10014"/>
              <a:gd name="connsiteY38" fmla="*/ 8948 h 10000"/>
              <a:gd name="connsiteX39" fmla="*/ 4384 w 10014"/>
              <a:gd name="connsiteY39" fmla="*/ 9125 h 10000"/>
              <a:gd name="connsiteX40" fmla="*/ 3960 w 10014"/>
              <a:gd name="connsiteY40" fmla="*/ 9282 h 10000"/>
              <a:gd name="connsiteX41" fmla="*/ 3378 w 10014"/>
              <a:gd name="connsiteY41" fmla="*/ 9466 h 10000"/>
              <a:gd name="connsiteX42" fmla="*/ 2671 w 10014"/>
              <a:gd name="connsiteY42" fmla="*/ 9645 h 10000"/>
              <a:gd name="connsiteX43" fmla="*/ 2297 w 10014"/>
              <a:gd name="connsiteY43" fmla="*/ 9724 h 10000"/>
              <a:gd name="connsiteX44" fmla="*/ 1538 w 10014"/>
              <a:gd name="connsiteY44" fmla="*/ 9852 h 10000"/>
              <a:gd name="connsiteX45" fmla="*/ 1030 w 10014"/>
              <a:gd name="connsiteY45" fmla="*/ 9920 h 10000"/>
              <a:gd name="connsiteX46" fmla="*/ 573 w 10014"/>
              <a:gd name="connsiteY46" fmla="*/ 9972 h 10000"/>
              <a:gd name="connsiteX47" fmla="*/ 197 w 10014"/>
              <a:gd name="connsiteY47" fmla="*/ 10000 h 10000"/>
              <a:gd name="connsiteX48" fmla="*/ 30 w 10014"/>
              <a:gd name="connsiteY48" fmla="*/ 9999 h 10000"/>
              <a:gd name="connsiteX49" fmla="*/ 22 w 10014"/>
              <a:gd name="connsiteY49" fmla="*/ 9201 h 10000"/>
              <a:gd name="connsiteX50" fmla="*/ 22 w 10014"/>
              <a:gd name="connsiteY50" fmla="*/ 8650 h 10000"/>
              <a:gd name="connsiteX51" fmla="*/ 22 w 10014"/>
              <a:gd name="connsiteY51" fmla="*/ 6881 h 10000"/>
              <a:gd name="connsiteX52" fmla="*/ 21 w 10014"/>
              <a:gd name="connsiteY52" fmla="*/ 4264 h 10000"/>
              <a:gd name="connsiteX53" fmla="*/ 14 w 10014"/>
              <a:gd name="connsiteY53" fmla="*/ 3 h 10000"/>
              <a:gd name="connsiteX54" fmla="*/ 248 w 10014"/>
              <a:gd name="connsiteY54"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9287 w 10014"/>
              <a:gd name="connsiteY17" fmla="*/ 4256 h 10000"/>
              <a:gd name="connsiteX18" fmla="*/ 9516 w 10014"/>
              <a:gd name="connsiteY18" fmla="*/ 4494 h 10000"/>
              <a:gd name="connsiteX19" fmla="*/ 9817 w 10014"/>
              <a:gd name="connsiteY19" fmla="*/ 4800 h 10000"/>
              <a:gd name="connsiteX20" fmla="*/ 10014 w 10014"/>
              <a:gd name="connsiteY20" fmla="*/ 4997 h 10000"/>
              <a:gd name="connsiteX21" fmla="*/ 9863 w 10014"/>
              <a:gd name="connsiteY21" fmla="*/ 5173 h 10000"/>
              <a:gd name="connsiteX22" fmla="*/ 9648 w 10014"/>
              <a:gd name="connsiteY22" fmla="*/ 5400 h 10000"/>
              <a:gd name="connsiteX23" fmla="*/ 9442 w 10014"/>
              <a:gd name="connsiteY23" fmla="*/ 5610 h 10000"/>
              <a:gd name="connsiteX24" fmla="*/ 9184 w 10014"/>
              <a:gd name="connsiteY24" fmla="*/ 5866 h 10000"/>
              <a:gd name="connsiteX25" fmla="*/ 8854 w 10014"/>
              <a:gd name="connsiteY25" fmla="*/ 6164 h 10000"/>
              <a:gd name="connsiteX26" fmla="*/ 8685 w 10014"/>
              <a:gd name="connsiteY26" fmla="*/ 6318 h 10000"/>
              <a:gd name="connsiteX27" fmla="*/ 8430 w 10014"/>
              <a:gd name="connsiteY27" fmla="*/ 6540 h 10000"/>
              <a:gd name="connsiteX28" fmla="*/ 8206 w 10014"/>
              <a:gd name="connsiteY28" fmla="*/ 6735 h 10000"/>
              <a:gd name="connsiteX29" fmla="*/ 7956 w 10014"/>
              <a:gd name="connsiteY29" fmla="*/ 6933 h 10000"/>
              <a:gd name="connsiteX30" fmla="*/ 7601 w 10014"/>
              <a:gd name="connsiteY30" fmla="*/ 7208 h 10000"/>
              <a:gd name="connsiteX31" fmla="*/ 7224 w 10014"/>
              <a:gd name="connsiteY31" fmla="*/ 7493 h 10000"/>
              <a:gd name="connsiteX32" fmla="*/ 6847 w 10014"/>
              <a:gd name="connsiteY32" fmla="*/ 7759 h 10000"/>
              <a:gd name="connsiteX33" fmla="*/ 6478 w 10014"/>
              <a:gd name="connsiteY33" fmla="*/ 8005 h 10000"/>
              <a:gd name="connsiteX34" fmla="*/ 5981 w 10014"/>
              <a:gd name="connsiteY34" fmla="*/ 8319 h 10000"/>
              <a:gd name="connsiteX35" fmla="*/ 5551 w 10014"/>
              <a:gd name="connsiteY35" fmla="*/ 8575 h 10000"/>
              <a:gd name="connsiteX36" fmla="*/ 5195 w 10014"/>
              <a:gd name="connsiteY36" fmla="*/ 8761 h 10000"/>
              <a:gd name="connsiteX37" fmla="*/ 4800 w 10014"/>
              <a:gd name="connsiteY37" fmla="*/ 8948 h 10000"/>
              <a:gd name="connsiteX38" fmla="*/ 4384 w 10014"/>
              <a:gd name="connsiteY38" fmla="*/ 9125 h 10000"/>
              <a:gd name="connsiteX39" fmla="*/ 3960 w 10014"/>
              <a:gd name="connsiteY39" fmla="*/ 9282 h 10000"/>
              <a:gd name="connsiteX40" fmla="*/ 3378 w 10014"/>
              <a:gd name="connsiteY40" fmla="*/ 9466 h 10000"/>
              <a:gd name="connsiteX41" fmla="*/ 2671 w 10014"/>
              <a:gd name="connsiteY41" fmla="*/ 9645 h 10000"/>
              <a:gd name="connsiteX42" fmla="*/ 2297 w 10014"/>
              <a:gd name="connsiteY42" fmla="*/ 9724 h 10000"/>
              <a:gd name="connsiteX43" fmla="*/ 1538 w 10014"/>
              <a:gd name="connsiteY43" fmla="*/ 9852 h 10000"/>
              <a:gd name="connsiteX44" fmla="*/ 1030 w 10014"/>
              <a:gd name="connsiteY44" fmla="*/ 9920 h 10000"/>
              <a:gd name="connsiteX45" fmla="*/ 573 w 10014"/>
              <a:gd name="connsiteY45" fmla="*/ 9972 h 10000"/>
              <a:gd name="connsiteX46" fmla="*/ 197 w 10014"/>
              <a:gd name="connsiteY46" fmla="*/ 10000 h 10000"/>
              <a:gd name="connsiteX47" fmla="*/ 30 w 10014"/>
              <a:gd name="connsiteY47" fmla="*/ 9999 h 10000"/>
              <a:gd name="connsiteX48" fmla="*/ 22 w 10014"/>
              <a:gd name="connsiteY48" fmla="*/ 9201 h 10000"/>
              <a:gd name="connsiteX49" fmla="*/ 22 w 10014"/>
              <a:gd name="connsiteY49" fmla="*/ 8650 h 10000"/>
              <a:gd name="connsiteX50" fmla="*/ 22 w 10014"/>
              <a:gd name="connsiteY50" fmla="*/ 6881 h 10000"/>
              <a:gd name="connsiteX51" fmla="*/ 21 w 10014"/>
              <a:gd name="connsiteY51" fmla="*/ 4264 h 10000"/>
              <a:gd name="connsiteX52" fmla="*/ 14 w 10014"/>
              <a:gd name="connsiteY52" fmla="*/ 3 h 10000"/>
              <a:gd name="connsiteX53" fmla="*/ 248 w 10014"/>
              <a:gd name="connsiteY53"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9287 w 10014"/>
              <a:gd name="connsiteY16" fmla="*/ 4256 h 10000"/>
              <a:gd name="connsiteX17" fmla="*/ 9516 w 10014"/>
              <a:gd name="connsiteY17" fmla="*/ 4494 h 10000"/>
              <a:gd name="connsiteX18" fmla="*/ 9817 w 10014"/>
              <a:gd name="connsiteY18" fmla="*/ 4800 h 10000"/>
              <a:gd name="connsiteX19" fmla="*/ 10014 w 10014"/>
              <a:gd name="connsiteY19" fmla="*/ 4997 h 10000"/>
              <a:gd name="connsiteX20" fmla="*/ 9863 w 10014"/>
              <a:gd name="connsiteY20" fmla="*/ 5173 h 10000"/>
              <a:gd name="connsiteX21" fmla="*/ 9648 w 10014"/>
              <a:gd name="connsiteY21" fmla="*/ 5400 h 10000"/>
              <a:gd name="connsiteX22" fmla="*/ 9442 w 10014"/>
              <a:gd name="connsiteY22" fmla="*/ 5610 h 10000"/>
              <a:gd name="connsiteX23" fmla="*/ 9184 w 10014"/>
              <a:gd name="connsiteY23" fmla="*/ 5866 h 10000"/>
              <a:gd name="connsiteX24" fmla="*/ 8854 w 10014"/>
              <a:gd name="connsiteY24" fmla="*/ 6164 h 10000"/>
              <a:gd name="connsiteX25" fmla="*/ 8685 w 10014"/>
              <a:gd name="connsiteY25" fmla="*/ 6318 h 10000"/>
              <a:gd name="connsiteX26" fmla="*/ 8430 w 10014"/>
              <a:gd name="connsiteY26" fmla="*/ 6540 h 10000"/>
              <a:gd name="connsiteX27" fmla="*/ 8206 w 10014"/>
              <a:gd name="connsiteY27" fmla="*/ 6735 h 10000"/>
              <a:gd name="connsiteX28" fmla="*/ 7956 w 10014"/>
              <a:gd name="connsiteY28" fmla="*/ 6933 h 10000"/>
              <a:gd name="connsiteX29" fmla="*/ 7601 w 10014"/>
              <a:gd name="connsiteY29" fmla="*/ 7208 h 10000"/>
              <a:gd name="connsiteX30" fmla="*/ 7224 w 10014"/>
              <a:gd name="connsiteY30" fmla="*/ 7493 h 10000"/>
              <a:gd name="connsiteX31" fmla="*/ 6847 w 10014"/>
              <a:gd name="connsiteY31" fmla="*/ 7759 h 10000"/>
              <a:gd name="connsiteX32" fmla="*/ 6478 w 10014"/>
              <a:gd name="connsiteY32" fmla="*/ 8005 h 10000"/>
              <a:gd name="connsiteX33" fmla="*/ 5981 w 10014"/>
              <a:gd name="connsiteY33" fmla="*/ 8319 h 10000"/>
              <a:gd name="connsiteX34" fmla="*/ 5551 w 10014"/>
              <a:gd name="connsiteY34" fmla="*/ 8575 h 10000"/>
              <a:gd name="connsiteX35" fmla="*/ 5195 w 10014"/>
              <a:gd name="connsiteY35" fmla="*/ 8761 h 10000"/>
              <a:gd name="connsiteX36" fmla="*/ 4800 w 10014"/>
              <a:gd name="connsiteY36" fmla="*/ 8948 h 10000"/>
              <a:gd name="connsiteX37" fmla="*/ 4384 w 10014"/>
              <a:gd name="connsiteY37" fmla="*/ 9125 h 10000"/>
              <a:gd name="connsiteX38" fmla="*/ 3960 w 10014"/>
              <a:gd name="connsiteY38" fmla="*/ 9282 h 10000"/>
              <a:gd name="connsiteX39" fmla="*/ 3378 w 10014"/>
              <a:gd name="connsiteY39" fmla="*/ 9466 h 10000"/>
              <a:gd name="connsiteX40" fmla="*/ 2671 w 10014"/>
              <a:gd name="connsiteY40" fmla="*/ 9645 h 10000"/>
              <a:gd name="connsiteX41" fmla="*/ 2297 w 10014"/>
              <a:gd name="connsiteY41" fmla="*/ 9724 h 10000"/>
              <a:gd name="connsiteX42" fmla="*/ 1538 w 10014"/>
              <a:gd name="connsiteY42" fmla="*/ 9852 h 10000"/>
              <a:gd name="connsiteX43" fmla="*/ 1030 w 10014"/>
              <a:gd name="connsiteY43" fmla="*/ 9920 h 10000"/>
              <a:gd name="connsiteX44" fmla="*/ 573 w 10014"/>
              <a:gd name="connsiteY44" fmla="*/ 9972 h 10000"/>
              <a:gd name="connsiteX45" fmla="*/ 197 w 10014"/>
              <a:gd name="connsiteY45" fmla="*/ 10000 h 10000"/>
              <a:gd name="connsiteX46" fmla="*/ 30 w 10014"/>
              <a:gd name="connsiteY46" fmla="*/ 9999 h 10000"/>
              <a:gd name="connsiteX47" fmla="*/ 22 w 10014"/>
              <a:gd name="connsiteY47" fmla="*/ 9201 h 10000"/>
              <a:gd name="connsiteX48" fmla="*/ 22 w 10014"/>
              <a:gd name="connsiteY48" fmla="*/ 8650 h 10000"/>
              <a:gd name="connsiteX49" fmla="*/ 22 w 10014"/>
              <a:gd name="connsiteY49" fmla="*/ 6881 h 10000"/>
              <a:gd name="connsiteX50" fmla="*/ 21 w 10014"/>
              <a:gd name="connsiteY50" fmla="*/ 4264 h 10000"/>
              <a:gd name="connsiteX51" fmla="*/ 14 w 10014"/>
              <a:gd name="connsiteY51" fmla="*/ 3 h 10000"/>
              <a:gd name="connsiteX52" fmla="*/ 248 w 10014"/>
              <a:gd name="connsiteY52"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9287 w 10014"/>
              <a:gd name="connsiteY15" fmla="*/ 4256 h 10000"/>
              <a:gd name="connsiteX16" fmla="*/ 9516 w 10014"/>
              <a:gd name="connsiteY16" fmla="*/ 4494 h 10000"/>
              <a:gd name="connsiteX17" fmla="*/ 9817 w 10014"/>
              <a:gd name="connsiteY17" fmla="*/ 4800 h 10000"/>
              <a:gd name="connsiteX18" fmla="*/ 10014 w 10014"/>
              <a:gd name="connsiteY18" fmla="*/ 4997 h 10000"/>
              <a:gd name="connsiteX19" fmla="*/ 9863 w 10014"/>
              <a:gd name="connsiteY19" fmla="*/ 5173 h 10000"/>
              <a:gd name="connsiteX20" fmla="*/ 9648 w 10014"/>
              <a:gd name="connsiteY20" fmla="*/ 5400 h 10000"/>
              <a:gd name="connsiteX21" fmla="*/ 9442 w 10014"/>
              <a:gd name="connsiteY21" fmla="*/ 5610 h 10000"/>
              <a:gd name="connsiteX22" fmla="*/ 9184 w 10014"/>
              <a:gd name="connsiteY22" fmla="*/ 5866 h 10000"/>
              <a:gd name="connsiteX23" fmla="*/ 8854 w 10014"/>
              <a:gd name="connsiteY23" fmla="*/ 6164 h 10000"/>
              <a:gd name="connsiteX24" fmla="*/ 8685 w 10014"/>
              <a:gd name="connsiteY24" fmla="*/ 6318 h 10000"/>
              <a:gd name="connsiteX25" fmla="*/ 8430 w 10014"/>
              <a:gd name="connsiteY25" fmla="*/ 6540 h 10000"/>
              <a:gd name="connsiteX26" fmla="*/ 8206 w 10014"/>
              <a:gd name="connsiteY26" fmla="*/ 6735 h 10000"/>
              <a:gd name="connsiteX27" fmla="*/ 7956 w 10014"/>
              <a:gd name="connsiteY27" fmla="*/ 6933 h 10000"/>
              <a:gd name="connsiteX28" fmla="*/ 7601 w 10014"/>
              <a:gd name="connsiteY28" fmla="*/ 7208 h 10000"/>
              <a:gd name="connsiteX29" fmla="*/ 7224 w 10014"/>
              <a:gd name="connsiteY29" fmla="*/ 7493 h 10000"/>
              <a:gd name="connsiteX30" fmla="*/ 6847 w 10014"/>
              <a:gd name="connsiteY30" fmla="*/ 7759 h 10000"/>
              <a:gd name="connsiteX31" fmla="*/ 6478 w 10014"/>
              <a:gd name="connsiteY31" fmla="*/ 8005 h 10000"/>
              <a:gd name="connsiteX32" fmla="*/ 5981 w 10014"/>
              <a:gd name="connsiteY32" fmla="*/ 8319 h 10000"/>
              <a:gd name="connsiteX33" fmla="*/ 5551 w 10014"/>
              <a:gd name="connsiteY33" fmla="*/ 8575 h 10000"/>
              <a:gd name="connsiteX34" fmla="*/ 5195 w 10014"/>
              <a:gd name="connsiteY34" fmla="*/ 8761 h 10000"/>
              <a:gd name="connsiteX35" fmla="*/ 4800 w 10014"/>
              <a:gd name="connsiteY35" fmla="*/ 8948 h 10000"/>
              <a:gd name="connsiteX36" fmla="*/ 4384 w 10014"/>
              <a:gd name="connsiteY36" fmla="*/ 9125 h 10000"/>
              <a:gd name="connsiteX37" fmla="*/ 3960 w 10014"/>
              <a:gd name="connsiteY37" fmla="*/ 9282 h 10000"/>
              <a:gd name="connsiteX38" fmla="*/ 3378 w 10014"/>
              <a:gd name="connsiteY38" fmla="*/ 9466 h 10000"/>
              <a:gd name="connsiteX39" fmla="*/ 2671 w 10014"/>
              <a:gd name="connsiteY39" fmla="*/ 9645 h 10000"/>
              <a:gd name="connsiteX40" fmla="*/ 2297 w 10014"/>
              <a:gd name="connsiteY40" fmla="*/ 9724 h 10000"/>
              <a:gd name="connsiteX41" fmla="*/ 1538 w 10014"/>
              <a:gd name="connsiteY41" fmla="*/ 9852 h 10000"/>
              <a:gd name="connsiteX42" fmla="*/ 1030 w 10014"/>
              <a:gd name="connsiteY42" fmla="*/ 9920 h 10000"/>
              <a:gd name="connsiteX43" fmla="*/ 573 w 10014"/>
              <a:gd name="connsiteY43" fmla="*/ 9972 h 10000"/>
              <a:gd name="connsiteX44" fmla="*/ 197 w 10014"/>
              <a:gd name="connsiteY44" fmla="*/ 10000 h 10000"/>
              <a:gd name="connsiteX45" fmla="*/ 30 w 10014"/>
              <a:gd name="connsiteY45" fmla="*/ 9999 h 10000"/>
              <a:gd name="connsiteX46" fmla="*/ 22 w 10014"/>
              <a:gd name="connsiteY46" fmla="*/ 9201 h 10000"/>
              <a:gd name="connsiteX47" fmla="*/ 22 w 10014"/>
              <a:gd name="connsiteY47" fmla="*/ 8650 h 10000"/>
              <a:gd name="connsiteX48" fmla="*/ 22 w 10014"/>
              <a:gd name="connsiteY48" fmla="*/ 6881 h 10000"/>
              <a:gd name="connsiteX49" fmla="*/ 21 w 10014"/>
              <a:gd name="connsiteY49" fmla="*/ 4264 h 10000"/>
              <a:gd name="connsiteX50" fmla="*/ 14 w 10014"/>
              <a:gd name="connsiteY50" fmla="*/ 3 h 10000"/>
              <a:gd name="connsiteX51" fmla="*/ 248 w 10014"/>
              <a:gd name="connsiteY51"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9287 w 10014"/>
              <a:gd name="connsiteY14" fmla="*/ 4256 h 10000"/>
              <a:gd name="connsiteX15" fmla="*/ 9516 w 10014"/>
              <a:gd name="connsiteY15" fmla="*/ 4494 h 10000"/>
              <a:gd name="connsiteX16" fmla="*/ 9817 w 10014"/>
              <a:gd name="connsiteY16" fmla="*/ 4800 h 10000"/>
              <a:gd name="connsiteX17" fmla="*/ 10014 w 10014"/>
              <a:gd name="connsiteY17" fmla="*/ 4997 h 10000"/>
              <a:gd name="connsiteX18" fmla="*/ 9863 w 10014"/>
              <a:gd name="connsiteY18" fmla="*/ 5173 h 10000"/>
              <a:gd name="connsiteX19" fmla="*/ 9648 w 10014"/>
              <a:gd name="connsiteY19" fmla="*/ 5400 h 10000"/>
              <a:gd name="connsiteX20" fmla="*/ 9442 w 10014"/>
              <a:gd name="connsiteY20" fmla="*/ 5610 h 10000"/>
              <a:gd name="connsiteX21" fmla="*/ 9184 w 10014"/>
              <a:gd name="connsiteY21" fmla="*/ 5866 h 10000"/>
              <a:gd name="connsiteX22" fmla="*/ 8854 w 10014"/>
              <a:gd name="connsiteY22" fmla="*/ 6164 h 10000"/>
              <a:gd name="connsiteX23" fmla="*/ 8685 w 10014"/>
              <a:gd name="connsiteY23" fmla="*/ 6318 h 10000"/>
              <a:gd name="connsiteX24" fmla="*/ 8430 w 10014"/>
              <a:gd name="connsiteY24" fmla="*/ 6540 h 10000"/>
              <a:gd name="connsiteX25" fmla="*/ 8206 w 10014"/>
              <a:gd name="connsiteY25" fmla="*/ 6735 h 10000"/>
              <a:gd name="connsiteX26" fmla="*/ 7956 w 10014"/>
              <a:gd name="connsiteY26" fmla="*/ 6933 h 10000"/>
              <a:gd name="connsiteX27" fmla="*/ 7601 w 10014"/>
              <a:gd name="connsiteY27" fmla="*/ 7208 h 10000"/>
              <a:gd name="connsiteX28" fmla="*/ 7224 w 10014"/>
              <a:gd name="connsiteY28" fmla="*/ 7493 h 10000"/>
              <a:gd name="connsiteX29" fmla="*/ 6847 w 10014"/>
              <a:gd name="connsiteY29" fmla="*/ 7759 h 10000"/>
              <a:gd name="connsiteX30" fmla="*/ 6478 w 10014"/>
              <a:gd name="connsiteY30" fmla="*/ 8005 h 10000"/>
              <a:gd name="connsiteX31" fmla="*/ 5981 w 10014"/>
              <a:gd name="connsiteY31" fmla="*/ 8319 h 10000"/>
              <a:gd name="connsiteX32" fmla="*/ 5551 w 10014"/>
              <a:gd name="connsiteY32" fmla="*/ 8575 h 10000"/>
              <a:gd name="connsiteX33" fmla="*/ 5195 w 10014"/>
              <a:gd name="connsiteY33" fmla="*/ 8761 h 10000"/>
              <a:gd name="connsiteX34" fmla="*/ 4800 w 10014"/>
              <a:gd name="connsiteY34" fmla="*/ 8948 h 10000"/>
              <a:gd name="connsiteX35" fmla="*/ 4384 w 10014"/>
              <a:gd name="connsiteY35" fmla="*/ 9125 h 10000"/>
              <a:gd name="connsiteX36" fmla="*/ 3960 w 10014"/>
              <a:gd name="connsiteY36" fmla="*/ 9282 h 10000"/>
              <a:gd name="connsiteX37" fmla="*/ 3378 w 10014"/>
              <a:gd name="connsiteY37" fmla="*/ 9466 h 10000"/>
              <a:gd name="connsiteX38" fmla="*/ 2671 w 10014"/>
              <a:gd name="connsiteY38" fmla="*/ 9645 h 10000"/>
              <a:gd name="connsiteX39" fmla="*/ 2297 w 10014"/>
              <a:gd name="connsiteY39" fmla="*/ 9724 h 10000"/>
              <a:gd name="connsiteX40" fmla="*/ 1538 w 10014"/>
              <a:gd name="connsiteY40" fmla="*/ 9852 h 10000"/>
              <a:gd name="connsiteX41" fmla="*/ 1030 w 10014"/>
              <a:gd name="connsiteY41" fmla="*/ 9920 h 10000"/>
              <a:gd name="connsiteX42" fmla="*/ 573 w 10014"/>
              <a:gd name="connsiteY42" fmla="*/ 9972 h 10000"/>
              <a:gd name="connsiteX43" fmla="*/ 197 w 10014"/>
              <a:gd name="connsiteY43" fmla="*/ 10000 h 10000"/>
              <a:gd name="connsiteX44" fmla="*/ 30 w 10014"/>
              <a:gd name="connsiteY44" fmla="*/ 9999 h 10000"/>
              <a:gd name="connsiteX45" fmla="*/ 22 w 10014"/>
              <a:gd name="connsiteY45" fmla="*/ 9201 h 10000"/>
              <a:gd name="connsiteX46" fmla="*/ 22 w 10014"/>
              <a:gd name="connsiteY46" fmla="*/ 8650 h 10000"/>
              <a:gd name="connsiteX47" fmla="*/ 22 w 10014"/>
              <a:gd name="connsiteY47" fmla="*/ 6881 h 10000"/>
              <a:gd name="connsiteX48" fmla="*/ 21 w 10014"/>
              <a:gd name="connsiteY48" fmla="*/ 4264 h 10000"/>
              <a:gd name="connsiteX49" fmla="*/ 14 w 10014"/>
              <a:gd name="connsiteY49" fmla="*/ 3 h 10000"/>
              <a:gd name="connsiteX50" fmla="*/ 248 w 10014"/>
              <a:gd name="connsiteY50"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9287 w 10014"/>
              <a:gd name="connsiteY14" fmla="*/ 4256 h 10000"/>
              <a:gd name="connsiteX15" fmla="*/ 9516 w 10014"/>
              <a:gd name="connsiteY15" fmla="*/ 4494 h 10000"/>
              <a:gd name="connsiteX16" fmla="*/ 9817 w 10014"/>
              <a:gd name="connsiteY16" fmla="*/ 4800 h 10000"/>
              <a:gd name="connsiteX17" fmla="*/ 10014 w 10014"/>
              <a:gd name="connsiteY17" fmla="*/ 4997 h 10000"/>
              <a:gd name="connsiteX18" fmla="*/ 9863 w 10014"/>
              <a:gd name="connsiteY18" fmla="*/ 5173 h 10000"/>
              <a:gd name="connsiteX19" fmla="*/ 9648 w 10014"/>
              <a:gd name="connsiteY19" fmla="*/ 5400 h 10000"/>
              <a:gd name="connsiteX20" fmla="*/ 9442 w 10014"/>
              <a:gd name="connsiteY20" fmla="*/ 5610 h 10000"/>
              <a:gd name="connsiteX21" fmla="*/ 9184 w 10014"/>
              <a:gd name="connsiteY21" fmla="*/ 5866 h 10000"/>
              <a:gd name="connsiteX22" fmla="*/ 8854 w 10014"/>
              <a:gd name="connsiteY22" fmla="*/ 6164 h 10000"/>
              <a:gd name="connsiteX23" fmla="*/ 8685 w 10014"/>
              <a:gd name="connsiteY23" fmla="*/ 6318 h 10000"/>
              <a:gd name="connsiteX24" fmla="*/ 8430 w 10014"/>
              <a:gd name="connsiteY24" fmla="*/ 6540 h 10000"/>
              <a:gd name="connsiteX25" fmla="*/ 8206 w 10014"/>
              <a:gd name="connsiteY25" fmla="*/ 6735 h 10000"/>
              <a:gd name="connsiteX26" fmla="*/ 7956 w 10014"/>
              <a:gd name="connsiteY26" fmla="*/ 6933 h 10000"/>
              <a:gd name="connsiteX27" fmla="*/ 7601 w 10014"/>
              <a:gd name="connsiteY27" fmla="*/ 7208 h 10000"/>
              <a:gd name="connsiteX28" fmla="*/ 7224 w 10014"/>
              <a:gd name="connsiteY28" fmla="*/ 7493 h 10000"/>
              <a:gd name="connsiteX29" fmla="*/ 6847 w 10014"/>
              <a:gd name="connsiteY29" fmla="*/ 7759 h 10000"/>
              <a:gd name="connsiteX30" fmla="*/ 6478 w 10014"/>
              <a:gd name="connsiteY30" fmla="*/ 8005 h 10000"/>
              <a:gd name="connsiteX31" fmla="*/ 5981 w 10014"/>
              <a:gd name="connsiteY31" fmla="*/ 8319 h 10000"/>
              <a:gd name="connsiteX32" fmla="*/ 5551 w 10014"/>
              <a:gd name="connsiteY32" fmla="*/ 8575 h 10000"/>
              <a:gd name="connsiteX33" fmla="*/ 5195 w 10014"/>
              <a:gd name="connsiteY33" fmla="*/ 8761 h 10000"/>
              <a:gd name="connsiteX34" fmla="*/ 4800 w 10014"/>
              <a:gd name="connsiteY34" fmla="*/ 8948 h 10000"/>
              <a:gd name="connsiteX35" fmla="*/ 4384 w 10014"/>
              <a:gd name="connsiteY35" fmla="*/ 9125 h 10000"/>
              <a:gd name="connsiteX36" fmla="*/ 3960 w 10014"/>
              <a:gd name="connsiteY36" fmla="*/ 9282 h 10000"/>
              <a:gd name="connsiteX37" fmla="*/ 3378 w 10014"/>
              <a:gd name="connsiteY37" fmla="*/ 9466 h 10000"/>
              <a:gd name="connsiteX38" fmla="*/ 2671 w 10014"/>
              <a:gd name="connsiteY38" fmla="*/ 9645 h 10000"/>
              <a:gd name="connsiteX39" fmla="*/ 2297 w 10014"/>
              <a:gd name="connsiteY39" fmla="*/ 9724 h 10000"/>
              <a:gd name="connsiteX40" fmla="*/ 1538 w 10014"/>
              <a:gd name="connsiteY40" fmla="*/ 9852 h 10000"/>
              <a:gd name="connsiteX41" fmla="*/ 1030 w 10014"/>
              <a:gd name="connsiteY41" fmla="*/ 9920 h 10000"/>
              <a:gd name="connsiteX42" fmla="*/ 573 w 10014"/>
              <a:gd name="connsiteY42" fmla="*/ 9972 h 10000"/>
              <a:gd name="connsiteX43" fmla="*/ 197 w 10014"/>
              <a:gd name="connsiteY43" fmla="*/ 10000 h 10000"/>
              <a:gd name="connsiteX44" fmla="*/ 30 w 10014"/>
              <a:gd name="connsiteY44" fmla="*/ 9999 h 10000"/>
              <a:gd name="connsiteX45" fmla="*/ 22 w 10014"/>
              <a:gd name="connsiteY45" fmla="*/ 9201 h 10000"/>
              <a:gd name="connsiteX46" fmla="*/ 22 w 10014"/>
              <a:gd name="connsiteY46" fmla="*/ 8650 h 10000"/>
              <a:gd name="connsiteX47" fmla="*/ 22 w 10014"/>
              <a:gd name="connsiteY47" fmla="*/ 6881 h 10000"/>
              <a:gd name="connsiteX48" fmla="*/ 21 w 10014"/>
              <a:gd name="connsiteY48" fmla="*/ 4264 h 10000"/>
              <a:gd name="connsiteX49" fmla="*/ 14 w 10014"/>
              <a:gd name="connsiteY49" fmla="*/ 3 h 10000"/>
              <a:gd name="connsiteX50" fmla="*/ 248 w 10014"/>
              <a:gd name="connsiteY50"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9287 w 10014"/>
              <a:gd name="connsiteY13" fmla="*/ 4256 h 10000"/>
              <a:gd name="connsiteX14" fmla="*/ 9516 w 10014"/>
              <a:gd name="connsiteY14" fmla="*/ 4494 h 10000"/>
              <a:gd name="connsiteX15" fmla="*/ 9817 w 10014"/>
              <a:gd name="connsiteY15" fmla="*/ 4800 h 10000"/>
              <a:gd name="connsiteX16" fmla="*/ 10014 w 10014"/>
              <a:gd name="connsiteY16" fmla="*/ 4997 h 10000"/>
              <a:gd name="connsiteX17" fmla="*/ 9863 w 10014"/>
              <a:gd name="connsiteY17" fmla="*/ 5173 h 10000"/>
              <a:gd name="connsiteX18" fmla="*/ 9648 w 10014"/>
              <a:gd name="connsiteY18" fmla="*/ 5400 h 10000"/>
              <a:gd name="connsiteX19" fmla="*/ 9442 w 10014"/>
              <a:gd name="connsiteY19" fmla="*/ 5610 h 10000"/>
              <a:gd name="connsiteX20" fmla="*/ 9184 w 10014"/>
              <a:gd name="connsiteY20" fmla="*/ 5866 h 10000"/>
              <a:gd name="connsiteX21" fmla="*/ 8854 w 10014"/>
              <a:gd name="connsiteY21" fmla="*/ 6164 h 10000"/>
              <a:gd name="connsiteX22" fmla="*/ 8685 w 10014"/>
              <a:gd name="connsiteY22" fmla="*/ 6318 h 10000"/>
              <a:gd name="connsiteX23" fmla="*/ 8430 w 10014"/>
              <a:gd name="connsiteY23" fmla="*/ 6540 h 10000"/>
              <a:gd name="connsiteX24" fmla="*/ 8206 w 10014"/>
              <a:gd name="connsiteY24" fmla="*/ 6735 h 10000"/>
              <a:gd name="connsiteX25" fmla="*/ 7956 w 10014"/>
              <a:gd name="connsiteY25" fmla="*/ 6933 h 10000"/>
              <a:gd name="connsiteX26" fmla="*/ 7601 w 10014"/>
              <a:gd name="connsiteY26" fmla="*/ 7208 h 10000"/>
              <a:gd name="connsiteX27" fmla="*/ 7224 w 10014"/>
              <a:gd name="connsiteY27" fmla="*/ 7493 h 10000"/>
              <a:gd name="connsiteX28" fmla="*/ 6847 w 10014"/>
              <a:gd name="connsiteY28" fmla="*/ 7759 h 10000"/>
              <a:gd name="connsiteX29" fmla="*/ 6478 w 10014"/>
              <a:gd name="connsiteY29" fmla="*/ 8005 h 10000"/>
              <a:gd name="connsiteX30" fmla="*/ 5981 w 10014"/>
              <a:gd name="connsiteY30" fmla="*/ 8319 h 10000"/>
              <a:gd name="connsiteX31" fmla="*/ 5551 w 10014"/>
              <a:gd name="connsiteY31" fmla="*/ 8575 h 10000"/>
              <a:gd name="connsiteX32" fmla="*/ 5195 w 10014"/>
              <a:gd name="connsiteY32" fmla="*/ 8761 h 10000"/>
              <a:gd name="connsiteX33" fmla="*/ 4800 w 10014"/>
              <a:gd name="connsiteY33" fmla="*/ 8948 h 10000"/>
              <a:gd name="connsiteX34" fmla="*/ 4384 w 10014"/>
              <a:gd name="connsiteY34" fmla="*/ 9125 h 10000"/>
              <a:gd name="connsiteX35" fmla="*/ 3960 w 10014"/>
              <a:gd name="connsiteY35" fmla="*/ 9282 h 10000"/>
              <a:gd name="connsiteX36" fmla="*/ 3378 w 10014"/>
              <a:gd name="connsiteY36" fmla="*/ 9466 h 10000"/>
              <a:gd name="connsiteX37" fmla="*/ 2671 w 10014"/>
              <a:gd name="connsiteY37" fmla="*/ 9645 h 10000"/>
              <a:gd name="connsiteX38" fmla="*/ 2297 w 10014"/>
              <a:gd name="connsiteY38" fmla="*/ 9724 h 10000"/>
              <a:gd name="connsiteX39" fmla="*/ 1538 w 10014"/>
              <a:gd name="connsiteY39" fmla="*/ 9852 h 10000"/>
              <a:gd name="connsiteX40" fmla="*/ 1030 w 10014"/>
              <a:gd name="connsiteY40" fmla="*/ 9920 h 10000"/>
              <a:gd name="connsiteX41" fmla="*/ 573 w 10014"/>
              <a:gd name="connsiteY41" fmla="*/ 9972 h 10000"/>
              <a:gd name="connsiteX42" fmla="*/ 197 w 10014"/>
              <a:gd name="connsiteY42" fmla="*/ 10000 h 10000"/>
              <a:gd name="connsiteX43" fmla="*/ 30 w 10014"/>
              <a:gd name="connsiteY43" fmla="*/ 9999 h 10000"/>
              <a:gd name="connsiteX44" fmla="*/ 22 w 10014"/>
              <a:gd name="connsiteY44" fmla="*/ 9201 h 10000"/>
              <a:gd name="connsiteX45" fmla="*/ 22 w 10014"/>
              <a:gd name="connsiteY45" fmla="*/ 8650 h 10000"/>
              <a:gd name="connsiteX46" fmla="*/ 22 w 10014"/>
              <a:gd name="connsiteY46" fmla="*/ 6881 h 10000"/>
              <a:gd name="connsiteX47" fmla="*/ 21 w 10014"/>
              <a:gd name="connsiteY47" fmla="*/ 4264 h 10000"/>
              <a:gd name="connsiteX48" fmla="*/ 14 w 10014"/>
              <a:gd name="connsiteY48" fmla="*/ 3 h 10000"/>
              <a:gd name="connsiteX49" fmla="*/ 248 w 10014"/>
              <a:gd name="connsiteY49"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9287 w 10014"/>
              <a:gd name="connsiteY12" fmla="*/ 4256 h 10000"/>
              <a:gd name="connsiteX13" fmla="*/ 9516 w 10014"/>
              <a:gd name="connsiteY13" fmla="*/ 4494 h 10000"/>
              <a:gd name="connsiteX14" fmla="*/ 9817 w 10014"/>
              <a:gd name="connsiteY14" fmla="*/ 4800 h 10000"/>
              <a:gd name="connsiteX15" fmla="*/ 10014 w 10014"/>
              <a:gd name="connsiteY15" fmla="*/ 4997 h 10000"/>
              <a:gd name="connsiteX16" fmla="*/ 9863 w 10014"/>
              <a:gd name="connsiteY16" fmla="*/ 5173 h 10000"/>
              <a:gd name="connsiteX17" fmla="*/ 9648 w 10014"/>
              <a:gd name="connsiteY17" fmla="*/ 5400 h 10000"/>
              <a:gd name="connsiteX18" fmla="*/ 9442 w 10014"/>
              <a:gd name="connsiteY18" fmla="*/ 5610 h 10000"/>
              <a:gd name="connsiteX19" fmla="*/ 9184 w 10014"/>
              <a:gd name="connsiteY19" fmla="*/ 5866 h 10000"/>
              <a:gd name="connsiteX20" fmla="*/ 8854 w 10014"/>
              <a:gd name="connsiteY20" fmla="*/ 6164 h 10000"/>
              <a:gd name="connsiteX21" fmla="*/ 8685 w 10014"/>
              <a:gd name="connsiteY21" fmla="*/ 6318 h 10000"/>
              <a:gd name="connsiteX22" fmla="*/ 8430 w 10014"/>
              <a:gd name="connsiteY22" fmla="*/ 6540 h 10000"/>
              <a:gd name="connsiteX23" fmla="*/ 8206 w 10014"/>
              <a:gd name="connsiteY23" fmla="*/ 6735 h 10000"/>
              <a:gd name="connsiteX24" fmla="*/ 7956 w 10014"/>
              <a:gd name="connsiteY24" fmla="*/ 6933 h 10000"/>
              <a:gd name="connsiteX25" fmla="*/ 7601 w 10014"/>
              <a:gd name="connsiteY25" fmla="*/ 7208 h 10000"/>
              <a:gd name="connsiteX26" fmla="*/ 7224 w 10014"/>
              <a:gd name="connsiteY26" fmla="*/ 7493 h 10000"/>
              <a:gd name="connsiteX27" fmla="*/ 6847 w 10014"/>
              <a:gd name="connsiteY27" fmla="*/ 7759 h 10000"/>
              <a:gd name="connsiteX28" fmla="*/ 6478 w 10014"/>
              <a:gd name="connsiteY28" fmla="*/ 8005 h 10000"/>
              <a:gd name="connsiteX29" fmla="*/ 5981 w 10014"/>
              <a:gd name="connsiteY29" fmla="*/ 8319 h 10000"/>
              <a:gd name="connsiteX30" fmla="*/ 5551 w 10014"/>
              <a:gd name="connsiteY30" fmla="*/ 8575 h 10000"/>
              <a:gd name="connsiteX31" fmla="*/ 5195 w 10014"/>
              <a:gd name="connsiteY31" fmla="*/ 8761 h 10000"/>
              <a:gd name="connsiteX32" fmla="*/ 4800 w 10014"/>
              <a:gd name="connsiteY32" fmla="*/ 8948 h 10000"/>
              <a:gd name="connsiteX33" fmla="*/ 4384 w 10014"/>
              <a:gd name="connsiteY33" fmla="*/ 9125 h 10000"/>
              <a:gd name="connsiteX34" fmla="*/ 3960 w 10014"/>
              <a:gd name="connsiteY34" fmla="*/ 9282 h 10000"/>
              <a:gd name="connsiteX35" fmla="*/ 3378 w 10014"/>
              <a:gd name="connsiteY35" fmla="*/ 9466 h 10000"/>
              <a:gd name="connsiteX36" fmla="*/ 2671 w 10014"/>
              <a:gd name="connsiteY36" fmla="*/ 9645 h 10000"/>
              <a:gd name="connsiteX37" fmla="*/ 2297 w 10014"/>
              <a:gd name="connsiteY37" fmla="*/ 9724 h 10000"/>
              <a:gd name="connsiteX38" fmla="*/ 1538 w 10014"/>
              <a:gd name="connsiteY38" fmla="*/ 9852 h 10000"/>
              <a:gd name="connsiteX39" fmla="*/ 1030 w 10014"/>
              <a:gd name="connsiteY39" fmla="*/ 9920 h 10000"/>
              <a:gd name="connsiteX40" fmla="*/ 573 w 10014"/>
              <a:gd name="connsiteY40" fmla="*/ 9972 h 10000"/>
              <a:gd name="connsiteX41" fmla="*/ 197 w 10014"/>
              <a:gd name="connsiteY41" fmla="*/ 10000 h 10000"/>
              <a:gd name="connsiteX42" fmla="*/ 30 w 10014"/>
              <a:gd name="connsiteY42" fmla="*/ 9999 h 10000"/>
              <a:gd name="connsiteX43" fmla="*/ 22 w 10014"/>
              <a:gd name="connsiteY43" fmla="*/ 9201 h 10000"/>
              <a:gd name="connsiteX44" fmla="*/ 22 w 10014"/>
              <a:gd name="connsiteY44" fmla="*/ 8650 h 10000"/>
              <a:gd name="connsiteX45" fmla="*/ 22 w 10014"/>
              <a:gd name="connsiteY45" fmla="*/ 6881 h 10000"/>
              <a:gd name="connsiteX46" fmla="*/ 21 w 10014"/>
              <a:gd name="connsiteY46" fmla="*/ 4264 h 10000"/>
              <a:gd name="connsiteX47" fmla="*/ 14 w 10014"/>
              <a:gd name="connsiteY47" fmla="*/ 3 h 10000"/>
              <a:gd name="connsiteX48" fmla="*/ 248 w 10014"/>
              <a:gd name="connsiteY48"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9287 w 10014"/>
              <a:gd name="connsiteY11" fmla="*/ 4256 h 10000"/>
              <a:gd name="connsiteX12" fmla="*/ 9516 w 10014"/>
              <a:gd name="connsiteY12" fmla="*/ 4494 h 10000"/>
              <a:gd name="connsiteX13" fmla="*/ 9817 w 10014"/>
              <a:gd name="connsiteY13" fmla="*/ 4800 h 10000"/>
              <a:gd name="connsiteX14" fmla="*/ 10014 w 10014"/>
              <a:gd name="connsiteY14" fmla="*/ 4997 h 10000"/>
              <a:gd name="connsiteX15" fmla="*/ 9863 w 10014"/>
              <a:gd name="connsiteY15" fmla="*/ 5173 h 10000"/>
              <a:gd name="connsiteX16" fmla="*/ 9648 w 10014"/>
              <a:gd name="connsiteY16" fmla="*/ 5400 h 10000"/>
              <a:gd name="connsiteX17" fmla="*/ 9442 w 10014"/>
              <a:gd name="connsiteY17" fmla="*/ 5610 h 10000"/>
              <a:gd name="connsiteX18" fmla="*/ 9184 w 10014"/>
              <a:gd name="connsiteY18" fmla="*/ 5866 h 10000"/>
              <a:gd name="connsiteX19" fmla="*/ 8854 w 10014"/>
              <a:gd name="connsiteY19" fmla="*/ 6164 h 10000"/>
              <a:gd name="connsiteX20" fmla="*/ 8685 w 10014"/>
              <a:gd name="connsiteY20" fmla="*/ 6318 h 10000"/>
              <a:gd name="connsiteX21" fmla="*/ 8430 w 10014"/>
              <a:gd name="connsiteY21" fmla="*/ 6540 h 10000"/>
              <a:gd name="connsiteX22" fmla="*/ 8206 w 10014"/>
              <a:gd name="connsiteY22" fmla="*/ 6735 h 10000"/>
              <a:gd name="connsiteX23" fmla="*/ 7956 w 10014"/>
              <a:gd name="connsiteY23" fmla="*/ 6933 h 10000"/>
              <a:gd name="connsiteX24" fmla="*/ 7601 w 10014"/>
              <a:gd name="connsiteY24" fmla="*/ 7208 h 10000"/>
              <a:gd name="connsiteX25" fmla="*/ 7224 w 10014"/>
              <a:gd name="connsiteY25" fmla="*/ 7493 h 10000"/>
              <a:gd name="connsiteX26" fmla="*/ 6847 w 10014"/>
              <a:gd name="connsiteY26" fmla="*/ 7759 h 10000"/>
              <a:gd name="connsiteX27" fmla="*/ 6478 w 10014"/>
              <a:gd name="connsiteY27" fmla="*/ 8005 h 10000"/>
              <a:gd name="connsiteX28" fmla="*/ 5981 w 10014"/>
              <a:gd name="connsiteY28" fmla="*/ 8319 h 10000"/>
              <a:gd name="connsiteX29" fmla="*/ 5551 w 10014"/>
              <a:gd name="connsiteY29" fmla="*/ 8575 h 10000"/>
              <a:gd name="connsiteX30" fmla="*/ 5195 w 10014"/>
              <a:gd name="connsiteY30" fmla="*/ 8761 h 10000"/>
              <a:gd name="connsiteX31" fmla="*/ 4800 w 10014"/>
              <a:gd name="connsiteY31" fmla="*/ 8948 h 10000"/>
              <a:gd name="connsiteX32" fmla="*/ 4384 w 10014"/>
              <a:gd name="connsiteY32" fmla="*/ 9125 h 10000"/>
              <a:gd name="connsiteX33" fmla="*/ 3960 w 10014"/>
              <a:gd name="connsiteY33" fmla="*/ 9282 h 10000"/>
              <a:gd name="connsiteX34" fmla="*/ 3378 w 10014"/>
              <a:gd name="connsiteY34" fmla="*/ 9466 h 10000"/>
              <a:gd name="connsiteX35" fmla="*/ 2671 w 10014"/>
              <a:gd name="connsiteY35" fmla="*/ 9645 h 10000"/>
              <a:gd name="connsiteX36" fmla="*/ 2297 w 10014"/>
              <a:gd name="connsiteY36" fmla="*/ 9724 h 10000"/>
              <a:gd name="connsiteX37" fmla="*/ 1538 w 10014"/>
              <a:gd name="connsiteY37" fmla="*/ 9852 h 10000"/>
              <a:gd name="connsiteX38" fmla="*/ 1030 w 10014"/>
              <a:gd name="connsiteY38" fmla="*/ 9920 h 10000"/>
              <a:gd name="connsiteX39" fmla="*/ 573 w 10014"/>
              <a:gd name="connsiteY39" fmla="*/ 9972 h 10000"/>
              <a:gd name="connsiteX40" fmla="*/ 197 w 10014"/>
              <a:gd name="connsiteY40" fmla="*/ 10000 h 10000"/>
              <a:gd name="connsiteX41" fmla="*/ 30 w 10014"/>
              <a:gd name="connsiteY41" fmla="*/ 9999 h 10000"/>
              <a:gd name="connsiteX42" fmla="*/ 22 w 10014"/>
              <a:gd name="connsiteY42" fmla="*/ 9201 h 10000"/>
              <a:gd name="connsiteX43" fmla="*/ 22 w 10014"/>
              <a:gd name="connsiteY43" fmla="*/ 8650 h 10000"/>
              <a:gd name="connsiteX44" fmla="*/ 22 w 10014"/>
              <a:gd name="connsiteY44" fmla="*/ 6881 h 10000"/>
              <a:gd name="connsiteX45" fmla="*/ 21 w 10014"/>
              <a:gd name="connsiteY45" fmla="*/ 4264 h 10000"/>
              <a:gd name="connsiteX46" fmla="*/ 14 w 10014"/>
              <a:gd name="connsiteY46" fmla="*/ 3 h 10000"/>
              <a:gd name="connsiteX47" fmla="*/ 248 w 10014"/>
              <a:gd name="connsiteY47"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9287 w 10014"/>
              <a:gd name="connsiteY10" fmla="*/ 4256 h 10000"/>
              <a:gd name="connsiteX11" fmla="*/ 9516 w 10014"/>
              <a:gd name="connsiteY11" fmla="*/ 4494 h 10000"/>
              <a:gd name="connsiteX12" fmla="*/ 9817 w 10014"/>
              <a:gd name="connsiteY12" fmla="*/ 4800 h 10000"/>
              <a:gd name="connsiteX13" fmla="*/ 10014 w 10014"/>
              <a:gd name="connsiteY13" fmla="*/ 4997 h 10000"/>
              <a:gd name="connsiteX14" fmla="*/ 9863 w 10014"/>
              <a:gd name="connsiteY14" fmla="*/ 5173 h 10000"/>
              <a:gd name="connsiteX15" fmla="*/ 9648 w 10014"/>
              <a:gd name="connsiteY15" fmla="*/ 5400 h 10000"/>
              <a:gd name="connsiteX16" fmla="*/ 9442 w 10014"/>
              <a:gd name="connsiteY16" fmla="*/ 5610 h 10000"/>
              <a:gd name="connsiteX17" fmla="*/ 9184 w 10014"/>
              <a:gd name="connsiteY17" fmla="*/ 5866 h 10000"/>
              <a:gd name="connsiteX18" fmla="*/ 8854 w 10014"/>
              <a:gd name="connsiteY18" fmla="*/ 6164 h 10000"/>
              <a:gd name="connsiteX19" fmla="*/ 8685 w 10014"/>
              <a:gd name="connsiteY19" fmla="*/ 6318 h 10000"/>
              <a:gd name="connsiteX20" fmla="*/ 8430 w 10014"/>
              <a:gd name="connsiteY20" fmla="*/ 6540 h 10000"/>
              <a:gd name="connsiteX21" fmla="*/ 8206 w 10014"/>
              <a:gd name="connsiteY21" fmla="*/ 6735 h 10000"/>
              <a:gd name="connsiteX22" fmla="*/ 7956 w 10014"/>
              <a:gd name="connsiteY22" fmla="*/ 6933 h 10000"/>
              <a:gd name="connsiteX23" fmla="*/ 7601 w 10014"/>
              <a:gd name="connsiteY23" fmla="*/ 7208 h 10000"/>
              <a:gd name="connsiteX24" fmla="*/ 7224 w 10014"/>
              <a:gd name="connsiteY24" fmla="*/ 7493 h 10000"/>
              <a:gd name="connsiteX25" fmla="*/ 6847 w 10014"/>
              <a:gd name="connsiteY25" fmla="*/ 7759 h 10000"/>
              <a:gd name="connsiteX26" fmla="*/ 6478 w 10014"/>
              <a:gd name="connsiteY26" fmla="*/ 8005 h 10000"/>
              <a:gd name="connsiteX27" fmla="*/ 5981 w 10014"/>
              <a:gd name="connsiteY27" fmla="*/ 8319 h 10000"/>
              <a:gd name="connsiteX28" fmla="*/ 5551 w 10014"/>
              <a:gd name="connsiteY28" fmla="*/ 8575 h 10000"/>
              <a:gd name="connsiteX29" fmla="*/ 5195 w 10014"/>
              <a:gd name="connsiteY29" fmla="*/ 8761 h 10000"/>
              <a:gd name="connsiteX30" fmla="*/ 4800 w 10014"/>
              <a:gd name="connsiteY30" fmla="*/ 8948 h 10000"/>
              <a:gd name="connsiteX31" fmla="*/ 4384 w 10014"/>
              <a:gd name="connsiteY31" fmla="*/ 9125 h 10000"/>
              <a:gd name="connsiteX32" fmla="*/ 3960 w 10014"/>
              <a:gd name="connsiteY32" fmla="*/ 9282 h 10000"/>
              <a:gd name="connsiteX33" fmla="*/ 3378 w 10014"/>
              <a:gd name="connsiteY33" fmla="*/ 9466 h 10000"/>
              <a:gd name="connsiteX34" fmla="*/ 2671 w 10014"/>
              <a:gd name="connsiteY34" fmla="*/ 9645 h 10000"/>
              <a:gd name="connsiteX35" fmla="*/ 2297 w 10014"/>
              <a:gd name="connsiteY35" fmla="*/ 9724 h 10000"/>
              <a:gd name="connsiteX36" fmla="*/ 1538 w 10014"/>
              <a:gd name="connsiteY36" fmla="*/ 9852 h 10000"/>
              <a:gd name="connsiteX37" fmla="*/ 1030 w 10014"/>
              <a:gd name="connsiteY37" fmla="*/ 9920 h 10000"/>
              <a:gd name="connsiteX38" fmla="*/ 573 w 10014"/>
              <a:gd name="connsiteY38" fmla="*/ 9972 h 10000"/>
              <a:gd name="connsiteX39" fmla="*/ 197 w 10014"/>
              <a:gd name="connsiteY39" fmla="*/ 10000 h 10000"/>
              <a:gd name="connsiteX40" fmla="*/ 30 w 10014"/>
              <a:gd name="connsiteY40" fmla="*/ 9999 h 10000"/>
              <a:gd name="connsiteX41" fmla="*/ 22 w 10014"/>
              <a:gd name="connsiteY41" fmla="*/ 9201 h 10000"/>
              <a:gd name="connsiteX42" fmla="*/ 22 w 10014"/>
              <a:gd name="connsiteY42" fmla="*/ 8650 h 10000"/>
              <a:gd name="connsiteX43" fmla="*/ 22 w 10014"/>
              <a:gd name="connsiteY43" fmla="*/ 6881 h 10000"/>
              <a:gd name="connsiteX44" fmla="*/ 21 w 10014"/>
              <a:gd name="connsiteY44" fmla="*/ 4264 h 10000"/>
              <a:gd name="connsiteX45" fmla="*/ 14 w 10014"/>
              <a:gd name="connsiteY45" fmla="*/ 3 h 10000"/>
              <a:gd name="connsiteX46" fmla="*/ 248 w 10014"/>
              <a:gd name="connsiteY46"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9287 w 10014"/>
              <a:gd name="connsiteY9" fmla="*/ 4256 h 10000"/>
              <a:gd name="connsiteX10" fmla="*/ 9516 w 10014"/>
              <a:gd name="connsiteY10" fmla="*/ 4494 h 10000"/>
              <a:gd name="connsiteX11" fmla="*/ 9817 w 10014"/>
              <a:gd name="connsiteY11" fmla="*/ 4800 h 10000"/>
              <a:gd name="connsiteX12" fmla="*/ 10014 w 10014"/>
              <a:gd name="connsiteY12" fmla="*/ 4997 h 10000"/>
              <a:gd name="connsiteX13" fmla="*/ 9863 w 10014"/>
              <a:gd name="connsiteY13" fmla="*/ 5173 h 10000"/>
              <a:gd name="connsiteX14" fmla="*/ 9648 w 10014"/>
              <a:gd name="connsiteY14" fmla="*/ 5400 h 10000"/>
              <a:gd name="connsiteX15" fmla="*/ 9442 w 10014"/>
              <a:gd name="connsiteY15" fmla="*/ 5610 h 10000"/>
              <a:gd name="connsiteX16" fmla="*/ 9184 w 10014"/>
              <a:gd name="connsiteY16" fmla="*/ 5866 h 10000"/>
              <a:gd name="connsiteX17" fmla="*/ 8854 w 10014"/>
              <a:gd name="connsiteY17" fmla="*/ 6164 h 10000"/>
              <a:gd name="connsiteX18" fmla="*/ 8685 w 10014"/>
              <a:gd name="connsiteY18" fmla="*/ 6318 h 10000"/>
              <a:gd name="connsiteX19" fmla="*/ 8430 w 10014"/>
              <a:gd name="connsiteY19" fmla="*/ 6540 h 10000"/>
              <a:gd name="connsiteX20" fmla="*/ 8206 w 10014"/>
              <a:gd name="connsiteY20" fmla="*/ 6735 h 10000"/>
              <a:gd name="connsiteX21" fmla="*/ 7956 w 10014"/>
              <a:gd name="connsiteY21" fmla="*/ 6933 h 10000"/>
              <a:gd name="connsiteX22" fmla="*/ 7601 w 10014"/>
              <a:gd name="connsiteY22" fmla="*/ 7208 h 10000"/>
              <a:gd name="connsiteX23" fmla="*/ 7224 w 10014"/>
              <a:gd name="connsiteY23" fmla="*/ 7493 h 10000"/>
              <a:gd name="connsiteX24" fmla="*/ 6847 w 10014"/>
              <a:gd name="connsiteY24" fmla="*/ 7759 h 10000"/>
              <a:gd name="connsiteX25" fmla="*/ 6478 w 10014"/>
              <a:gd name="connsiteY25" fmla="*/ 8005 h 10000"/>
              <a:gd name="connsiteX26" fmla="*/ 5981 w 10014"/>
              <a:gd name="connsiteY26" fmla="*/ 8319 h 10000"/>
              <a:gd name="connsiteX27" fmla="*/ 5551 w 10014"/>
              <a:gd name="connsiteY27" fmla="*/ 8575 h 10000"/>
              <a:gd name="connsiteX28" fmla="*/ 5195 w 10014"/>
              <a:gd name="connsiteY28" fmla="*/ 8761 h 10000"/>
              <a:gd name="connsiteX29" fmla="*/ 4800 w 10014"/>
              <a:gd name="connsiteY29" fmla="*/ 8948 h 10000"/>
              <a:gd name="connsiteX30" fmla="*/ 4384 w 10014"/>
              <a:gd name="connsiteY30" fmla="*/ 9125 h 10000"/>
              <a:gd name="connsiteX31" fmla="*/ 3960 w 10014"/>
              <a:gd name="connsiteY31" fmla="*/ 9282 h 10000"/>
              <a:gd name="connsiteX32" fmla="*/ 3378 w 10014"/>
              <a:gd name="connsiteY32" fmla="*/ 9466 h 10000"/>
              <a:gd name="connsiteX33" fmla="*/ 2671 w 10014"/>
              <a:gd name="connsiteY33" fmla="*/ 9645 h 10000"/>
              <a:gd name="connsiteX34" fmla="*/ 2297 w 10014"/>
              <a:gd name="connsiteY34" fmla="*/ 9724 h 10000"/>
              <a:gd name="connsiteX35" fmla="*/ 1538 w 10014"/>
              <a:gd name="connsiteY35" fmla="*/ 9852 h 10000"/>
              <a:gd name="connsiteX36" fmla="*/ 1030 w 10014"/>
              <a:gd name="connsiteY36" fmla="*/ 9920 h 10000"/>
              <a:gd name="connsiteX37" fmla="*/ 573 w 10014"/>
              <a:gd name="connsiteY37" fmla="*/ 9972 h 10000"/>
              <a:gd name="connsiteX38" fmla="*/ 197 w 10014"/>
              <a:gd name="connsiteY38" fmla="*/ 10000 h 10000"/>
              <a:gd name="connsiteX39" fmla="*/ 30 w 10014"/>
              <a:gd name="connsiteY39" fmla="*/ 9999 h 10000"/>
              <a:gd name="connsiteX40" fmla="*/ 22 w 10014"/>
              <a:gd name="connsiteY40" fmla="*/ 9201 h 10000"/>
              <a:gd name="connsiteX41" fmla="*/ 22 w 10014"/>
              <a:gd name="connsiteY41" fmla="*/ 8650 h 10000"/>
              <a:gd name="connsiteX42" fmla="*/ 22 w 10014"/>
              <a:gd name="connsiteY42" fmla="*/ 6881 h 10000"/>
              <a:gd name="connsiteX43" fmla="*/ 21 w 10014"/>
              <a:gd name="connsiteY43" fmla="*/ 4264 h 10000"/>
              <a:gd name="connsiteX44" fmla="*/ 14 w 10014"/>
              <a:gd name="connsiteY44" fmla="*/ 3 h 10000"/>
              <a:gd name="connsiteX45" fmla="*/ 248 w 10014"/>
              <a:gd name="connsiteY45"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9287 w 10014"/>
              <a:gd name="connsiteY8" fmla="*/ 4256 h 10000"/>
              <a:gd name="connsiteX9" fmla="*/ 9516 w 10014"/>
              <a:gd name="connsiteY9" fmla="*/ 4494 h 10000"/>
              <a:gd name="connsiteX10" fmla="*/ 9817 w 10014"/>
              <a:gd name="connsiteY10" fmla="*/ 4800 h 10000"/>
              <a:gd name="connsiteX11" fmla="*/ 10014 w 10014"/>
              <a:gd name="connsiteY11" fmla="*/ 4997 h 10000"/>
              <a:gd name="connsiteX12" fmla="*/ 9863 w 10014"/>
              <a:gd name="connsiteY12" fmla="*/ 5173 h 10000"/>
              <a:gd name="connsiteX13" fmla="*/ 9648 w 10014"/>
              <a:gd name="connsiteY13" fmla="*/ 5400 h 10000"/>
              <a:gd name="connsiteX14" fmla="*/ 9442 w 10014"/>
              <a:gd name="connsiteY14" fmla="*/ 5610 h 10000"/>
              <a:gd name="connsiteX15" fmla="*/ 9184 w 10014"/>
              <a:gd name="connsiteY15" fmla="*/ 5866 h 10000"/>
              <a:gd name="connsiteX16" fmla="*/ 8854 w 10014"/>
              <a:gd name="connsiteY16" fmla="*/ 6164 h 10000"/>
              <a:gd name="connsiteX17" fmla="*/ 8685 w 10014"/>
              <a:gd name="connsiteY17" fmla="*/ 6318 h 10000"/>
              <a:gd name="connsiteX18" fmla="*/ 8430 w 10014"/>
              <a:gd name="connsiteY18" fmla="*/ 6540 h 10000"/>
              <a:gd name="connsiteX19" fmla="*/ 8206 w 10014"/>
              <a:gd name="connsiteY19" fmla="*/ 6735 h 10000"/>
              <a:gd name="connsiteX20" fmla="*/ 7956 w 10014"/>
              <a:gd name="connsiteY20" fmla="*/ 6933 h 10000"/>
              <a:gd name="connsiteX21" fmla="*/ 7601 w 10014"/>
              <a:gd name="connsiteY21" fmla="*/ 7208 h 10000"/>
              <a:gd name="connsiteX22" fmla="*/ 7224 w 10014"/>
              <a:gd name="connsiteY22" fmla="*/ 7493 h 10000"/>
              <a:gd name="connsiteX23" fmla="*/ 6847 w 10014"/>
              <a:gd name="connsiteY23" fmla="*/ 7759 h 10000"/>
              <a:gd name="connsiteX24" fmla="*/ 6478 w 10014"/>
              <a:gd name="connsiteY24" fmla="*/ 8005 h 10000"/>
              <a:gd name="connsiteX25" fmla="*/ 5981 w 10014"/>
              <a:gd name="connsiteY25" fmla="*/ 8319 h 10000"/>
              <a:gd name="connsiteX26" fmla="*/ 5551 w 10014"/>
              <a:gd name="connsiteY26" fmla="*/ 8575 h 10000"/>
              <a:gd name="connsiteX27" fmla="*/ 5195 w 10014"/>
              <a:gd name="connsiteY27" fmla="*/ 8761 h 10000"/>
              <a:gd name="connsiteX28" fmla="*/ 4800 w 10014"/>
              <a:gd name="connsiteY28" fmla="*/ 8948 h 10000"/>
              <a:gd name="connsiteX29" fmla="*/ 4384 w 10014"/>
              <a:gd name="connsiteY29" fmla="*/ 9125 h 10000"/>
              <a:gd name="connsiteX30" fmla="*/ 3960 w 10014"/>
              <a:gd name="connsiteY30" fmla="*/ 9282 h 10000"/>
              <a:gd name="connsiteX31" fmla="*/ 3378 w 10014"/>
              <a:gd name="connsiteY31" fmla="*/ 9466 h 10000"/>
              <a:gd name="connsiteX32" fmla="*/ 2671 w 10014"/>
              <a:gd name="connsiteY32" fmla="*/ 9645 h 10000"/>
              <a:gd name="connsiteX33" fmla="*/ 2297 w 10014"/>
              <a:gd name="connsiteY33" fmla="*/ 9724 h 10000"/>
              <a:gd name="connsiteX34" fmla="*/ 1538 w 10014"/>
              <a:gd name="connsiteY34" fmla="*/ 9852 h 10000"/>
              <a:gd name="connsiteX35" fmla="*/ 1030 w 10014"/>
              <a:gd name="connsiteY35" fmla="*/ 9920 h 10000"/>
              <a:gd name="connsiteX36" fmla="*/ 573 w 10014"/>
              <a:gd name="connsiteY36" fmla="*/ 9972 h 10000"/>
              <a:gd name="connsiteX37" fmla="*/ 197 w 10014"/>
              <a:gd name="connsiteY37" fmla="*/ 10000 h 10000"/>
              <a:gd name="connsiteX38" fmla="*/ 30 w 10014"/>
              <a:gd name="connsiteY38" fmla="*/ 9999 h 10000"/>
              <a:gd name="connsiteX39" fmla="*/ 22 w 10014"/>
              <a:gd name="connsiteY39" fmla="*/ 9201 h 10000"/>
              <a:gd name="connsiteX40" fmla="*/ 22 w 10014"/>
              <a:gd name="connsiteY40" fmla="*/ 8650 h 10000"/>
              <a:gd name="connsiteX41" fmla="*/ 22 w 10014"/>
              <a:gd name="connsiteY41" fmla="*/ 6881 h 10000"/>
              <a:gd name="connsiteX42" fmla="*/ 21 w 10014"/>
              <a:gd name="connsiteY42" fmla="*/ 4264 h 10000"/>
              <a:gd name="connsiteX43" fmla="*/ 14 w 10014"/>
              <a:gd name="connsiteY43" fmla="*/ 3 h 10000"/>
              <a:gd name="connsiteX44" fmla="*/ 248 w 10014"/>
              <a:gd name="connsiteY44" fmla="*/ 0 h 10000"/>
              <a:gd name="connsiteX0" fmla="*/ 248 w 10014"/>
              <a:gd name="connsiteY0" fmla="*/ 23 h 10023"/>
              <a:gd name="connsiteX1" fmla="*/ 619 w 10014"/>
              <a:gd name="connsiteY1" fmla="*/ 50 h 10023"/>
              <a:gd name="connsiteX2" fmla="*/ 943 w 10014"/>
              <a:gd name="connsiteY2" fmla="*/ 75 h 10023"/>
              <a:gd name="connsiteX3" fmla="*/ 1386 w 10014"/>
              <a:gd name="connsiteY3" fmla="*/ 124 h 10023"/>
              <a:gd name="connsiteX4" fmla="*/ 1849 w 10014"/>
              <a:gd name="connsiteY4" fmla="*/ 193 h 10023"/>
              <a:gd name="connsiteX5" fmla="*/ 2145 w 10014"/>
              <a:gd name="connsiteY5" fmla="*/ 246 h 10023"/>
              <a:gd name="connsiteX6" fmla="*/ 2463 w 10014"/>
              <a:gd name="connsiteY6" fmla="*/ 311 h 10023"/>
              <a:gd name="connsiteX7" fmla="*/ 9287 w 10014"/>
              <a:gd name="connsiteY7" fmla="*/ 4279 h 10023"/>
              <a:gd name="connsiteX8" fmla="*/ 9516 w 10014"/>
              <a:gd name="connsiteY8" fmla="*/ 4517 h 10023"/>
              <a:gd name="connsiteX9" fmla="*/ 9817 w 10014"/>
              <a:gd name="connsiteY9" fmla="*/ 4823 h 10023"/>
              <a:gd name="connsiteX10" fmla="*/ 10014 w 10014"/>
              <a:gd name="connsiteY10" fmla="*/ 5020 h 10023"/>
              <a:gd name="connsiteX11" fmla="*/ 9863 w 10014"/>
              <a:gd name="connsiteY11" fmla="*/ 5196 h 10023"/>
              <a:gd name="connsiteX12" fmla="*/ 9648 w 10014"/>
              <a:gd name="connsiteY12" fmla="*/ 5423 h 10023"/>
              <a:gd name="connsiteX13" fmla="*/ 9442 w 10014"/>
              <a:gd name="connsiteY13" fmla="*/ 5633 h 10023"/>
              <a:gd name="connsiteX14" fmla="*/ 9184 w 10014"/>
              <a:gd name="connsiteY14" fmla="*/ 5889 h 10023"/>
              <a:gd name="connsiteX15" fmla="*/ 8854 w 10014"/>
              <a:gd name="connsiteY15" fmla="*/ 6187 h 10023"/>
              <a:gd name="connsiteX16" fmla="*/ 8685 w 10014"/>
              <a:gd name="connsiteY16" fmla="*/ 6341 h 10023"/>
              <a:gd name="connsiteX17" fmla="*/ 8430 w 10014"/>
              <a:gd name="connsiteY17" fmla="*/ 6563 h 10023"/>
              <a:gd name="connsiteX18" fmla="*/ 8206 w 10014"/>
              <a:gd name="connsiteY18" fmla="*/ 6758 h 10023"/>
              <a:gd name="connsiteX19" fmla="*/ 7956 w 10014"/>
              <a:gd name="connsiteY19" fmla="*/ 6956 h 10023"/>
              <a:gd name="connsiteX20" fmla="*/ 7601 w 10014"/>
              <a:gd name="connsiteY20" fmla="*/ 7231 h 10023"/>
              <a:gd name="connsiteX21" fmla="*/ 7224 w 10014"/>
              <a:gd name="connsiteY21" fmla="*/ 7516 h 10023"/>
              <a:gd name="connsiteX22" fmla="*/ 6847 w 10014"/>
              <a:gd name="connsiteY22" fmla="*/ 7782 h 10023"/>
              <a:gd name="connsiteX23" fmla="*/ 6478 w 10014"/>
              <a:gd name="connsiteY23" fmla="*/ 8028 h 10023"/>
              <a:gd name="connsiteX24" fmla="*/ 5981 w 10014"/>
              <a:gd name="connsiteY24" fmla="*/ 8342 h 10023"/>
              <a:gd name="connsiteX25" fmla="*/ 5551 w 10014"/>
              <a:gd name="connsiteY25" fmla="*/ 8598 h 10023"/>
              <a:gd name="connsiteX26" fmla="*/ 5195 w 10014"/>
              <a:gd name="connsiteY26" fmla="*/ 8784 h 10023"/>
              <a:gd name="connsiteX27" fmla="*/ 4800 w 10014"/>
              <a:gd name="connsiteY27" fmla="*/ 8971 h 10023"/>
              <a:gd name="connsiteX28" fmla="*/ 4384 w 10014"/>
              <a:gd name="connsiteY28" fmla="*/ 9148 h 10023"/>
              <a:gd name="connsiteX29" fmla="*/ 3960 w 10014"/>
              <a:gd name="connsiteY29" fmla="*/ 9305 h 10023"/>
              <a:gd name="connsiteX30" fmla="*/ 3378 w 10014"/>
              <a:gd name="connsiteY30" fmla="*/ 9489 h 10023"/>
              <a:gd name="connsiteX31" fmla="*/ 2671 w 10014"/>
              <a:gd name="connsiteY31" fmla="*/ 9668 h 10023"/>
              <a:gd name="connsiteX32" fmla="*/ 2297 w 10014"/>
              <a:gd name="connsiteY32" fmla="*/ 9747 h 10023"/>
              <a:gd name="connsiteX33" fmla="*/ 1538 w 10014"/>
              <a:gd name="connsiteY33" fmla="*/ 9875 h 10023"/>
              <a:gd name="connsiteX34" fmla="*/ 1030 w 10014"/>
              <a:gd name="connsiteY34" fmla="*/ 9943 h 10023"/>
              <a:gd name="connsiteX35" fmla="*/ 573 w 10014"/>
              <a:gd name="connsiteY35" fmla="*/ 9995 h 10023"/>
              <a:gd name="connsiteX36" fmla="*/ 197 w 10014"/>
              <a:gd name="connsiteY36" fmla="*/ 10023 h 10023"/>
              <a:gd name="connsiteX37" fmla="*/ 30 w 10014"/>
              <a:gd name="connsiteY37" fmla="*/ 10022 h 10023"/>
              <a:gd name="connsiteX38" fmla="*/ 22 w 10014"/>
              <a:gd name="connsiteY38" fmla="*/ 9224 h 10023"/>
              <a:gd name="connsiteX39" fmla="*/ 22 w 10014"/>
              <a:gd name="connsiteY39" fmla="*/ 8673 h 10023"/>
              <a:gd name="connsiteX40" fmla="*/ 22 w 10014"/>
              <a:gd name="connsiteY40" fmla="*/ 6904 h 10023"/>
              <a:gd name="connsiteX41" fmla="*/ 21 w 10014"/>
              <a:gd name="connsiteY41" fmla="*/ 4287 h 10023"/>
              <a:gd name="connsiteX42" fmla="*/ 14 w 10014"/>
              <a:gd name="connsiteY42" fmla="*/ 26 h 10023"/>
              <a:gd name="connsiteX43" fmla="*/ 248 w 10014"/>
              <a:gd name="connsiteY43" fmla="*/ 23 h 10023"/>
              <a:gd name="connsiteX0" fmla="*/ 248 w 10014"/>
              <a:gd name="connsiteY0" fmla="*/ 89 h 10089"/>
              <a:gd name="connsiteX1" fmla="*/ 619 w 10014"/>
              <a:gd name="connsiteY1" fmla="*/ 116 h 10089"/>
              <a:gd name="connsiteX2" fmla="*/ 943 w 10014"/>
              <a:gd name="connsiteY2" fmla="*/ 141 h 10089"/>
              <a:gd name="connsiteX3" fmla="*/ 1386 w 10014"/>
              <a:gd name="connsiteY3" fmla="*/ 190 h 10089"/>
              <a:gd name="connsiteX4" fmla="*/ 1849 w 10014"/>
              <a:gd name="connsiteY4" fmla="*/ 259 h 10089"/>
              <a:gd name="connsiteX5" fmla="*/ 2145 w 10014"/>
              <a:gd name="connsiteY5" fmla="*/ 312 h 10089"/>
              <a:gd name="connsiteX6" fmla="*/ 9287 w 10014"/>
              <a:gd name="connsiteY6" fmla="*/ 4345 h 10089"/>
              <a:gd name="connsiteX7" fmla="*/ 9516 w 10014"/>
              <a:gd name="connsiteY7" fmla="*/ 4583 h 10089"/>
              <a:gd name="connsiteX8" fmla="*/ 9817 w 10014"/>
              <a:gd name="connsiteY8" fmla="*/ 4889 h 10089"/>
              <a:gd name="connsiteX9" fmla="*/ 10014 w 10014"/>
              <a:gd name="connsiteY9" fmla="*/ 5086 h 10089"/>
              <a:gd name="connsiteX10" fmla="*/ 9863 w 10014"/>
              <a:gd name="connsiteY10" fmla="*/ 5262 h 10089"/>
              <a:gd name="connsiteX11" fmla="*/ 9648 w 10014"/>
              <a:gd name="connsiteY11" fmla="*/ 5489 h 10089"/>
              <a:gd name="connsiteX12" fmla="*/ 9442 w 10014"/>
              <a:gd name="connsiteY12" fmla="*/ 5699 h 10089"/>
              <a:gd name="connsiteX13" fmla="*/ 9184 w 10014"/>
              <a:gd name="connsiteY13" fmla="*/ 5955 h 10089"/>
              <a:gd name="connsiteX14" fmla="*/ 8854 w 10014"/>
              <a:gd name="connsiteY14" fmla="*/ 6253 h 10089"/>
              <a:gd name="connsiteX15" fmla="*/ 8685 w 10014"/>
              <a:gd name="connsiteY15" fmla="*/ 6407 h 10089"/>
              <a:gd name="connsiteX16" fmla="*/ 8430 w 10014"/>
              <a:gd name="connsiteY16" fmla="*/ 6629 h 10089"/>
              <a:gd name="connsiteX17" fmla="*/ 8206 w 10014"/>
              <a:gd name="connsiteY17" fmla="*/ 6824 h 10089"/>
              <a:gd name="connsiteX18" fmla="*/ 7956 w 10014"/>
              <a:gd name="connsiteY18" fmla="*/ 7022 h 10089"/>
              <a:gd name="connsiteX19" fmla="*/ 7601 w 10014"/>
              <a:gd name="connsiteY19" fmla="*/ 7297 h 10089"/>
              <a:gd name="connsiteX20" fmla="*/ 7224 w 10014"/>
              <a:gd name="connsiteY20" fmla="*/ 7582 h 10089"/>
              <a:gd name="connsiteX21" fmla="*/ 6847 w 10014"/>
              <a:gd name="connsiteY21" fmla="*/ 7848 h 10089"/>
              <a:gd name="connsiteX22" fmla="*/ 6478 w 10014"/>
              <a:gd name="connsiteY22" fmla="*/ 8094 h 10089"/>
              <a:gd name="connsiteX23" fmla="*/ 5981 w 10014"/>
              <a:gd name="connsiteY23" fmla="*/ 8408 h 10089"/>
              <a:gd name="connsiteX24" fmla="*/ 5551 w 10014"/>
              <a:gd name="connsiteY24" fmla="*/ 8664 h 10089"/>
              <a:gd name="connsiteX25" fmla="*/ 5195 w 10014"/>
              <a:gd name="connsiteY25" fmla="*/ 8850 h 10089"/>
              <a:gd name="connsiteX26" fmla="*/ 4800 w 10014"/>
              <a:gd name="connsiteY26" fmla="*/ 9037 h 10089"/>
              <a:gd name="connsiteX27" fmla="*/ 4384 w 10014"/>
              <a:gd name="connsiteY27" fmla="*/ 9214 h 10089"/>
              <a:gd name="connsiteX28" fmla="*/ 3960 w 10014"/>
              <a:gd name="connsiteY28" fmla="*/ 9371 h 10089"/>
              <a:gd name="connsiteX29" fmla="*/ 3378 w 10014"/>
              <a:gd name="connsiteY29" fmla="*/ 9555 h 10089"/>
              <a:gd name="connsiteX30" fmla="*/ 2671 w 10014"/>
              <a:gd name="connsiteY30" fmla="*/ 9734 h 10089"/>
              <a:gd name="connsiteX31" fmla="*/ 2297 w 10014"/>
              <a:gd name="connsiteY31" fmla="*/ 9813 h 10089"/>
              <a:gd name="connsiteX32" fmla="*/ 1538 w 10014"/>
              <a:gd name="connsiteY32" fmla="*/ 9941 h 10089"/>
              <a:gd name="connsiteX33" fmla="*/ 1030 w 10014"/>
              <a:gd name="connsiteY33" fmla="*/ 10009 h 10089"/>
              <a:gd name="connsiteX34" fmla="*/ 573 w 10014"/>
              <a:gd name="connsiteY34" fmla="*/ 10061 h 10089"/>
              <a:gd name="connsiteX35" fmla="*/ 197 w 10014"/>
              <a:gd name="connsiteY35" fmla="*/ 10089 h 10089"/>
              <a:gd name="connsiteX36" fmla="*/ 30 w 10014"/>
              <a:gd name="connsiteY36" fmla="*/ 10088 h 10089"/>
              <a:gd name="connsiteX37" fmla="*/ 22 w 10014"/>
              <a:gd name="connsiteY37" fmla="*/ 9290 h 10089"/>
              <a:gd name="connsiteX38" fmla="*/ 22 w 10014"/>
              <a:gd name="connsiteY38" fmla="*/ 8739 h 10089"/>
              <a:gd name="connsiteX39" fmla="*/ 22 w 10014"/>
              <a:gd name="connsiteY39" fmla="*/ 6970 h 10089"/>
              <a:gd name="connsiteX40" fmla="*/ 21 w 10014"/>
              <a:gd name="connsiteY40" fmla="*/ 4353 h 10089"/>
              <a:gd name="connsiteX41" fmla="*/ 14 w 10014"/>
              <a:gd name="connsiteY41" fmla="*/ 92 h 10089"/>
              <a:gd name="connsiteX42" fmla="*/ 248 w 10014"/>
              <a:gd name="connsiteY42" fmla="*/ 89 h 10089"/>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9287 w 10014"/>
              <a:gd name="connsiteY5" fmla="*/ 4256 h 10000"/>
              <a:gd name="connsiteX6" fmla="*/ 9516 w 10014"/>
              <a:gd name="connsiteY6" fmla="*/ 4494 h 10000"/>
              <a:gd name="connsiteX7" fmla="*/ 9817 w 10014"/>
              <a:gd name="connsiteY7" fmla="*/ 4800 h 10000"/>
              <a:gd name="connsiteX8" fmla="*/ 10014 w 10014"/>
              <a:gd name="connsiteY8" fmla="*/ 4997 h 10000"/>
              <a:gd name="connsiteX9" fmla="*/ 9863 w 10014"/>
              <a:gd name="connsiteY9" fmla="*/ 5173 h 10000"/>
              <a:gd name="connsiteX10" fmla="*/ 9648 w 10014"/>
              <a:gd name="connsiteY10" fmla="*/ 5400 h 10000"/>
              <a:gd name="connsiteX11" fmla="*/ 9442 w 10014"/>
              <a:gd name="connsiteY11" fmla="*/ 5610 h 10000"/>
              <a:gd name="connsiteX12" fmla="*/ 9184 w 10014"/>
              <a:gd name="connsiteY12" fmla="*/ 5866 h 10000"/>
              <a:gd name="connsiteX13" fmla="*/ 8854 w 10014"/>
              <a:gd name="connsiteY13" fmla="*/ 6164 h 10000"/>
              <a:gd name="connsiteX14" fmla="*/ 8685 w 10014"/>
              <a:gd name="connsiteY14" fmla="*/ 6318 h 10000"/>
              <a:gd name="connsiteX15" fmla="*/ 8430 w 10014"/>
              <a:gd name="connsiteY15" fmla="*/ 6540 h 10000"/>
              <a:gd name="connsiteX16" fmla="*/ 8206 w 10014"/>
              <a:gd name="connsiteY16" fmla="*/ 6735 h 10000"/>
              <a:gd name="connsiteX17" fmla="*/ 7956 w 10014"/>
              <a:gd name="connsiteY17" fmla="*/ 6933 h 10000"/>
              <a:gd name="connsiteX18" fmla="*/ 7601 w 10014"/>
              <a:gd name="connsiteY18" fmla="*/ 7208 h 10000"/>
              <a:gd name="connsiteX19" fmla="*/ 7224 w 10014"/>
              <a:gd name="connsiteY19" fmla="*/ 7493 h 10000"/>
              <a:gd name="connsiteX20" fmla="*/ 6847 w 10014"/>
              <a:gd name="connsiteY20" fmla="*/ 7759 h 10000"/>
              <a:gd name="connsiteX21" fmla="*/ 6478 w 10014"/>
              <a:gd name="connsiteY21" fmla="*/ 8005 h 10000"/>
              <a:gd name="connsiteX22" fmla="*/ 5981 w 10014"/>
              <a:gd name="connsiteY22" fmla="*/ 8319 h 10000"/>
              <a:gd name="connsiteX23" fmla="*/ 5551 w 10014"/>
              <a:gd name="connsiteY23" fmla="*/ 8575 h 10000"/>
              <a:gd name="connsiteX24" fmla="*/ 5195 w 10014"/>
              <a:gd name="connsiteY24" fmla="*/ 8761 h 10000"/>
              <a:gd name="connsiteX25" fmla="*/ 4800 w 10014"/>
              <a:gd name="connsiteY25" fmla="*/ 8948 h 10000"/>
              <a:gd name="connsiteX26" fmla="*/ 4384 w 10014"/>
              <a:gd name="connsiteY26" fmla="*/ 9125 h 10000"/>
              <a:gd name="connsiteX27" fmla="*/ 3960 w 10014"/>
              <a:gd name="connsiteY27" fmla="*/ 9282 h 10000"/>
              <a:gd name="connsiteX28" fmla="*/ 3378 w 10014"/>
              <a:gd name="connsiteY28" fmla="*/ 9466 h 10000"/>
              <a:gd name="connsiteX29" fmla="*/ 2671 w 10014"/>
              <a:gd name="connsiteY29" fmla="*/ 9645 h 10000"/>
              <a:gd name="connsiteX30" fmla="*/ 2297 w 10014"/>
              <a:gd name="connsiteY30" fmla="*/ 9724 h 10000"/>
              <a:gd name="connsiteX31" fmla="*/ 1538 w 10014"/>
              <a:gd name="connsiteY31" fmla="*/ 9852 h 10000"/>
              <a:gd name="connsiteX32" fmla="*/ 1030 w 10014"/>
              <a:gd name="connsiteY32" fmla="*/ 9920 h 10000"/>
              <a:gd name="connsiteX33" fmla="*/ 573 w 10014"/>
              <a:gd name="connsiteY33" fmla="*/ 9972 h 10000"/>
              <a:gd name="connsiteX34" fmla="*/ 197 w 10014"/>
              <a:gd name="connsiteY34" fmla="*/ 10000 h 10000"/>
              <a:gd name="connsiteX35" fmla="*/ 30 w 10014"/>
              <a:gd name="connsiteY35" fmla="*/ 9999 h 10000"/>
              <a:gd name="connsiteX36" fmla="*/ 22 w 10014"/>
              <a:gd name="connsiteY36" fmla="*/ 9201 h 10000"/>
              <a:gd name="connsiteX37" fmla="*/ 22 w 10014"/>
              <a:gd name="connsiteY37" fmla="*/ 8650 h 10000"/>
              <a:gd name="connsiteX38" fmla="*/ 22 w 10014"/>
              <a:gd name="connsiteY38" fmla="*/ 6881 h 10000"/>
              <a:gd name="connsiteX39" fmla="*/ 21 w 10014"/>
              <a:gd name="connsiteY39" fmla="*/ 4264 h 10000"/>
              <a:gd name="connsiteX40" fmla="*/ 14 w 10014"/>
              <a:gd name="connsiteY40" fmla="*/ 3 h 10000"/>
              <a:gd name="connsiteX41" fmla="*/ 248 w 10014"/>
              <a:gd name="connsiteY41"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9287 w 10014"/>
              <a:gd name="connsiteY4" fmla="*/ 4256 h 10000"/>
              <a:gd name="connsiteX5" fmla="*/ 9516 w 10014"/>
              <a:gd name="connsiteY5" fmla="*/ 4494 h 10000"/>
              <a:gd name="connsiteX6" fmla="*/ 9817 w 10014"/>
              <a:gd name="connsiteY6" fmla="*/ 4800 h 10000"/>
              <a:gd name="connsiteX7" fmla="*/ 10014 w 10014"/>
              <a:gd name="connsiteY7" fmla="*/ 4997 h 10000"/>
              <a:gd name="connsiteX8" fmla="*/ 9863 w 10014"/>
              <a:gd name="connsiteY8" fmla="*/ 5173 h 10000"/>
              <a:gd name="connsiteX9" fmla="*/ 9648 w 10014"/>
              <a:gd name="connsiteY9" fmla="*/ 5400 h 10000"/>
              <a:gd name="connsiteX10" fmla="*/ 9442 w 10014"/>
              <a:gd name="connsiteY10" fmla="*/ 5610 h 10000"/>
              <a:gd name="connsiteX11" fmla="*/ 9184 w 10014"/>
              <a:gd name="connsiteY11" fmla="*/ 5866 h 10000"/>
              <a:gd name="connsiteX12" fmla="*/ 8854 w 10014"/>
              <a:gd name="connsiteY12" fmla="*/ 6164 h 10000"/>
              <a:gd name="connsiteX13" fmla="*/ 8685 w 10014"/>
              <a:gd name="connsiteY13" fmla="*/ 6318 h 10000"/>
              <a:gd name="connsiteX14" fmla="*/ 8430 w 10014"/>
              <a:gd name="connsiteY14" fmla="*/ 6540 h 10000"/>
              <a:gd name="connsiteX15" fmla="*/ 8206 w 10014"/>
              <a:gd name="connsiteY15" fmla="*/ 6735 h 10000"/>
              <a:gd name="connsiteX16" fmla="*/ 7956 w 10014"/>
              <a:gd name="connsiteY16" fmla="*/ 6933 h 10000"/>
              <a:gd name="connsiteX17" fmla="*/ 7601 w 10014"/>
              <a:gd name="connsiteY17" fmla="*/ 7208 h 10000"/>
              <a:gd name="connsiteX18" fmla="*/ 7224 w 10014"/>
              <a:gd name="connsiteY18" fmla="*/ 7493 h 10000"/>
              <a:gd name="connsiteX19" fmla="*/ 6847 w 10014"/>
              <a:gd name="connsiteY19" fmla="*/ 7759 h 10000"/>
              <a:gd name="connsiteX20" fmla="*/ 6478 w 10014"/>
              <a:gd name="connsiteY20" fmla="*/ 8005 h 10000"/>
              <a:gd name="connsiteX21" fmla="*/ 5981 w 10014"/>
              <a:gd name="connsiteY21" fmla="*/ 8319 h 10000"/>
              <a:gd name="connsiteX22" fmla="*/ 5551 w 10014"/>
              <a:gd name="connsiteY22" fmla="*/ 8575 h 10000"/>
              <a:gd name="connsiteX23" fmla="*/ 5195 w 10014"/>
              <a:gd name="connsiteY23" fmla="*/ 8761 h 10000"/>
              <a:gd name="connsiteX24" fmla="*/ 4800 w 10014"/>
              <a:gd name="connsiteY24" fmla="*/ 8948 h 10000"/>
              <a:gd name="connsiteX25" fmla="*/ 4384 w 10014"/>
              <a:gd name="connsiteY25" fmla="*/ 9125 h 10000"/>
              <a:gd name="connsiteX26" fmla="*/ 3960 w 10014"/>
              <a:gd name="connsiteY26" fmla="*/ 9282 h 10000"/>
              <a:gd name="connsiteX27" fmla="*/ 3378 w 10014"/>
              <a:gd name="connsiteY27" fmla="*/ 9466 h 10000"/>
              <a:gd name="connsiteX28" fmla="*/ 2671 w 10014"/>
              <a:gd name="connsiteY28" fmla="*/ 9645 h 10000"/>
              <a:gd name="connsiteX29" fmla="*/ 2297 w 10014"/>
              <a:gd name="connsiteY29" fmla="*/ 9724 h 10000"/>
              <a:gd name="connsiteX30" fmla="*/ 1538 w 10014"/>
              <a:gd name="connsiteY30" fmla="*/ 9852 h 10000"/>
              <a:gd name="connsiteX31" fmla="*/ 1030 w 10014"/>
              <a:gd name="connsiteY31" fmla="*/ 9920 h 10000"/>
              <a:gd name="connsiteX32" fmla="*/ 573 w 10014"/>
              <a:gd name="connsiteY32" fmla="*/ 9972 h 10000"/>
              <a:gd name="connsiteX33" fmla="*/ 197 w 10014"/>
              <a:gd name="connsiteY33" fmla="*/ 10000 h 10000"/>
              <a:gd name="connsiteX34" fmla="*/ 30 w 10014"/>
              <a:gd name="connsiteY34" fmla="*/ 9999 h 10000"/>
              <a:gd name="connsiteX35" fmla="*/ 22 w 10014"/>
              <a:gd name="connsiteY35" fmla="*/ 9201 h 10000"/>
              <a:gd name="connsiteX36" fmla="*/ 22 w 10014"/>
              <a:gd name="connsiteY36" fmla="*/ 8650 h 10000"/>
              <a:gd name="connsiteX37" fmla="*/ 22 w 10014"/>
              <a:gd name="connsiteY37" fmla="*/ 6881 h 10000"/>
              <a:gd name="connsiteX38" fmla="*/ 21 w 10014"/>
              <a:gd name="connsiteY38" fmla="*/ 4264 h 10000"/>
              <a:gd name="connsiteX39" fmla="*/ 14 w 10014"/>
              <a:gd name="connsiteY39" fmla="*/ 3 h 10000"/>
              <a:gd name="connsiteX40" fmla="*/ 248 w 10014"/>
              <a:gd name="connsiteY40" fmla="*/ 0 h 10000"/>
              <a:gd name="connsiteX0" fmla="*/ 248 w 10014"/>
              <a:gd name="connsiteY0" fmla="*/ 0 h 10000"/>
              <a:gd name="connsiteX1" fmla="*/ 619 w 10014"/>
              <a:gd name="connsiteY1" fmla="*/ 27 h 10000"/>
              <a:gd name="connsiteX2" fmla="*/ 943 w 10014"/>
              <a:gd name="connsiteY2" fmla="*/ 52 h 10000"/>
              <a:gd name="connsiteX3" fmla="*/ 9287 w 10014"/>
              <a:gd name="connsiteY3" fmla="*/ 4256 h 10000"/>
              <a:gd name="connsiteX4" fmla="*/ 9516 w 10014"/>
              <a:gd name="connsiteY4" fmla="*/ 4494 h 10000"/>
              <a:gd name="connsiteX5" fmla="*/ 9817 w 10014"/>
              <a:gd name="connsiteY5" fmla="*/ 4800 h 10000"/>
              <a:gd name="connsiteX6" fmla="*/ 10014 w 10014"/>
              <a:gd name="connsiteY6" fmla="*/ 4997 h 10000"/>
              <a:gd name="connsiteX7" fmla="*/ 9863 w 10014"/>
              <a:gd name="connsiteY7" fmla="*/ 5173 h 10000"/>
              <a:gd name="connsiteX8" fmla="*/ 9648 w 10014"/>
              <a:gd name="connsiteY8" fmla="*/ 5400 h 10000"/>
              <a:gd name="connsiteX9" fmla="*/ 9442 w 10014"/>
              <a:gd name="connsiteY9" fmla="*/ 5610 h 10000"/>
              <a:gd name="connsiteX10" fmla="*/ 9184 w 10014"/>
              <a:gd name="connsiteY10" fmla="*/ 5866 h 10000"/>
              <a:gd name="connsiteX11" fmla="*/ 8854 w 10014"/>
              <a:gd name="connsiteY11" fmla="*/ 6164 h 10000"/>
              <a:gd name="connsiteX12" fmla="*/ 8685 w 10014"/>
              <a:gd name="connsiteY12" fmla="*/ 6318 h 10000"/>
              <a:gd name="connsiteX13" fmla="*/ 8430 w 10014"/>
              <a:gd name="connsiteY13" fmla="*/ 6540 h 10000"/>
              <a:gd name="connsiteX14" fmla="*/ 8206 w 10014"/>
              <a:gd name="connsiteY14" fmla="*/ 6735 h 10000"/>
              <a:gd name="connsiteX15" fmla="*/ 7956 w 10014"/>
              <a:gd name="connsiteY15" fmla="*/ 6933 h 10000"/>
              <a:gd name="connsiteX16" fmla="*/ 7601 w 10014"/>
              <a:gd name="connsiteY16" fmla="*/ 7208 h 10000"/>
              <a:gd name="connsiteX17" fmla="*/ 7224 w 10014"/>
              <a:gd name="connsiteY17" fmla="*/ 7493 h 10000"/>
              <a:gd name="connsiteX18" fmla="*/ 6847 w 10014"/>
              <a:gd name="connsiteY18" fmla="*/ 7759 h 10000"/>
              <a:gd name="connsiteX19" fmla="*/ 6478 w 10014"/>
              <a:gd name="connsiteY19" fmla="*/ 8005 h 10000"/>
              <a:gd name="connsiteX20" fmla="*/ 5981 w 10014"/>
              <a:gd name="connsiteY20" fmla="*/ 8319 h 10000"/>
              <a:gd name="connsiteX21" fmla="*/ 5551 w 10014"/>
              <a:gd name="connsiteY21" fmla="*/ 8575 h 10000"/>
              <a:gd name="connsiteX22" fmla="*/ 5195 w 10014"/>
              <a:gd name="connsiteY22" fmla="*/ 8761 h 10000"/>
              <a:gd name="connsiteX23" fmla="*/ 4800 w 10014"/>
              <a:gd name="connsiteY23" fmla="*/ 8948 h 10000"/>
              <a:gd name="connsiteX24" fmla="*/ 4384 w 10014"/>
              <a:gd name="connsiteY24" fmla="*/ 9125 h 10000"/>
              <a:gd name="connsiteX25" fmla="*/ 3960 w 10014"/>
              <a:gd name="connsiteY25" fmla="*/ 9282 h 10000"/>
              <a:gd name="connsiteX26" fmla="*/ 3378 w 10014"/>
              <a:gd name="connsiteY26" fmla="*/ 9466 h 10000"/>
              <a:gd name="connsiteX27" fmla="*/ 2671 w 10014"/>
              <a:gd name="connsiteY27" fmla="*/ 9645 h 10000"/>
              <a:gd name="connsiteX28" fmla="*/ 2297 w 10014"/>
              <a:gd name="connsiteY28" fmla="*/ 9724 h 10000"/>
              <a:gd name="connsiteX29" fmla="*/ 1538 w 10014"/>
              <a:gd name="connsiteY29" fmla="*/ 9852 h 10000"/>
              <a:gd name="connsiteX30" fmla="*/ 1030 w 10014"/>
              <a:gd name="connsiteY30" fmla="*/ 9920 h 10000"/>
              <a:gd name="connsiteX31" fmla="*/ 573 w 10014"/>
              <a:gd name="connsiteY31" fmla="*/ 9972 h 10000"/>
              <a:gd name="connsiteX32" fmla="*/ 197 w 10014"/>
              <a:gd name="connsiteY32" fmla="*/ 10000 h 10000"/>
              <a:gd name="connsiteX33" fmla="*/ 30 w 10014"/>
              <a:gd name="connsiteY33" fmla="*/ 9999 h 10000"/>
              <a:gd name="connsiteX34" fmla="*/ 22 w 10014"/>
              <a:gd name="connsiteY34" fmla="*/ 9201 h 10000"/>
              <a:gd name="connsiteX35" fmla="*/ 22 w 10014"/>
              <a:gd name="connsiteY35" fmla="*/ 8650 h 10000"/>
              <a:gd name="connsiteX36" fmla="*/ 22 w 10014"/>
              <a:gd name="connsiteY36" fmla="*/ 6881 h 10000"/>
              <a:gd name="connsiteX37" fmla="*/ 21 w 10014"/>
              <a:gd name="connsiteY37" fmla="*/ 4264 h 10000"/>
              <a:gd name="connsiteX38" fmla="*/ 14 w 10014"/>
              <a:gd name="connsiteY38" fmla="*/ 3 h 10000"/>
              <a:gd name="connsiteX39" fmla="*/ 248 w 10014"/>
              <a:gd name="connsiteY39" fmla="*/ 0 h 10000"/>
              <a:gd name="connsiteX0" fmla="*/ 14 w 10014"/>
              <a:gd name="connsiteY0" fmla="*/ 0 h 9997"/>
              <a:gd name="connsiteX1" fmla="*/ 619 w 10014"/>
              <a:gd name="connsiteY1" fmla="*/ 24 h 9997"/>
              <a:gd name="connsiteX2" fmla="*/ 943 w 10014"/>
              <a:gd name="connsiteY2" fmla="*/ 49 h 9997"/>
              <a:gd name="connsiteX3" fmla="*/ 9287 w 10014"/>
              <a:gd name="connsiteY3" fmla="*/ 4253 h 9997"/>
              <a:gd name="connsiteX4" fmla="*/ 9516 w 10014"/>
              <a:gd name="connsiteY4" fmla="*/ 4491 h 9997"/>
              <a:gd name="connsiteX5" fmla="*/ 9817 w 10014"/>
              <a:gd name="connsiteY5" fmla="*/ 4797 h 9997"/>
              <a:gd name="connsiteX6" fmla="*/ 10014 w 10014"/>
              <a:gd name="connsiteY6" fmla="*/ 4994 h 9997"/>
              <a:gd name="connsiteX7" fmla="*/ 9863 w 10014"/>
              <a:gd name="connsiteY7" fmla="*/ 5170 h 9997"/>
              <a:gd name="connsiteX8" fmla="*/ 9648 w 10014"/>
              <a:gd name="connsiteY8" fmla="*/ 5397 h 9997"/>
              <a:gd name="connsiteX9" fmla="*/ 9442 w 10014"/>
              <a:gd name="connsiteY9" fmla="*/ 5607 h 9997"/>
              <a:gd name="connsiteX10" fmla="*/ 9184 w 10014"/>
              <a:gd name="connsiteY10" fmla="*/ 5863 h 9997"/>
              <a:gd name="connsiteX11" fmla="*/ 8854 w 10014"/>
              <a:gd name="connsiteY11" fmla="*/ 6161 h 9997"/>
              <a:gd name="connsiteX12" fmla="*/ 8685 w 10014"/>
              <a:gd name="connsiteY12" fmla="*/ 6315 h 9997"/>
              <a:gd name="connsiteX13" fmla="*/ 8430 w 10014"/>
              <a:gd name="connsiteY13" fmla="*/ 6537 h 9997"/>
              <a:gd name="connsiteX14" fmla="*/ 8206 w 10014"/>
              <a:gd name="connsiteY14" fmla="*/ 6732 h 9997"/>
              <a:gd name="connsiteX15" fmla="*/ 7956 w 10014"/>
              <a:gd name="connsiteY15" fmla="*/ 6930 h 9997"/>
              <a:gd name="connsiteX16" fmla="*/ 7601 w 10014"/>
              <a:gd name="connsiteY16" fmla="*/ 7205 h 9997"/>
              <a:gd name="connsiteX17" fmla="*/ 7224 w 10014"/>
              <a:gd name="connsiteY17" fmla="*/ 7490 h 9997"/>
              <a:gd name="connsiteX18" fmla="*/ 6847 w 10014"/>
              <a:gd name="connsiteY18" fmla="*/ 7756 h 9997"/>
              <a:gd name="connsiteX19" fmla="*/ 6478 w 10014"/>
              <a:gd name="connsiteY19" fmla="*/ 8002 h 9997"/>
              <a:gd name="connsiteX20" fmla="*/ 5981 w 10014"/>
              <a:gd name="connsiteY20" fmla="*/ 8316 h 9997"/>
              <a:gd name="connsiteX21" fmla="*/ 5551 w 10014"/>
              <a:gd name="connsiteY21" fmla="*/ 8572 h 9997"/>
              <a:gd name="connsiteX22" fmla="*/ 5195 w 10014"/>
              <a:gd name="connsiteY22" fmla="*/ 8758 h 9997"/>
              <a:gd name="connsiteX23" fmla="*/ 4800 w 10014"/>
              <a:gd name="connsiteY23" fmla="*/ 8945 h 9997"/>
              <a:gd name="connsiteX24" fmla="*/ 4384 w 10014"/>
              <a:gd name="connsiteY24" fmla="*/ 9122 h 9997"/>
              <a:gd name="connsiteX25" fmla="*/ 3960 w 10014"/>
              <a:gd name="connsiteY25" fmla="*/ 9279 h 9997"/>
              <a:gd name="connsiteX26" fmla="*/ 3378 w 10014"/>
              <a:gd name="connsiteY26" fmla="*/ 9463 h 9997"/>
              <a:gd name="connsiteX27" fmla="*/ 2671 w 10014"/>
              <a:gd name="connsiteY27" fmla="*/ 9642 h 9997"/>
              <a:gd name="connsiteX28" fmla="*/ 2297 w 10014"/>
              <a:gd name="connsiteY28" fmla="*/ 9721 h 9997"/>
              <a:gd name="connsiteX29" fmla="*/ 1538 w 10014"/>
              <a:gd name="connsiteY29" fmla="*/ 9849 h 9997"/>
              <a:gd name="connsiteX30" fmla="*/ 1030 w 10014"/>
              <a:gd name="connsiteY30" fmla="*/ 9917 h 9997"/>
              <a:gd name="connsiteX31" fmla="*/ 573 w 10014"/>
              <a:gd name="connsiteY31" fmla="*/ 9969 h 9997"/>
              <a:gd name="connsiteX32" fmla="*/ 197 w 10014"/>
              <a:gd name="connsiteY32" fmla="*/ 9997 h 9997"/>
              <a:gd name="connsiteX33" fmla="*/ 30 w 10014"/>
              <a:gd name="connsiteY33" fmla="*/ 9996 h 9997"/>
              <a:gd name="connsiteX34" fmla="*/ 22 w 10014"/>
              <a:gd name="connsiteY34" fmla="*/ 9198 h 9997"/>
              <a:gd name="connsiteX35" fmla="*/ 22 w 10014"/>
              <a:gd name="connsiteY35" fmla="*/ 8647 h 9997"/>
              <a:gd name="connsiteX36" fmla="*/ 22 w 10014"/>
              <a:gd name="connsiteY36" fmla="*/ 6878 h 9997"/>
              <a:gd name="connsiteX37" fmla="*/ 21 w 10014"/>
              <a:gd name="connsiteY37" fmla="*/ 4261 h 9997"/>
              <a:gd name="connsiteX38" fmla="*/ 14 w 10014"/>
              <a:gd name="connsiteY38" fmla="*/ 0 h 9997"/>
              <a:gd name="connsiteX0" fmla="*/ 14 w 10000"/>
              <a:gd name="connsiteY0" fmla="*/ 0 h 10000"/>
              <a:gd name="connsiteX1" fmla="*/ 942 w 10000"/>
              <a:gd name="connsiteY1" fmla="*/ 49 h 10000"/>
              <a:gd name="connsiteX2" fmla="*/ 9274 w 10000"/>
              <a:gd name="connsiteY2" fmla="*/ 4254 h 10000"/>
              <a:gd name="connsiteX3" fmla="*/ 9503 w 10000"/>
              <a:gd name="connsiteY3" fmla="*/ 4492 h 10000"/>
              <a:gd name="connsiteX4" fmla="*/ 9803 w 10000"/>
              <a:gd name="connsiteY4" fmla="*/ 4798 h 10000"/>
              <a:gd name="connsiteX5" fmla="*/ 10000 w 10000"/>
              <a:gd name="connsiteY5" fmla="*/ 4995 h 10000"/>
              <a:gd name="connsiteX6" fmla="*/ 9849 w 10000"/>
              <a:gd name="connsiteY6" fmla="*/ 5172 h 10000"/>
              <a:gd name="connsiteX7" fmla="*/ 9635 w 10000"/>
              <a:gd name="connsiteY7" fmla="*/ 5399 h 10000"/>
              <a:gd name="connsiteX8" fmla="*/ 9429 w 10000"/>
              <a:gd name="connsiteY8" fmla="*/ 5609 h 10000"/>
              <a:gd name="connsiteX9" fmla="*/ 9171 w 10000"/>
              <a:gd name="connsiteY9" fmla="*/ 5865 h 10000"/>
              <a:gd name="connsiteX10" fmla="*/ 8842 w 10000"/>
              <a:gd name="connsiteY10" fmla="*/ 6163 h 10000"/>
              <a:gd name="connsiteX11" fmla="*/ 8673 w 10000"/>
              <a:gd name="connsiteY11" fmla="*/ 6317 h 10000"/>
              <a:gd name="connsiteX12" fmla="*/ 8418 w 10000"/>
              <a:gd name="connsiteY12" fmla="*/ 6539 h 10000"/>
              <a:gd name="connsiteX13" fmla="*/ 8195 w 10000"/>
              <a:gd name="connsiteY13" fmla="*/ 6734 h 10000"/>
              <a:gd name="connsiteX14" fmla="*/ 7945 w 10000"/>
              <a:gd name="connsiteY14" fmla="*/ 6932 h 10000"/>
              <a:gd name="connsiteX15" fmla="*/ 7590 w 10000"/>
              <a:gd name="connsiteY15" fmla="*/ 7207 h 10000"/>
              <a:gd name="connsiteX16" fmla="*/ 7214 w 10000"/>
              <a:gd name="connsiteY16" fmla="*/ 7492 h 10000"/>
              <a:gd name="connsiteX17" fmla="*/ 6837 w 10000"/>
              <a:gd name="connsiteY17" fmla="*/ 7758 h 10000"/>
              <a:gd name="connsiteX18" fmla="*/ 6469 w 10000"/>
              <a:gd name="connsiteY18" fmla="*/ 8004 h 10000"/>
              <a:gd name="connsiteX19" fmla="*/ 5973 w 10000"/>
              <a:gd name="connsiteY19" fmla="*/ 8318 h 10000"/>
              <a:gd name="connsiteX20" fmla="*/ 5543 w 10000"/>
              <a:gd name="connsiteY20" fmla="*/ 8575 h 10000"/>
              <a:gd name="connsiteX21" fmla="*/ 5188 w 10000"/>
              <a:gd name="connsiteY21" fmla="*/ 8761 h 10000"/>
              <a:gd name="connsiteX22" fmla="*/ 4793 w 10000"/>
              <a:gd name="connsiteY22" fmla="*/ 8948 h 10000"/>
              <a:gd name="connsiteX23" fmla="*/ 4378 w 10000"/>
              <a:gd name="connsiteY23" fmla="*/ 9125 h 10000"/>
              <a:gd name="connsiteX24" fmla="*/ 3954 w 10000"/>
              <a:gd name="connsiteY24" fmla="*/ 9282 h 10000"/>
              <a:gd name="connsiteX25" fmla="*/ 3373 w 10000"/>
              <a:gd name="connsiteY25" fmla="*/ 9466 h 10000"/>
              <a:gd name="connsiteX26" fmla="*/ 2667 w 10000"/>
              <a:gd name="connsiteY26" fmla="*/ 9645 h 10000"/>
              <a:gd name="connsiteX27" fmla="*/ 2294 w 10000"/>
              <a:gd name="connsiteY27" fmla="*/ 9724 h 10000"/>
              <a:gd name="connsiteX28" fmla="*/ 1536 w 10000"/>
              <a:gd name="connsiteY28" fmla="*/ 9852 h 10000"/>
              <a:gd name="connsiteX29" fmla="*/ 1029 w 10000"/>
              <a:gd name="connsiteY29" fmla="*/ 9920 h 10000"/>
              <a:gd name="connsiteX30" fmla="*/ 572 w 10000"/>
              <a:gd name="connsiteY30" fmla="*/ 9972 h 10000"/>
              <a:gd name="connsiteX31" fmla="*/ 197 w 10000"/>
              <a:gd name="connsiteY31" fmla="*/ 10000 h 10000"/>
              <a:gd name="connsiteX32" fmla="*/ 30 w 10000"/>
              <a:gd name="connsiteY32" fmla="*/ 9999 h 10000"/>
              <a:gd name="connsiteX33" fmla="*/ 22 w 10000"/>
              <a:gd name="connsiteY33" fmla="*/ 9201 h 10000"/>
              <a:gd name="connsiteX34" fmla="*/ 22 w 10000"/>
              <a:gd name="connsiteY34" fmla="*/ 8650 h 10000"/>
              <a:gd name="connsiteX35" fmla="*/ 22 w 10000"/>
              <a:gd name="connsiteY35" fmla="*/ 6880 h 10000"/>
              <a:gd name="connsiteX36" fmla="*/ 21 w 10000"/>
              <a:gd name="connsiteY36" fmla="*/ 4262 h 10000"/>
              <a:gd name="connsiteX37" fmla="*/ 14 w 10000"/>
              <a:gd name="connsiteY37" fmla="*/ 0 h 10000"/>
              <a:gd name="connsiteX0" fmla="*/ 14 w 10000"/>
              <a:gd name="connsiteY0" fmla="*/ 0 h 10000"/>
              <a:gd name="connsiteX1" fmla="*/ 9274 w 10000"/>
              <a:gd name="connsiteY1" fmla="*/ 4254 h 10000"/>
              <a:gd name="connsiteX2" fmla="*/ 9503 w 10000"/>
              <a:gd name="connsiteY2" fmla="*/ 4492 h 10000"/>
              <a:gd name="connsiteX3" fmla="*/ 9803 w 10000"/>
              <a:gd name="connsiteY3" fmla="*/ 4798 h 10000"/>
              <a:gd name="connsiteX4" fmla="*/ 10000 w 10000"/>
              <a:gd name="connsiteY4" fmla="*/ 4995 h 10000"/>
              <a:gd name="connsiteX5" fmla="*/ 9849 w 10000"/>
              <a:gd name="connsiteY5" fmla="*/ 5172 h 10000"/>
              <a:gd name="connsiteX6" fmla="*/ 9635 w 10000"/>
              <a:gd name="connsiteY6" fmla="*/ 5399 h 10000"/>
              <a:gd name="connsiteX7" fmla="*/ 9429 w 10000"/>
              <a:gd name="connsiteY7" fmla="*/ 5609 h 10000"/>
              <a:gd name="connsiteX8" fmla="*/ 9171 w 10000"/>
              <a:gd name="connsiteY8" fmla="*/ 5865 h 10000"/>
              <a:gd name="connsiteX9" fmla="*/ 8842 w 10000"/>
              <a:gd name="connsiteY9" fmla="*/ 6163 h 10000"/>
              <a:gd name="connsiteX10" fmla="*/ 8673 w 10000"/>
              <a:gd name="connsiteY10" fmla="*/ 6317 h 10000"/>
              <a:gd name="connsiteX11" fmla="*/ 8418 w 10000"/>
              <a:gd name="connsiteY11" fmla="*/ 6539 h 10000"/>
              <a:gd name="connsiteX12" fmla="*/ 8195 w 10000"/>
              <a:gd name="connsiteY12" fmla="*/ 6734 h 10000"/>
              <a:gd name="connsiteX13" fmla="*/ 7945 w 10000"/>
              <a:gd name="connsiteY13" fmla="*/ 6932 h 10000"/>
              <a:gd name="connsiteX14" fmla="*/ 7590 w 10000"/>
              <a:gd name="connsiteY14" fmla="*/ 7207 h 10000"/>
              <a:gd name="connsiteX15" fmla="*/ 7214 w 10000"/>
              <a:gd name="connsiteY15" fmla="*/ 7492 h 10000"/>
              <a:gd name="connsiteX16" fmla="*/ 6837 w 10000"/>
              <a:gd name="connsiteY16" fmla="*/ 7758 h 10000"/>
              <a:gd name="connsiteX17" fmla="*/ 6469 w 10000"/>
              <a:gd name="connsiteY17" fmla="*/ 8004 h 10000"/>
              <a:gd name="connsiteX18" fmla="*/ 5973 w 10000"/>
              <a:gd name="connsiteY18" fmla="*/ 8318 h 10000"/>
              <a:gd name="connsiteX19" fmla="*/ 5543 w 10000"/>
              <a:gd name="connsiteY19" fmla="*/ 8575 h 10000"/>
              <a:gd name="connsiteX20" fmla="*/ 5188 w 10000"/>
              <a:gd name="connsiteY20" fmla="*/ 8761 h 10000"/>
              <a:gd name="connsiteX21" fmla="*/ 4793 w 10000"/>
              <a:gd name="connsiteY21" fmla="*/ 8948 h 10000"/>
              <a:gd name="connsiteX22" fmla="*/ 4378 w 10000"/>
              <a:gd name="connsiteY22" fmla="*/ 9125 h 10000"/>
              <a:gd name="connsiteX23" fmla="*/ 3954 w 10000"/>
              <a:gd name="connsiteY23" fmla="*/ 9282 h 10000"/>
              <a:gd name="connsiteX24" fmla="*/ 3373 w 10000"/>
              <a:gd name="connsiteY24" fmla="*/ 9466 h 10000"/>
              <a:gd name="connsiteX25" fmla="*/ 2667 w 10000"/>
              <a:gd name="connsiteY25" fmla="*/ 9645 h 10000"/>
              <a:gd name="connsiteX26" fmla="*/ 2294 w 10000"/>
              <a:gd name="connsiteY26" fmla="*/ 9724 h 10000"/>
              <a:gd name="connsiteX27" fmla="*/ 1536 w 10000"/>
              <a:gd name="connsiteY27" fmla="*/ 9852 h 10000"/>
              <a:gd name="connsiteX28" fmla="*/ 1029 w 10000"/>
              <a:gd name="connsiteY28" fmla="*/ 9920 h 10000"/>
              <a:gd name="connsiteX29" fmla="*/ 572 w 10000"/>
              <a:gd name="connsiteY29" fmla="*/ 9972 h 10000"/>
              <a:gd name="connsiteX30" fmla="*/ 197 w 10000"/>
              <a:gd name="connsiteY30" fmla="*/ 10000 h 10000"/>
              <a:gd name="connsiteX31" fmla="*/ 30 w 10000"/>
              <a:gd name="connsiteY31" fmla="*/ 9999 h 10000"/>
              <a:gd name="connsiteX32" fmla="*/ 22 w 10000"/>
              <a:gd name="connsiteY32" fmla="*/ 9201 h 10000"/>
              <a:gd name="connsiteX33" fmla="*/ 22 w 10000"/>
              <a:gd name="connsiteY33" fmla="*/ 8650 h 10000"/>
              <a:gd name="connsiteX34" fmla="*/ 22 w 10000"/>
              <a:gd name="connsiteY34" fmla="*/ 6880 h 10000"/>
              <a:gd name="connsiteX35" fmla="*/ 21 w 10000"/>
              <a:gd name="connsiteY35" fmla="*/ 4262 h 10000"/>
              <a:gd name="connsiteX36" fmla="*/ 14 w 10000"/>
              <a:gd name="connsiteY36" fmla="*/ 0 h 10000"/>
              <a:gd name="connsiteX0" fmla="*/ 0 w 9979"/>
              <a:gd name="connsiteY0" fmla="*/ 206 h 5944"/>
              <a:gd name="connsiteX1" fmla="*/ 9253 w 9979"/>
              <a:gd name="connsiteY1" fmla="*/ 198 h 5944"/>
              <a:gd name="connsiteX2" fmla="*/ 9482 w 9979"/>
              <a:gd name="connsiteY2" fmla="*/ 436 h 5944"/>
              <a:gd name="connsiteX3" fmla="*/ 9782 w 9979"/>
              <a:gd name="connsiteY3" fmla="*/ 742 h 5944"/>
              <a:gd name="connsiteX4" fmla="*/ 9979 w 9979"/>
              <a:gd name="connsiteY4" fmla="*/ 939 h 5944"/>
              <a:gd name="connsiteX5" fmla="*/ 9828 w 9979"/>
              <a:gd name="connsiteY5" fmla="*/ 1116 h 5944"/>
              <a:gd name="connsiteX6" fmla="*/ 9614 w 9979"/>
              <a:gd name="connsiteY6" fmla="*/ 1343 h 5944"/>
              <a:gd name="connsiteX7" fmla="*/ 9408 w 9979"/>
              <a:gd name="connsiteY7" fmla="*/ 1553 h 5944"/>
              <a:gd name="connsiteX8" fmla="*/ 9150 w 9979"/>
              <a:gd name="connsiteY8" fmla="*/ 1809 h 5944"/>
              <a:gd name="connsiteX9" fmla="*/ 8821 w 9979"/>
              <a:gd name="connsiteY9" fmla="*/ 2107 h 5944"/>
              <a:gd name="connsiteX10" fmla="*/ 8652 w 9979"/>
              <a:gd name="connsiteY10" fmla="*/ 2261 h 5944"/>
              <a:gd name="connsiteX11" fmla="*/ 8397 w 9979"/>
              <a:gd name="connsiteY11" fmla="*/ 2483 h 5944"/>
              <a:gd name="connsiteX12" fmla="*/ 8174 w 9979"/>
              <a:gd name="connsiteY12" fmla="*/ 2678 h 5944"/>
              <a:gd name="connsiteX13" fmla="*/ 7924 w 9979"/>
              <a:gd name="connsiteY13" fmla="*/ 2876 h 5944"/>
              <a:gd name="connsiteX14" fmla="*/ 7569 w 9979"/>
              <a:gd name="connsiteY14" fmla="*/ 3151 h 5944"/>
              <a:gd name="connsiteX15" fmla="*/ 7193 w 9979"/>
              <a:gd name="connsiteY15" fmla="*/ 3436 h 5944"/>
              <a:gd name="connsiteX16" fmla="*/ 6816 w 9979"/>
              <a:gd name="connsiteY16" fmla="*/ 3702 h 5944"/>
              <a:gd name="connsiteX17" fmla="*/ 6448 w 9979"/>
              <a:gd name="connsiteY17" fmla="*/ 3948 h 5944"/>
              <a:gd name="connsiteX18" fmla="*/ 5952 w 9979"/>
              <a:gd name="connsiteY18" fmla="*/ 4262 h 5944"/>
              <a:gd name="connsiteX19" fmla="*/ 5522 w 9979"/>
              <a:gd name="connsiteY19" fmla="*/ 4519 h 5944"/>
              <a:gd name="connsiteX20" fmla="*/ 5167 w 9979"/>
              <a:gd name="connsiteY20" fmla="*/ 4705 h 5944"/>
              <a:gd name="connsiteX21" fmla="*/ 4772 w 9979"/>
              <a:gd name="connsiteY21" fmla="*/ 4892 h 5944"/>
              <a:gd name="connsiteX22" fmla="*/ 4357 w 9979"/>
              <a:gd name="connsiteY22" fmla="*/ 5069 h 5944"/>
              <a:gd name="connsiteX23" fmla="*/ 3933 w 9979"/>
              <a:gd name="connsiteY23" fmla="*/ 5226 h 5944"/>
              <a:gd name="connsiteX24" fmla="*/ 3352 w 9979"/>
              <a:gd name="connsiteY24" fmla="*/ 5410 h 5944"/>
              <a:gd name="connsiteX25" fmla="*/ 2646 w 9979"/>
              <a:gd name="connsiteY25" fmla="*/ 5589 h 5944"/>
              <a:gd name="connsiteX26" fmla="*/ 2273 w 9979"/>
              <a:gd name="connsiteY26" fmla="*/ 5668 h 5944"/>
              <a:gd name="connsiteX27" fmla="*/ 1515 w 9979"/>
              <a:gd name="connsiteY27" fmla="*/ 5796 h 5944"/>
              <a:gd name="connsiteX28" fmla="*/ 1008 w 9979"/>
              <a:gd name="connsiteY28" fmla="*/ 5864 h 5944"/>
              <a:gd name="connsiteX29" fmla="*/ 551 w 9979"/>
              <a:gd name="connsiteY29" fmla="*/ 5916 h 5944"/>
              <a:gd name="connsiteX30" fmla="*/ 176 w 9979"/>
              <a:gd name="connsiteY30" fmla="*/ 5944 h 5944"/>
              <a:gd name="connsiteX31" fmla="*/ 9 w 9979"/>
              <a:gd name="connsiteY31" fmla="*/ 5943 h 5944"/>
              <a:gd name="connsiteX32" fmla="*/ 1 w 9979"/>
              <a:gd name="connsiteY32" fmla="*/ 5145 h 5944"/>
              <a:gd name="connsiteX33" fmla="*/ 1 w 9979"/>
              <a:gd name="connsiteY33" fmla="*/ 4594 h 5944"/>
              <a:gd name="connsiteX34" fmla="*/ 1 w 9979"/>
              <a:gd name="connsiteY34" fmla="*/ 2824 h 5944"/>
              <a:gd name="connsiteX35" fmla="*/ 0 w 9979"/>
              <a:gd name="connsiteY35" fmla="*/ 206 h 5944"/>
              <a:gd name="connsiteX0" fmla="*/ 0 w 10000"/>
              <a:gd name="connsiteY0" fmla="*/ 14 h 9667"/>
              <a:gd name="connsiteX1" fmla="*/ 9272 w 10000"/>
              <a:gd name="connsiteY1" fmla="*/ 0 h 9667"/>
              <a:gd name="connsiteX2" fmla="*/ 9502 w 10000"/>
              <a:gd name="connsiteY2" fmla="*/ 401 h 9667"/>
              <a:gd name="connsiteX3" fmla="*/ 9803 w 10000"/>
              <a:gd name="connsiteY3" fmla="*/ 915 h 9667"/>
              <a:gd name="connsiteX4" fmla="*/ 10000 w 10000"/>
              <a:gd name="connsiteY4" fmla="*/ 1247 h 9667"/>
              <a:gd name="connsiteX5" fmla="*/ 9849 w 10000"/>
              <a:gd name="connsiteY5" fmla="*/ 1545 h 9667"/>
              <a:gd name="connsiteX6" fmla="*/ 9634 w 10000"/>
              <a:gd name="connsiteY6" fmla="*/ 1926 h 9667"/>
              <a:gd name="connsiteX7" fmla="*/ 9428 w 10000"/>
              <a:gd name="connsiteY7" fmla="*/ 2280 h 9667"/>
              <a:gd name="connsiteX8" fmla="*/ 9169 w 10000"/>
              <a:gd name="connsiteY8" fmla="*/ 2710 h 9667"/>
              <a:gd name="connsiteX9" fmla="*/ 8840 w 10000"/>
              <a:gd name="connsiteY9" fmla="*/ 3212 h 9667"/>
              <a:gd name="connsiteX10" fmla="*/ 8670 w 10000"/>
              <a:gd name="connsiteY10" fmla="*/ 3471 h 9667"/>
              <a:gd name="connsiteX11" fmla="*/ 8415 w 10000"/>
              <a:gd name="connsiteY11" fmla="*/ 3844 h 9667"/>
              <a:gd name="connsiteX12" fmla="*/ 8191 w 10000"/>
              <a:gd name="connsiteY12" fmla="*/ 4172 h 9667"/>
              <a:gd name="connsiteX13" fmla="*/ 7941 w 10000"/>
              <a:gd name="connsiteY13" fmla="*/ 4505 h 9667"/>
              <a:gd name="connsiteX14" fmla="*/ 7585 w 10000"/>
              <a:gd name="connsiteY14" fmla="*/ 4968 h 9667"/>
              <a:gd name="connsiteX15" fmla="*/ 7208 w 10000"/>
              <a:gd name="connsiteY15" fmla="*/ 5448 h 9667"/>
              <a:gd name="connsiteX16" fmla="*/ 6830 w 10000"/>
              <a:gd name="connsiteY16" fmla="*/ 5895 h 9667"/>
              <a:gd name="connsiteX17" fmla="*/ 6462 w 10000"/>
              <a:gd name="connsiteY17" fmla="*/ 6309 h 9667"/>
              <a:gd name="connsiteX18" fmla="*/ 5965 w 10000"/>
              <a:gd name="connsiteY18" fmla="*/ 6837 h 9667"/>
              <a:gd name="connsiteX19" fmla="*/ 5534 w 10000"/>
              <a:gd name="connsiteY19" fmla="*/ 7270 h 9667"/>
              <a:gd name="connsiteX20" fmla="*/ 5178 w 10000"/>
              <a:gd name="connsiteY20" fmla="*/ 7583 h 9667"/>
              <a:gd name="connsiteX21" fmla="*/ 4782 w 10000"/>
              <a:gd name="connsiteY21" fmla="*/ 7897 h 9667"/>
              <a:gd name="connsiteX22" fmla="*/ 4366 w 10000"/>
              <a:gd name="connsiteY22" fmla="*/ 8195 h 9667"/>
              <a:gd name="connsiteX23" fmla="*/ 3941 w 10000"/>
              <a:gd name="connsiteY23" fmla="*/ 8459 h 9667"/>
              <a:gd name="connsiteX24" fmla="*/ 3359 w 10000"/>
              <a:gd name="connsiteY24" fmla="*/ 8769 h 9667"/>
              <a:gd name="connsiteX25" fmla="*/ 2652 w 10000"/>
              <a:gd name="connsiteY25" fmla="*/ 9070 h 9667"/>
              <a:gd name="connsiteX26" fmla="*/ 2278 w 10000"/>
              <a:gd name="connsiteY26" fmla="*/ 9203 h 9667"/>
              <a:gd name="connsiteX27" fmla="*/ 1518 w 10000"/>
              <a:gd name="connsiteY27" fmla="*/ 9418 h 9667"/>
              <a:gd name="connsiteX28" fmla="*/ 1010 w 10000"/>
              <a:gd name="connsiteY28" fmla="*/ 9532 h 9667"/>
              <a:gd name="connsiteX29" fmla="*/ 552 w 10000"/>
              <a:gd name="connsiteY29" fmla="*/ 9620 h 9667"/>
              <a:gd name="connsiteX30" fmla="*/ 176 w 10000"/>
              <a:gd name="connsiteY30" fmla="*/ 9667 h 9667"/>
              <a:gd name="connsiteX31" fmla="*/ 9 w 10000"/>
              <a:gd name="connsiteY31" fmla="*/ 9665 h 9667"/>
              <a:gd name="connsiteX32" fmla="*/ 1 w 10000"/>
              <a:gd name="connsiteY32" fmla="*/ 8323 h 9667"/>
              <a:gd name="connsiteX33" fmla="*/ 1 w 10000"/>
              <a:gd name="connsiteY33" fmla="*/ 7396 h 9667"/>
              <a:gd name="connsiteX34" fmla="*/ 1 w 10000"/>
              <a:gd name="connsiteY34" fmla="*/ 4418 h 9667"/>
              <a:gd name="connsiteX35" fmla="*/ 0 w 10000"/>
              <a:gd name="connsiteY35" fmla="*/ 14 h 9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0000" h="9667">
                <a:moveTo>
                  <a:pt x="0" y="14"/>
                </a:moveTo>
                <a:lnTo>
                  <a:pt x="9272" y="0"/>
                </a:lnTo>
                <a:lnTo>
                  <a:pt x="9502" y="401"/>
                </a:lnTo>
                <a:cubicBezTo>
                  <a:pt x="9590" y="554"/>
                  <a:pt x="9719" y="774"/>
                  <a:pt x="9803" y="915"/>
                </a:cubicBezTo>
                <a:lnTo>
                  <a:pt x="10000" y="1247"/>
                </a:lnTo>
                <a:cubicBezTo>
                  <a:pt x="10004" y="1227"/>
                  <a:pt x="9910" y="1433"/>
                  <a:pt x="9849" y="1545"/>
                </a:cubicBezTo>
                <a:cubicBezTo>
                  <a:pt x="9788" y="1657"/>
                  <a:pt x="9703" y="1804"/>
                  <a:pt x="9634" y="1926"/>
                </a:cubicBezTo>
                <a:lnTo>
                  <a:pt x="9428" y="2280"/>
                </a:lnTo>
                <a:cubicBezTo>
                  <a:pt x="9350" y="2411"/>
                  <a:pt x="9266" y="2554"/>
                  <a:pt x="9169" y="2710"/>
                </a:cubicBezTo>
                <a:cubicBezTo>
                  <a:pt x="9071" y="2865"/>
                  <a:pt x="8923" y="3086"/>
                  <a:pt x="8840" y="3212"/>
                </a:cubicBezTo>
                <a:cubicBezTo>
                  <a:pt x="8783" y="3298"/>
                  <a:pt x="8727" y="3385"/>
                  <a:pt x="8670" y="3471"/>
                </a:cubicBezTo>
                <a:cubicBezTo>
                  <a:pt x="8600" y="3577"/>
                  <a:pt x="8495" y="3727"/>
                  <a:pt x="8415" y="3844"/>
                </a:cubicBezTo>
                <a:cubicBezTo>
                  <a:pt x="8335" y="3962"/>
                  <a:pt x="8268" y="4063"/>
                  <a:pt x="8191" y="4172"/>
                </a:cubicBezTo>
                <a:cubicBezTo>
                  <a:pt x="8112" y="4283"/>
                  <a:pt x="8042" y="4373"/>
                  <a:pt x="7941" y="4505"/>
                </a:cubicBezTo>
                <a:lnTo>
                  <a:pt x="7585" y="4968"/>
                </a:lnTo>
                <a:cubicBezTo>
                  <a:pt x="7464" y="5126"/>
                  <a:pt x="7334" y="5295"/>
                  <a:pt x="7208" y="5448"/>
                </a:cubicBezTo>
                <a:cubicBezTo>
                  <a:pt x="7082" y="5602"/>
                  <a:pt x="6955" y="5750"/>
                  <a:pt x="6830" y="5895"/>
                </a:cubicBezTo>
                <a:cubicBezTo>
                  <a:pt x="6707" y="6038"/>
                  <a:pt x="6606" y="6151"/>
                  <a:pt x="6462" y="6309"/>
                </a:cubicBezTo>
                <a:lnTo>
                  <a:pt x="5965" y="6837"/>
                </a:lnTo>
                <a:cubicBezTo>
                  <a:pt x="5810" y="6999"/>
                  <a:pt x="5665" y="7145"/>
                  <a:pt x="5534" y="7270"/>
                </a:cubicBezTo>
                <a:cubicBezTo>
                  <a:pt x="5401" y="7392"/>
                  <a:pt x="5303" y="7478"/>
                  <a:pt x="5178" y="7583"/>
                </a:cubicBezTo>
                <a:cubicBezTo>
                  <a:pt x="5053" y="7687"/>
                  <a:pt x="4917" y="7795"/>
                  <a:pt x="4782" y="7897"/>
                </a:cubicBezTo>
                <a:cubicBezTo>
                  <a:pt x="4648" y="8000"/>
                  <a:pt x="4506" y="8101"/>
                  <a:pt x="4366" y="8195"/>
                </a:cubicBezTo>
                <a:cubicBezTo>
                  <a:pt x="4226" y="8289"/>
                  <a:pt x="4110" y="8363"/>
                  <a:pt x="3941" y="8459"/>
                </a:cubicBezTo>
                <a:cubicBezTo>
                  <a:pt x="3774" y="8555"/>
                  <a:pt x="3574" y="8668"/>
                  <a:pt x="3359" y="8769"/>
                </a:cubicBezTo>
                <a:cubicBezTo>
                  <a:pt x="3145" y="8870"/>
                  <a:pt x="2832" y="8997"/>
                  <a:pt x="2652" y="9070"/>
                </a:cubicBezTo>
                <a:cubicBezTo>
                  <a:pt x="2473" y="9142"/>
                  <a:pt x="2467" y="9144"/>
                  <a:pt x="2278" y="9203"/>
                </a:cubicBezTo>
                <a:cubicBezTo>
                  <a:pt x="2087" y="9260"/>
                  <a:pt x="1730" y="9362"/>
                  <a:pt x="1518" y="9418"/>
                </a:cubicBezTo>
                <a:cubicBezTo>
                  <a:pt x="1307" y="9472"/>
                  <a:pt x="1170" y="9499"/>
                  <a:pt x="1010" y="9532"/>
                </a:cubicBezTo>
                <a:cubicBezTo>
                  <a:pt x="849" y="9566"/>
                  <a:pt x="691" y="9598"/>
                  <a:pt x="552" y="9620"/>
                </a:cubicBezTo>
                <a:cubicBezTo>
                  <a:pt x="413" y="9643"/>
                  <a:pt x="260" y="9662"/>
                  <a:pt x="176" y="9667"/>
                </a:cubicBezTo>
                <a:lnTo>
                  <a:pt x="9" y="9665"/>
                </a:lnTo>
                <a:cubicBezTo>
                  <a:pt x="6" y="9218"/>
                  <a:pt x="4" y="8770"/>
                  <a:pt x="1" y="8323"/>
                </a:cubicBezTo>
                <a:cubicBezTo>
                  <a:pt x="-1" y="7944"/>
                  <a:pt x="1" y="8047"/>
                  <a:pt x="1" y="7396"/>
                </a:cubicBezTo>
                <a:lnTo>
                  <a:pt x="1" y="4418"/>
                </a:lnTo>
                <a:cubicBezTo>
                  <a:pt x="2" y="3205"/>
                  <a:pt x="1" y="1943"/>
                  <a:pt x="0" y="14"/>
                </a:cubicBezTo>
                <a:close/>
              </a:path>
            </a:pathLst>
          </a:custGeom>
          <a:noFill/>
          <a:ln w="12700" cap="flat" cmpd="sng">
            <a:solidFill>
              <a:schemeClr val="accent1"/>
            </a:solid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pic>
        <p:nvPicPr>
          <p:cNvPr id="9" name="Image 8" descr="VE_RGB_C.jpg"/>
          <p:cNvPicPr>
            <a:picLocks noChangeAspect="1"/>
          </p:cNvPicPr>
          <p:nvPr userDrawn="1"/>
        </p:nvPicPr>
        <p:blipFill>
          <a:blip r:embed="rId2" cstate="print">
            <a:alphaModFix/>
            <a:extLst>
              <a:ext uri="{28A0092B-C50C-407E-A947-70E740481C1C}">
                <a14:useLocalDpi xmlns:a14="http://schemas.microsoft.com/office/drawing/2010/main"/>
              </a:ext>
            </a:extLst>
          </a:blip>
          <a:stretch>
            <a:fillRect/>
          </a:stretch>
        </p:blipFill>
        <p:spPr>
          <a:xfrm>
            <a:off x="9855203" y="5992155"/>
            <a:ext cx="2064077" cy="798109"/>
          </a:xfrm>
          <a:prstGeom prst="rect">
            <a:avLst/>
          </a:prstGeom>
        </p:spPr>
      </p:pic>
      <p:pic>
        <p:nvPicPr>
          <p:cNvPr id="10" name="Image 9"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
        <p:nvSpPr>
          <p:cNvPr id="3" name="Tekstvak 2"/>
          <p:cNvSpPr txBox="1"/>
          <p:nvPr userDrawn="1"/>
        </p:nvSpPr>
        <p:spPr>
          <a:xfrm>
            <a:off x="1778000" y="2489200"/>
            <a:ext cx="8422640" cy="1241237"/>
          </a:xfrm>
          <a:prstGeom prst="rect">
            <a:avLst/>
          </a:prstGeom>
          <a:noFill/>
        </p:spPr>
        <p:txBody>
          <a:bodyPr wrap="square" rtlCol="0">
            <a:spAutoFit/>
          </a:bodyPr>
          <a:lstStyle/>
          <a:p>
            <a:pPr algn="ctr"/>
            <a:r>
              <a:rPr lang="fr-FR" sz="3733" b="1">
                <a:latin typeface="Arial" panose="020B0604020202020204" pitchFamily="34" charset="0"/>
                <a:cs typeface="Arial" panose="020B0604020202020204" pitchFamily="34" charset="0"/>
              </a:rPr>
              <a:t>THE BEST OF TECHNOLOGY</a:t>
            </a:r>
            <a:br>
              <a:rPr lang="fr-FR" sz="3733" b="1">
                <a:latin typeface="Arial" panose="020B0604020202020204" pitchFamily="34" charset="0"/>
                <a:cs typeface="Arial" panose="020B0604020202020204" pitchFamily="34" charset="0"/>
              </a:rPr>
            </a:br>
            <a:r>
              <a:rPr lang="fr-FR" sz="3733" b="1">
                <a:solidFill>
                  <a:schemeClr val="accent1"/>
                </a:solidFill>
                <a:latin typeface="Arial" panose="020B0604020202020204" pitchFamily="34" charset="0"/>
                <a:cs typeface="Arial" panose="020B0604020202020204" pitchFamily="34" charset="0"/>
              </a:rPr>
              <a:t>WITH A HUMAN TOUCH</a:t>
            </a:r>
            <a:endParaRPr lang="nl-NL" sz="3733" b="1">
              <a:solidFill>
                <a:schemeClr val="accent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8794941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7251841"/>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v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6" name="Rectangle 35"/>
          <p:cNvSpPr/>
          <p:nvPr userDrawn="1"/>
        </p:nvSpPr>
        <p:spPr>
          <a:xfrm>
            <a:off x="-2676" y="-3047"/>
            <a:ext cx="12192000" cy="6858000"/>
          </a:xfrm>
          <a:prstGeom prst="rect">
            <a:avLst/>
          </a:prstGeom>
          <a:gradFill>
            <a:gsLst>
              <a:gs pos="0">
                <a:srgbClr val="032145">
                  <a:lumMod val="75000"/>
                  <a:lumOff val="25000"/>
                  <a:alpha val="40000"/>
                </a:srgbClr>
              </a:gs>
              <a:gs pos="100000">
                <a:srgbClr val="032145">
                  <a:alpha val="86000"/>
                </a:srgbClr>
              </a:gs>
            </a:gsLst>
            <a:path path="circle">
              <a:fillToRect l="50000" t="50000" r="50000" b="50000"/>
            </a:path>
          </a:gradFill>
          <a:ln w="25400" cap="flat"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white"/>
              </a:solidFill>
              <a:effectLst/>
              <a:uLnTx/>
              <a:uFillTx/>
              <a:latin typeface="Segoe UI"/>
              <a:ea typeface="+mn-ea"/>
              <a:cs typeface="+mn-cs"/>
            </a:endParaRPr>
          </a:p>
        </p:txBody>
      </p:sp>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solidFill>
                <a:prstClr val="white"/>
              </a:solidFill>
            </a:endParaRPr>
          </a:p>
        </p:txBody>
      </p:sp>
      <p:grpSp>
        <p:nvGrpSpPr>
          <p:cNvPr id="9" name="Group 5"/>
          <p:cNvGrpSpPr>
            <a:grpSpLocks noChangeAspect="1"/>
          </p:cNvGrpSpPr>
          <p:nvPr userDrawn="1"/>
        </p:nvGrpSpPr>
        <p:grpSpPr bwMode="auto">
          <a:xfrm>
            <a:off x="10592180" y="6362050"/>
            <a:ext cx="1291715" cy="333661"/>
            <a:chOff x="4870" y="227"/>
            <a:chExt cx="662" cy="171"/>
          </a:xfrm>
        </p:grpSpPr>
        <p:sp>
          <p:nvSpPr>
            <p:cNvPr id="10" name="Freeform 6"/>
            <p:cNvSpPr>
              <a:spLocks noEditPoints="1"/>
            </p:cNvSpPr>
            <p:nvPr userDrawn="1"/>
          </p:nvSpPr>
          <p:spPr bwMode="auto">
            <a:xfrm>
              <a:off x="5359" y="227"/>
              <a:ext cx="173" cy="171"/>
            </a:xfrm>
            <a:custGeom>
              <a:avLst/>
              <a:gdLst>
                <a:gd name="T0" fmla="*/ 164 w 280"/>
                <a:gd name="T1" fmla="*/ 0 h 276"/>
                <a:gd name="T2" fmla="*/ 110 w 280"/>
                <a:gd name="T3" fmla="*/ 0 h 276"/>
                <a:gd name="T4" fmla="*/ 97 w 280"/>
                <a:gd name="T5" fmla="*/ 14 h 276"/>
                <a:gd name="T6" fmla="*/ 97 w 280"/>
                <a:gd name="T7" fmla="*/ 55 h 276"/>
                <a:gd name="T8" fmla="*/ 83 w 280"/>
                <a:gd name="T9" fmla="*/ 83 h 276"/>
                <a:gd name="T10" fmla="*/ 50 w 280"/>
                <a:gd name="T11" fmla="*/ 97 h 276"/>
                <a:gd name="T12" fmla="*/ 0 w 280"/>
                <a:gd name="T13" fmla="*/ 97 h 276"/>
                <a:gd name="T14" fmla="*/ 0 w 280"/>
                <a:gd name="T15" fmla="*/ 178 h 276"/>
                <a:gd name="T16" fmla="*/ 81 w 280"/>
                <a:gd name="T17" fmla="*/ 178 h 276"/>
                <a:gd name="T18" fmla="*/ 81 w 280"/>
                <a:gd name="T19" fmla="*/ 129 h 276"/>
                <a:gd name="T20" fmla="*/ 95 w 280"/>
                <a:gd name="T21" fmla="*/ 95 h 276"/>
                <a:gd name="T22" fmla="*/ 123 w 280"/>
                <a:gd name="T23" fmla="*/ 81 h 276"/>
                <a:gd name="T24" fmla="*/ 164 w 280"/>
                <a:gd name="T25" fmla="*/ 81 h 276"/>
                <a:gd name="T26" fmla="*/ 178 w 280"/>
                <a:gd name="T27" fmla="*/ 68 h 276"/>
                <a:gd name="T28" fmla="*/ 178 w 280"/>
                <a:gd name="T29" fmla="*/ 14 h 276"/>
                <a:gd name="T30" fmla="*/ 164 w 280"/>
                <a:gd name="T31" fmla="*/ 0 h 276"/>
                <a:gd name="T32" fmla="*/ 233 w 280"/>
                <a:gd name="T33" fmla="*/ 93 h 276"/>
                <a:gd name="T34" fmla="*/ 185 w 280"/>
                <a:gd name="T35" fmla="*/ 141 h 276"/>
                <a:gd name="T36" fmla="*/ 187 w 280"/>
                <a:gd name="T37" fmla="*/ 158 h 276"/>
                <a:gd name="T38" fmla="*/ 150 w 280"/>
                <a:gd name="T39" fmla="*/ 195 h 276"/>
                <a:gd name="T40" fmla="*/ 111 w 280"/>
                <a:gd name="T41" fmla="*/ 195 h 276"/>
                <a:gd name="T42" fmla="*/ 97 w 280"/>
                <a:gd name="T43" fmla="*/ 209 h 276"/>
                <a:gd name="T44" fmla="*/ 97 w 280"/>
                <a:gd name="T45" fmla="*/ 262 h 276"/>
                <a:gd name="T46" fmla="*/ 110 w 280"/>
                <a:gd name="T47" fmla="*/ 276 h 276"/>
                <a:gd name="T48" fmla="*/ 164 w 280"/>
                <a:gd name="T49" fmla="*/ 276 h 276"/>
                <a:gd name="T50" fmla="*/ 178 w 280"/>
                <a:gd name="T51" fmla="*/ 262 h 276"/>
                <a:gd name="T52" fmla="*/ 178 w 280"/>
                <a:gd name="T53" fmla="*/ 223 h 276"/>
                <a:gd name="T54" fmla="*/ 215 w 280"/>
                <a:gd name="T55" fmla="*/ 186 h 276"/>
                <a:gd name="T56" fmla="*/ 232 w 280"/>
                <a:gd name="T57" fmla="*/ 188 h 276"/>
                <a:gd name="T58" fmla="*/ 280 w 280"/>
                <a:gd name="T59" fmla="*/ 140 h 276"/>
                <a:gd name="T60" fmla="*/ 266 w 280"/>
                <a:gd name="T61" fmla="*/ 107 h 276"/>
                <a:gd name="T62" fmla="*/ 233 w 280"/>
                <a:gd name="T63" fmla="*/ 9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0" h="276">
                  <a:moveTo>
                    <a:pt x="164" y="0"/>
                  </a:moveTo>
                  <a:cubicBezTo>
                    <a:pt x="110" y="0"/>
                    <a:pt x="110" y="0"/>
                    <a:pt x="110" y="0"/>
                  </a:cubicBezTo>
                  <a:cubicBezTo>
                    <a:pt x="103" y="1"/>
                    <a:pt x="97" y="7"/>
                    <a:pt x="97" y="14"/>
                  </a:cubicBezTo>
                  <a:cubicBezTo>
                    <a:pt x="97" y="55"/>
                    <a:pt x="97" y="55"/>
                    <a:pt x="97" y="55"/>
                  </a:cubicBezTo>
                  <a:cubicBezTo>
                    <a:pt x="97" y="68"/>
                    <a:pt x="87" y="79"/>
                    <a:pt x="83" y="83"/>
                  </a:cubicBezTo>
                  <a:cubicBezTo>
                    <a:pt x="79" y="87"/>
                    <a:pt x="68" y="97"/>
                    <a:pt x="50" y="97"/>
                  </a:cubicBezTo>
                  <a:cubicBezTo>
                    <a:pt x="0" y="97"/>
                    <a:pt x="0" y="97"/>
                    <a:pt x="0" y="97"/>
                  </a:cubicBezTo>
                  <a:cubicBezTo>
                    <a:pt x="0" y="178"/>
                    <a:pt x="0" y="178"/>
                    <a:pt x="0" y="178"/>
                  </a:cubicBezTo>
                  <a:cubicBezTo>
                    <a:pt x="81" y="178"/>
                    <a:pt x="81" y="178"/>
                    <a:pt x="81" y="178"/>
                  </a:cubicBezTo>
                  <a:cubicBezTo>
                    <a:pt x="81" y="129"/>
                    <a:pt x="81" y="129"/>
                    <a:pt x="81" y="129"/>
                  </a:cubicBezTo>
                  <a:cubicBezTo>
                    <a:pt x="81" y="111"/>
                    <a:pt x="91" y="99"/>
                    <a:pt x="95" y="95"/>
                  </a:cubicBezTo>
                  <a:cubicBezTo>
                    <a:pt x="99" y="91"/>
                    <a:pt x="110" y="81"/>
                    <a:pt x="123" y="81"/>
                  </a:cubicBezTo>
                  <a:cubicBezTo>
                    <a:pt x="164" y="81"/>
                    <a:pt x="164" y="81"/>
                    <a:pt x="164" y="81"/>
                  </a:cubicBezTo>
                  <a:cubicBezTo>
                    <a:pt x="172" y="81"/>
                    <a:pt x="178" y="75"/>
                    <a:pt x="178" y="68"/>
                  </a:cubicBezTo>
                  <a:cubicBezTo>
                    <a:pt x="178" y="14"/>
                    <a:pt x="178" y="14"/>
                    <a:pt x="178" y="14"/>
                  </a:cubicBezTo>
                  <a:cubicBezTo>
                    <a:pt x="178" y="7"/>
                    <a:pt x="172" y="1"/>
                    <a:pt x="164" y="0"/>
                  </a:cubicBezTo>
                  <a:moveTo>
                    <a:pt x="233" y="93"/>
                  </a:moveTo>
                  <a:cubicBezTo>
                    <a:pt x="206" y="93"/>
                    <a:pt x="185" y="115"/>
                    <a:pt x="185" y="141"/>
                  </a:cubicBezTo>
                  <a:cubicBezTo>
                    <a:pt x="185" y="145"/>
                    <a:pt x="187" y="154"/>
                    <a:pt x="187" y="158"/>
                  </a:cubicBezTo>
                  <a:cubicBezTo>
                    <a:pt x="187" y="179"/>
                    <a:pt x="171" y="195"/>
                    <a:pt x="150" y="195"/>
                  </a:cubicBezTo>
                  <a:cubicBezTo>
                    <a:pt x="111" y="195"/>
                    <a:pt x="111" y="195"/>
                    <a:pt x="111" y="195"/>
                  </a:cubicBezTo>
                  <a:cubicBezTo>
                    <a:pt x="103" y="195"/>
                    <a:pt x="97" y="201"/>
                    <a:pt x="97" y="209"/>
                  </a:cubicBezTo>
                  <a:cubicBezTo>
                    <a:pt x="97" y="262"/>
                    <a:pt x="97" y="262"/>
                    <a:pt x="97" y="262"/>
                  </a:cubicBezTo>
                  <a:cubicBezTo>
                    <a:pt x="97" y="270"/>
                    <a:pt x="103" y="276"/>
                    <a:pt x="110" y="276"/>
                  </a:cubicBezTo>
                  <a:cubicBezTo>
                    <a:pt x="164" y="276"/>
                    <a:pt x="164" y="276"/>
                    <a:pt x="164" y="276"/>
                  </a:cubicBezTo>
                  <a:cubicBezTo>
                    <a:pt x="172" y="276"/>
                    <a:pt x="178" y="270"/>
                    <a:pt x="178" y="262"/>
                  </a:cubicBezTo>
                  <a:cubicBezTo>
                    <a:pt x="178" y="223"/>
                    <a:pt x="178" y="223"/>
                    <a:pt x="178" y="223"/>
                  </a:cubicBezTo>
                  <a:cubicBezTo>
                    <a:pt x="178" y="202"/>
                    <a:pt x="194" y="186"/>
                    <a:pt x="215" y="186"/>
                  </a:cubicBezTo>
                  <a:cubicBezTo>
                    <a:pt x="218" y="186"/>
                    <a:pt x="227" y="188"/>
                    <a:pt x="232" y="188"/>
                  </a:cubicBezTo>
                  <a:cubicBezTo>
                    <a:pt x="258" y="188"/>
                    <a:pt x="280" y="166"/>
                    <a:pt x="280" y="140"/>
                  </a:cubicBezTo>
                  <a:cubicBezTo>
                    <a:pt x="280" y="127"/>
                    <a:pt x="275" y="115"/>
                    <a:pt x="266" y="107"/>
                  </a:cubicBezTo>
                  <a:cubicBezTo>
                    <a:pt x="258" y="98"/>
                    <a:pt x="246" y="93"/>
                    <a:pt x="233" y="93"/>
                  </a:cubicBezTo>
                </a:path>
              </a:pathLst>
            </a:custGeom>
            <a:solidFill>
              <a:srgbClr val="E200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1" name="Freeform 7"/>
            <p:cNvSpPr>
              <a:spLocks noEditPoints="1"/>
            </p:cNvSpPr>
            <p:nvPr userDrawn="1"/>
          </p:nvSpPr>
          <p:spPr bwMode="auto">
            <a:xfrm>
              <a:off x="4870" y="286"/>
              <a:ext cx="439" cy="64"/>
            </a:xfrm>
            <a:custGeom>
              <a:avLst/>
              <a:gdLst>
                <a:gd name="T0" fmla="*/ 150 w 708"/>
                <a:gd name="T1" fmla="*/ 0 h 103"/>
                <a:gd name="T2" fmla="*/ 88 w 708"/>
                <a:gd name="T3" fmla="*/ 59 h 103"/>
                <a:gd name="T4" fmla="*/ 26 w 708"/>
                <a:gd name="T5" fmla="*/ 0 h 103"/>
                <a:gd name="T6" fmla="*/ 0 w 708"/>
                <a:gd name="T7" fmla="*/ 24 h 103"/>
                <a:gd name="T8" fmla="*/ 88 w 708"/>
                <a:gd name="T9" fmla="*/ 103 h 103"/>
                <a:gd name="T10" fmla="*/ 176 w 708"/>
                <a:gd name="T11" fmla="*/ 24 h 103"/>
                <a:gd name="T12" fmla="*/ 150 w 708"/>
                <a:gd name="T13" fmla="*/ 0 h 103"/>
                <a:gd name="T14" fmla="*/ 554 w 708"/>
                <a:gd name="T15" fmla="*/ 0 h 103"/>
                <a:gd name="T16" fmla="*/ 473 w 708"/>
                <a:gd name="T17" fmla="*/ 8 h 103"/>
                <a:gd name="T18" fmla="*/ 473 w 708"/>
                <a:gd name="T19" fmla="*/ 94 h 103"/>
                <a:gd name="T20" fmla="*/ 554 w 708"/>
                <a:gd name="T21" fmla="*/ 102 h 103"/>
                <a:gd name="T22" fmla="*/ 635 w 708"/>
                <a:gd name="T23" fmla="*/ 94 h 103"/>
                <a:gd name="T24" fmla="*/ 635 w 708"/>
                <a:gd name="T25" fmla="*/ 65 h 103"/>
                <a:gd name="T26" fmla="*/ 554 w 708"/>
                <a:gd name="T27" fmla="*/ 72 h 103"/>
                <a:gd name="T28" fmla="*/ 508 w 708"/>
                <a:gd name="T29" fmla="*/ 68 h 103"/>
                <a:gd name="T30" fmla="*/ 508 w 708"/>
                <a:gd name="T31" fmla="*/ 34 h 103"/>
                <a:gd name="T32" fmla="*/ 554 w 708"/>
                <a:gd name="T33" fmla="*/ 30 h 103"/>
                <a:gd name="T34" fmla="*/ 635 w 708"/>
                <a:gd name="T35" fmla="*/ 37 h 103"/>
                <a:gd name="T36" fmla="*/ 635 w 708"/>
                <a:gd name="T37" fmla="*/ 8 h 103"/>
                <a:gd name="T38" fmla="*/ 554 w 708"/>
                <a:gd name="T39" fmla="*/ 0 h 103"/>
                <a:gd name="T40" fmla="*/ 434 w 708"/>
                <a:gd name="T41" fmla="*/ 2 h 103"/>
                <a:gd name="T42" fmla="*/ 400 w 708"/>
                <a:gd name="T43" fmla="*/ 2 h 103"/>
                <a:gd name="T44" fmla="*/ 400 w 708"/>
                <a:gd name="T45" fmla="*/ 63 h 103"/>
                <a:gd name="T46" fmla="*/ 336 w 708"/>
                <a:gd name="T47" fmla="*/ 24 h 103"/>
                <a:gd name="T48" fmla="*/ 274 w 708"/>
                <a:gd name="T49" fmla="*/ 2 h 103"/>
                <a:gd name="T50" fmla="*/ 274 w 708"/>
                <a:gd name="T51" fmla="*/ 100 h 103"/>
                <a:gd name="T52" fmla="*/ 309 w 708"/>
                <a:gd name="T53" fmla="*/ 100 h 103"/>
                <a:gd name="T54" fmla="*/ 309 w 708"/>
                <a:gd name="T55" fmla="*/ 48 h 103"/>
                <a:gd name="T56" fmla="*/ 336 w 708"/>
                <a:gd name="T57" fmla="*/ 60 h 103"/>
                <a:gd name="T58" fmla="*/ 400 w 708"/>
                <a:gd name="T59" fmla="*/ 100 h 103"/>
                <a:gd name="T60" fmla="*/ 434 w 708"/>
                <a:gd name="T61" fmla="*/ 100 h 103"/>
                <a:gd name="T62" fmla="*/ 434 w 708"/>
                <a:gd name="T63" fmla="*/ 2 h 103"/>
                <a:gd name="T64" fmla="*/ 708 w 708"/>
                <a:gd name="T65" fmla="*/ 2 h 103"/>
                <a:gd name="T66" fmla="*/ 673 w 708"/>
                <a:gd name="T67" fmla="*/ 2 h 103"/>
                <a:gd name="T68" fmla="*/ 673 w 708"/>
                <a:gd name="T69" fmla="*/ 100 h 103"/>
                <a:gd name="T70" fmla="*/ 708 w 708"/>
                <a:gd name="T71" fmla="*/ 100 h 103"/>
                <a:gd name="T72" fmla="*/ 708 w 708"/>
                <a:gd name="T73" fmla="*/ 2 h 103"/>
                <a:gd name="T74" fmla="*/ 235 w 708"/>
                <a:gd name="T75" fmla="*/ 2 h 103"/>
                <a:gd name="T76" fmla="*/ 199 w 708"/>
                <a:gd name="T77" fmla="*/ 2 h 103"/>
                <a:gd name="T78" fmla="*/ 199 w 708"/>
                <a:gd name="T79" fmla="*/ 100 h 103"/>
                <a:gd name="T80" fmla="*/ 235 w 708"/>
                <a:gd name="T81" fmla="*/ 100 h 103"/>
                <a:gd name="T82" fmla="*/ 235 w 708"/>
                <a:gd name="T83" fmla="*/ 2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08" h="103">
                  <a:moveTo>
                    <a:pt x="150" y="0"/>
                  </a:moveTo>
                  <a:cubicBezTo>
                    <a:pt x="150" y="0"/>
                    <a:pt x="96" y="52"/>
                    <a:pt x="88" y="59"/>
                  </a:cubicBezTo>
                  <a:cubicBezTo>
                    <a:pt x="80" y="52"/>
                    <a:pt x="26" y="0"/>
                    <a:pt x="26" y="0"/>
                  </a:cubicBezTo>
                  <a:cubicBezTo>
                    <a:pt x="0" y="24"/>
                    <a:pt x="0" y="24"/>
                    <a:pt x="0" y="24"/>
                  </a:cubicBezTo>
                  <a:cubicBezTo>
                    <a:pt x="88" y="103"/>
                    <a:pt x="88" y="103"/>
                    <a:pt x="88" y="103"/>
                  </a:cubicBezTo>
                  <a:cubicBezTo>
                    <a:pt x="176" y="24"/>
                    <a:pt x="176" y="24"/>
                    <a:pt x="176" y="24"/>
                  </a:cubicBezTo>
                  <a:lnTo>
                    <a:pt x="150" y="0"/>
                  </a:lnTo>
                  <a:close/>
                  <a:moveTo>
                    <a:pt x="554" y="0"/>
                  </a:moveTo>
                  <a:cubicBezTo>
                    <a:pt x="504" y="0"/>
                    <a:pt x="473" y="8"/>
                    <a:pt x="473" y="8"/>
                  </a:cubicBezTo>
                  <a:cubicBezTo>
                    <a:pt x="473" y="94"/>
                    <a:pt x="473" y="94"/>
                    <a:pt x="473" y="94"/>
                  </a:cubicBezTo>
                  <a:cubicBezTo>
                    <a:pt x="473" y="94"/>
                    <a:pt x="505" y="102"/>
                    <a:pt x="554" y="102"/>
                  </a:cubicBezTo>
                  <a:cubicBezTo>
                    <a:pt x="603" y="102"/>
                    <a:pt x="635" y="94"/>
                    <a:pt x="635" y="94"/>
                  </a:cubicBezTo>
                  <a:cubicBezTo>
                    <a:pt x="635" y="65"/>
                    <a:pt x="635" y="65"/>
                    <a:pt x="635" y="65"/>
                  </a:cubicBezTo>
                  <a:cubicBezTo>
                    <a:pt x="635" y="65"/>
                    <a:pt x="600" y="72"/>
                    <a:pt x="554" y="72"/>
                  </a:cubicBezTo>
                  <a:cubicBezTo>
                    <a:pt x="531" y="72"/>
                    <a:pt x="516" y="69"/>
                    <a:pt x="508" y="68"/>
                  </a:cubicBezTo>
                  <a:cubicBezTo>
                    <a:pt x="508" y="61"/>
                    <a:pt x="508" y="41"/>
                    <a:pt x="508" y="34"/>
                  </a:cubicBezTo>
                  <a:cubicBezTo>
                    <a:pt x="517" y="33"/>
                    <a:pt x="532" y="30"/>
                    <a:pt x="554" y="30"/>
                  </a:cubicBezTo>
                  <a:cubicBezTo>
                    <a:pt x="600" y="30"/>
                    <a:pt x="635" y="37"/>
                    <a:pt x="635" y="37"/>
                  </a:cubicBezTo>
                  <a:cubicBezTo>
                    <a:pt x="635" y="8"/>
                    <a:pt x="635" y="8"/>
                    <a:pt x="635" y="8"/>
                  </a:cubicBezTo>
                  <a:cubicBezTo>
                    <a:pt x="635" y="8"/>
                    <a:pt x="603" y="0"/>
                    <a:pt x="554" y="0"/>
                  </a:cubicBezTo>
                  <a:moveTo>
                    <a:pt x="434" y="2"/>
                  </a:moveTo>
                  <a:cubicBezTo>
                    <a:pt x="400" y="2"/>
                    <a:pt x="400" y="2"/>
                    <a:pt x="400" y="2"/>
                  </a:cubicBezTo>
                  <a:cubicBezTo>
                    <a:pt x="400" y="63"/>
                    <a:pt x="400" y="63"/>
                    <a:pt x="400" y="63"/>
                  </a:cubicBezTo>
                  <a:cubicBezTo>
                    <a:pt x="400" y="63"/>
                    <a:pt x="374" y="44"/>
                    <a:pt x="336" y="24"/>
                  </a:cubicBezTo>
                  <a:cubicBezTo>
                    <a:pt x="303" y="7"/>
                    <a:pt x="274" y="2"/>
                    <a:pt x="274" y="2"/>
                  </a:cubicBezTo>
                  <a:cubicBezTo>
                    <a:pt x="274" y="100"/>
                    <a:pt x="274" y="100"/>
                    <a:pt x="274" y="100"/>
                  </a:cubicBezTo>
                  <a:cubicBezTo>
                    <a:pt x="309" y="100"/>
                    <a:pt x="309" y="100"/>
                    <a:pt x="309" y="100"/>
                  </a:cubicBezTo>
                  <a:cubicBezTo>
                    <a:pt x="309" y="48"/>
                    <a:pt x="309" y="48"/>
                    <a:pt x="309" y="48"/>
                  </a:cubicBezTo>
                  <a:cubicBezTo>
                    <a:pt x="317" y="51"/>
                    <a:pt x="326" y="54"/>
                    <a:pt x="336" y="60"/>
                  </a:cubicBezTo>
                  <a:cubicBezTo>
                    <a:pt x="374" y="79"/>
                    <a:pt x="400" y="100"/>
                    <a:pt x="400" y="100"/>
                  </a:cubicBezTo>
                  <a:cubicBezTo>
                    <a:pt x="434" y="100"/>
                    <a:pt x="434" y="100"/>
                    <a:pt x="434" y="100"/>
                  </a:cubicBezTo>
                  <a:lnTo>
                    <a:pt x="434" y="2"/>
                  </a:lnTo>
                  <a:close/>
                  <a:moveTo>
                    <a:pt x="708" y="2"/>
                  </a:moveTo>
                  <a:cubicBezTo>
                    <a:pt x="673" y="2"/>
                    <a:pt x="673" y="2"/>
                    <a:pt x="673" y="2"/>
                  </a:cubicBezTo>
                  <a:cubicBezTo>
                    <a:pt x="673" y="100"/>
                    <a:pt x="673" y="100"/>
                    <a:pt x="673" y="100"/>
                  </a:cubicBezTo>
                  <a:cubicBezTo>
                    <a:pt x="708" y="100"/>
                    <a:pt x="708" y="100"/>
                    <a:pt x="708" y="100"/>
                  </a:cubicBezTo>
                  <a:lnTo>
                    <a:pt x="708" y="2"/>
                  </a:lnTo>
                  <a:close/>
                  <a:moveTo>
                    <a:pt x="235" y="2"/>
                  </a:moveTo>
                  <a:cubicBezTo>
                    <a:pt x="199" y="2"/>
                    <a:pt x="199" y="2"/>
                    <a:pt x="199" y="2"/>
                  </a:cubicBezTo>
                  <a:cubicBezTo>
                    <a:pt x="199" y="100"/>
                    <a:pt x="199" y="100"/>
                    <a:pt x="199" y="100"/>
                  </a:cubicBezTo>
                  <a:cubicBezTo>
                    <a:pt x="235" y="100"/>
                    <a:pt x="235" y="100"/>
                    <a:pt x="235" y="100"/>
                  </a:cubicBezTo>
                  <a:lnTo>
                    <a:pt x="235" y="2"/>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2" name="Freeform 8"/>
            <p:cNvSpPr>
              <a:spLocks/>
            </p:cNvSpPr>
            <p:nvPr userDrawn="1"/>
          </p:nvSpPr>
          <p:spPr bwMode="auto">
            <a:xfrm>
              <a:off x="5179"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3" name="Freeform 9"/>
            <p:cNvSpPr>
              <a:spLocks/>
            </p:cNvSpPr>
            <p:nvPr userDrawn="1"/>
          </p:nvSpPr>
          <p:spPr bwMode="auto">
            <a:xfrm>
              <a:off x="5200" y="371"/>
              <a:ext cx="24" cy="26"/>
            </a:xfrm>
            <a:custGeom>
              <a:avLst/>
              <a:gdLst>
                <a:gd name="T0" fmla="*/ 39 w 39"/>
                <a:gd name="T1" fmla="*/ 0 h 43"/>
                <a:gd name="T2" fmla="*/ 31 w 39"/>
                <a:gd name="T3" fmla="*/ 0 h 43"/>
                <a:gd name="T4" fmla="*/ 31 w 39"/>
                <a:gd name="T5" fmla="*/ 26 h 43"/>
                <a:gd name="T6" fmla="*/ 31 w 39"/>
                <a:gd name="T7" fmla="*/ 30 h 43"/>
                <a:gd name="T8" fmla="*/ 31 w 39"/>
                <a:gd name="T9" fmla="*/ 30 h 43"/>
                <a:gd name="T10" fmla="*/ 28 w 39"/>
                <a:gd name="T11" fmla="*/ 26 h 43"/>
                <a:gd name="T12" fmla="*/ 10 w 39"/>
                <a:gd name="T13" fmla="*/ 0 h 43"/>
                <a:gd name="T14" fmla="*/ 0 w 39"/>
                <a:gd name="T15" fmla="*/ 0 h 43"/>
                <a:gd name="T16" fmla="*/ 0 w 39"/>
                <a:gd name="T17" fmla="*/ 43 h 43"/>
                <a:gd name="T18" fmla="*/ 9 w 39"/>
                <a:gd name="T19" fmla="*/ 43 h 43"/>
                <a:gd name="T20" fmla="*/ 9 w 39"/>
                <a:gd name="T21" fmla="*/ 16 h 43"/>
                <a:gd name="T22" fmla="*/ 8 w 39"/>
                <a:gd name="T23" fmla="*/ 11 h 43"/>
                <a:gd name="T24" fmla="*/ 8 w 39"/>
                <a:gd name="T25" fmla="*/ 11 h 43"/>
                <a:gd name="T26" fmla="*/ 12 w 39"/>
                <a:gd name="T27" fmla="*/ 15 h 43"/>
                <a:gd name="T28" fmla="*/ 31 w 39"/>
                <a:gd name="T29" fmla="*/ 43 h 43"/>
                <a:gd name="T30" fmla="*/ 39 w 39"/>
                <a:gd name="T31" fmla="*/ 43 h 43"/>
                <a:gd name="T32" fmla="*/ 39 w 39"/>
                <a:gd name="T3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 h="43">
                  <a:moveTo>
                    <a:pt x="39" y="0"/>
                  </a:moveTo>
                  <a:cubicBezTo>
                    <a:pt x="31" y="0"/>
                    <a:pt x="31" y="0"/>
                    <a:pt x="31" y="0"/>
                  </a:cubicBezTo>
                  <a:cubicBezTo>
                    <a:pt x="31" y="26"/>
                    <a:pt x="31" y="26"/>
                    <a:pt x="31" y="26"/>
                  </a:cubicBezTo>
                  <a:cubicBezTo>
                    <a:pt x="31" y="28"/>
                    <a:pt x="31" y="30"/>
                    <a:pt x="31" y="30"/>
                  </a:cubicBezTo>
                  <a:cubicBezTo>
                    <a:pt x="31" y="30"/>
                    <a:pt x="31" y="30"/>
                    <a:pt x="31" y="30"/>
                  </a:cubicBezTo>
                  <a:cubicBezTo>
                    <a:pt x="31" y="30"/>
                    <a:pt x="30" y="28"/>
                    <a:pt x="28" y="26"/>
                  </a:cubicBezTo>
                  <a:cubicBezTo>
                    <a:pt x="10" y="0"/>
                    <a:pt x="10" y="0"/>
                    <a:pt x="10" y="0"/>
                  </a:cubicBezTo>
                  <a:cubicBezTo>
                    <a:pt x="0" y="0"/>
                    <a:pt x="0" y="0"/>
                    <a:pt x="0" y="0"/>
                  </a:cubicBezTo>
                  <a:cubicBezTo>
                    <a:pt x="0" y="43"/>
                    <a:pt x="0" y="43"/>
                    <a:pt x="0" y="43"/>
                  </a:cubicBezTo>
                  <a:cubicBezTo>
                    <a:pt x="9" y="43"/>
                    <a:pt x="9" y="43"/>
                    <a:pt x="9" y="43"/>
                  </a:cubicBezTo>
                  <a:cubicBezTo>
                    <a:pt x="9" y="16"/>
                    <a:pt x="9" y="16"/>
                    <a:pt x="9" y="16"/>
                  </a:cubicBezTo>
                  <a:cubicBezTo>
                    <a:pt x="9" y="13"/>
                    <a:pt x="8" y="11"/>
                    <a:pt x="8" y="11"/>
                  </a:cubicBezTo>
                  <a:cubicBezTo>
                    <a:pt x="8" y="11"/>
                    <a:pt x="8" y="11"/>
                    <a:pt x="8" y="11"/>
                  </a:cubicBezTo>
                  <a:cubicBezTo>
                    <a:pt x="8" y="11"/>
                    <a:pt x="10" y="13"/>
                    <a:pt x="12" y="15"/>
                  </a:cubicBezTo>
                  <a:cubicBezTo>
                    <a:pt x="31" y="43"/>
                    <a:pt x="31" y="43"/>
                    <a:pt x="31" y="43"/>
                  </a:cubicBezTo>
                  <a:cubicBezTo>
                    <a:pt x="39" y="43"/>
                    <a:pt x="39" y="43"/>
                    <a:pt x="39" y="43"/>
                  </a:cubicBezTo>
                  <a:lnTo>
                    <a:pt x="39"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4" name="Freeform 10"/>
            <p:cNvSpPr>
              <a:spLocks/>
            </p:cNvSpPr>
            <p:nvPr userDrawn="1"/>
          </p:nvSpPr>
          <p:spPr bwMode="auto">
            <a:xfrm>
              <a:off x="5231"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5" name="Freeform 11"/>
            <p:cNvSpPr>
              <a:spLocks noEditPoints="1"/>
            </p:cNvSpPr>
            <p:nvPr userDrawn="1"/>
          </p:nvSpPr>
          <p:spPr bwMode="auto">
            <a:xfrm>
              <a:off x="5253" y="371"/>
              <a:ext cx="21" cy="26"/>
            </a:xfrm>
            <a:custGeom>
              <a:avLst/>
              <a:gdLst>
                <a:gd name="T0" fmla="*/ 14 w 35"/>
                <a:gd name="T1" fmla="*/ 0 h 43"/>
                <a:gd name="T2" fmla="*/ 0 w 35"/>
                <a:gd name="T3" fmla="*/ 2 h 43"/>
                <a:gd name="T4" fmla="*/ 0 w 35"/>
                <a:gd name="T5" fmla="*/ 43 h 43"/>
                <a:gd name="T6" fmla="*/ 9 w 35"/>
                <a:gd name="T7" fmla="*/ 43 h 43"/>
                <a:gd name="T8" fmla="*/ 9 w 35"/>
                <a:gd name="T9" fmla="*/ 23 h 43"/>
                <a:gd name="T10" fmla="*/ 9 w 35"/>
                <a:gd name="T11" fmla="*/ 23 h 43"/>
                <a:gd name="T12" fmla="*/ 24 w 35"/>
                <a:gd name="T13" fmla="*/ 43 h 43"/>
                <a:gd name="T14" fmla="*/ 35 w 35"/>
                <a:gd name="T15" fmla="*/ 43 h 43"/>
                <a:gd name="T16" fmla="*/ 19 w 35"/>
                <a:gd name="T17" fmla="*/ 24 h 43"/>
                <a:gd name="T18" fmla="*/ 19 w 35"/>
                <a:gd name="T19" fmla="*/ 24 h 43"/>
                <a:gd name="T20" fmla="*/ 33 w 35"/>
                <a:gd name="T21" fmla="*/ 13 h 43"/>
                <a:gd name="T22" fmla="*/ 14 w 35"/>
                <a:gd name="T23" fmla="*/ 0 h 43"/>
                <a:gd name="T24" fmla="*/ 13 w 35"/>
                <a:gd name="T25" fmla="*/ 22 h 43"/>
                <a:gd name="T26" fmla="*/ 9 w 35"/>
                <a:gd name="T27" fmla="*/ 22 h 43"/>
                <a:gd name="T28" fmla="*/ 9 w 35"/>
                <a:gd name="T29" fmla="*/ 5 h 43"/>
                <a:gd name="T30" fmla="*/ 14 w 35"/>
                <a:gd name="T31" fmla="*/ 4 h 43"/>
                <a:gd name="T32" fmla="*/ 24 w 35"/>
                <a:gd name="T33" fmla="*/ 13 h 43"/>
                <a:gd name="T34" fmla="*/ 13 w 35"/>
                <a:gd name="T3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43">
                  <a:moveTo>
                    <a:pt x="14" y="0"/>
                  </a:moveTo>
                  <a:cubicBezTo>
                    <a:pt x="8" y="0"/>
                    <a:pt x="3" y="1"/>
                    <a:pt x="0" y="2"/>
                  </a:cubicBezTo>
                  <a:cubicBezTo>
                    <a:pt x="0" y="43"/>
                    <a:pt x="0" y="43"/>
                    <a:pt x="0" y="43"/>
                  </a:cubicBezTo>
                  <a:cubicBezTo>
                    <a:pt x="9" y="43"/>
                    <a:pt x="9" y="43"/>
                    <a:pt x="9" y="43"/>
                  </a:cubicBezTo>
                  <a:cubicBezTo>
                    <a:pt x="9" y="23"/>
                    <a:pt x="9" y="23"/>
                    <a:pt x="9" y="23"/>
                  </a:cubicBezTo>
                  <a:cubicBezTo>
                    <a:pt x="9" y="23"/>
                    <a:pt x="9" y="23"/>
                    <a:pt x="9" y="23"/>
                  </a:cubicBezTo>
                  <a:cubicBezTo>
                    <a:pt x="24" y="43"/>
                    <a:pt x="24" y="43"/>
                    <a:pt x="24" y="43"/>
                  </a:cubicBezTo>
                  <a:cubicBezTo>
                    <a:pt x="35" y="43"/>
                    <a:pt x="35" y="43"/>
                    <a:pt x="35" y="43"/>
                  </a:cubicBezTo>
                  <a:cubicBezTo>
                    <a:pt x="19" y="24"/>
                    <a:pt x="19" y="24"/>
                    <a:pt x="19" y="24"/>
                  </a:cubicBezTo>
                  <a:cubicBezTo>
                    <a:pt x="19" y="24"/>
                    <a:pt x="19" y="24"/>
                    <a:pt x="19" y="24"/>
                  </a:cubicBezTo>
                  <a:cubicBezTo>
                    <a:pt x="28" y="23"/>
                    <a:pt x="33" y="19"/>
                    <a:pt x="33" y="13"/>
                  </a:cubicBezTo>
                  <a:cubicBezTo>
                    <a:pt x="33" y="5"/>
                    <a:pt x="27" y="0"/>
                    <a:pt x="14" y="0"/>
                  </a:cubicBezTo>
                  <a:moveTo>
                    <a:pt x="13" y="22"/>
                  </a:moveTo>
                  <a:cubicBezTo>
                    <a:pt x="11" y="22"/>
                    <a:pt x="10" y="22"/>
                    <a:pt x="9" y="22"/>
                  </a:cubicBezTo>
                  <a:cubicBezTo>
                    <a:pt x="9" y="5"/>
                    <a:pt x="9" y="5"/>
                    <a:pt x="9" y="5"/>
                  </a:cubicBezTo>
                  <a:cubicBezTo>
                    <a:pt x="10" y="5"/>
                    <a:pt x="12" y="4"/>
                    <a:pt x="14" y="4"/>
                  </a:cubicBezTo>
                  <a:cubicBezTo>
                    <a:pt x="21" y="4"/>
                    <a:pt x="24" y="7"/>
                    <a:pt x="24" y="13"/>
                  </a:cubicBezTo>
                  <a:cubicBezTo>
                    <a:pt x="24" y="19"/>
                    <a:pt x="20" y="22"/>
                    <a:pt x="13" y="22"/>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6" name="Freeform 12"/>
            <p:cNvSpPr>
              <a:spLocks/>
            </p:cNvSpPr>
            <p:nvPr userDrawn="1"/>
          </p:nvSpPr>
          <p:spPr bwMode="auto">
            <a:xfrm>
              <a:off x="5278" y="371"/>
              <a:ext cx="23" cy="26"/>
            </a:xfrm>
            <a:custGeom>
              <a:avLst/>
              <a:gdLst>
                <a:gd name="T0" fmla="*/ 23 w 37"/>
                <a:gd name="T1" fmla="*/ 0 h 43"/>
                <a:gd name="T2" fmla="*/ 0 w 37"/>
                <a:gd name="T3" fmla="*/ 21 h 43"/>
                <a:gd name="T4" fmla="*/ 23 w 37"/>
                <a:gd name="T5" fmla="*/ 43 h 43"/>
                <a:gd name="T6" fmla="*/ 37 w 37"/>
                <a:gd name="T7" fmla="*/ 41 h 43"/>
                <a:gd name="T8" fmla="*/ 37 w 37"/>
                <a:gd name="T9" fmla="*/ 18 h 43"/>
                <a:gd name="T10" fmla="*/ 20 w 37"/>
                <a:gd name="T11" fmla="*/ 18 h 43"/>
                <a:gd name="T12" fmla="*/ 20 w 37"/>
                <a:gd name="T13" fmla="*/ 23 h 43"/>
                <a:gd name="T14" fmla="*/ 27 w 37"/>
                <a:gd name="T15" fmla="*/ 23 h 43"/>
                <a:gd name="T16" fmla="*/ 27 w 37"/>
                <a:gd name="T17" fmla="*/ 37 h 43"/>
                <a:gd name="T18" fmla="*/ 22 w 37"/>
                <a:gd name="T19" fmla="*/ 38 h 43"/>
                <a:gd name="T20" fmla="*/ 9 w 37"/>
                <a:gd name="T21" fmla="*/ 22 h 43"/>
                <a:gd name="T22" fmla="*/ 24 w 37"/>
                <a:gd name="T23" fmla="*/ 5 h 43"/>
                <a:gd name="T24" fmla="*/ 33 w 37"/>
                <a:gd name="T25" fmla="*/ 7 h 43"/>
                <a:gd name="T26" fmla="*/ 36 w 37"/>
                <a:gd name="T27" fmla="*/ 2 h 43"/>
                <a:gd name="T28" fmla="*/ 23 w 37"/>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 h="43">
                  <a:moveTo>
                    <a:pt x="23" y="0"/>
                  </a:moveTo>
                  <a:cubicBezTo>
                    <a:pt x="9" y="0"/>
                    <a:pt x="0" y="8"/>
                    <a:pt x="0" y="21"/>
                  </a:cubicBezTo>
                  <a:cubicBezTo>
                    <a:pt x="0" y="35"/>
                    <a:pt x="9" y="43"/>
                    <a:pt x="23" y="43"/>
                  </a:cubicBezTo>
                  <a:cubicBezTo>
                    <a:pt x="30" y="43"/>
                    <a:pt x="33" y="42"/>
                    <a:pt x="37" y="41"/>
                  </a:cubicBezTo>
                  <a:cubicBezTo>
                    <a:pt x="37" y="18"/>
                    <a:pt x="37" y="18"/>
                    <a:pt x="37" y="18"/>
                  </a:cubicBezTo>
                  <a:cubicBezTo>
                    <a:pt x="20" y="18"/>
                    <a:pt x="20" y="18"/>
                    <a:pt x="20" y="18"/>
                  </a:cubicBezTo>
                  <a:cubicBezTo>
                    <a:pt x="20" y="23"/>
                    <a:pt x="20" y="23"/>
                    <a:pt x="20" y="23"/>
                  </a:cubicBezTo>
                  <a:cubicBezTo>
                    <a:pt x="27" y="23"/>
                    <a:pt x="27" y="23"/>
                    <a:pt x="27" y="23"/>
                  </a:cubicBezTo>
                  <a:cubicBezTo>
                    <a:pt x="27" y="37"/>
                    <a:pt x="27" y="37"/>
                    <a:pt x="27" y="37"/>
                  </a:cubicBezTo>
                  <a:cubicBezTo>
                    <a:pt x="27" y="37"/>
                    <a:pt x="25" y="38"/>
                    <a:pt x="22" y="38"/>
                  </a:cubicBezTo>
                  <a:cubicBezTo>
                    <a:pt x="15" y="38"/>
                    <a:pt x="9" y="32"/>
                    <a:pt x="9" y="22"/>
                  </a:cubicBezTo>
                  <a:cubicBezTo>
                    <a:pt x="9" y="10"/>
                    <a:pt x="15" y="5"/>
                    <a:pt x="24" y="5"/>
                  </a:cubicBezTo>
                  <a:cubicBezTo>
                    <a:pt x="28" y="5"/>
                    <a:pt x="31" y="6"/>
                    <a:pt x="33" y="7"/>
                  </a:cubicBezTo>
                  <a:cubicBezTo>
                    <a:pt x="36" y="2"/>
                    <a:pt x="36" y="2"/>
                    <a:pt x="36" y="2"/>
                  </a:cubicBezTo>
                  <a:cubicBezTo>
                    <a:pt x="33" y="1"/>
                    <a:pt x="29" y="0"/>
                    <a:pt x="23"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7" name="Rectangle 13"/>
            <p:cNvSpPr>
              <a:spLocks noChangeArrowheads="1"/>
            </p:cNvSpPr>
            <p:nvPr userDrawn="1"/>
          </p:nvSpPr>
          <p:spPr bwMode="auto">
            <a:xfrm>
              <a:off x="5307" y="371"/>
              <a:ext cx="7" cy="26"/>
            </a:xfrm>
            <a:prstGeom prst="rect">
              <a:avLst/>
            </a:prstGeom>
            <a:solidFill>
              <a:srgbClr val="00448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8" name="Freeform 14"/>
            <p:cNvSpPr>
              <a:spLocks/>
            </p:cNvSpPr>
            <p:nvPr userDrawn="1"/>
          </p:nvSpPr>
          <p:spPr bwMode="auto">
            <a:xfrm>
              <a:off x="5320"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7 w 16"/>
                <a:gd name="T11" fmla="*/ 22 h 26"/>
                <a:gd name="T12" fmla="*/ 7 w 16"/>
                <a:gd name="T13" fmla="*/ 14 h 26"/>
                <a:gd name="T14" fmla="*/ 15 w 16"/>
                <a:gd name="T15" fmla="*/ 14 h 26"/>
                <a:gd name="T16" fmla="*/ 15 w 16"/>
                <a:gd name="T17" fmla="*/ 11 h 26"/>
                <a:gd name="T18" fmla="*/ 7 w 16"/>
                <a:gd name="T19" fmla="*/ 11 h 26"/>
                <a:gd name="T20" fmla="*/ 7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7" y="22"/>
                  </a:lnTo>
                  <a:lnTo>
                    <a:pt x="7" y="14"/>
                  </a:lnTo>
                  <a:lnTo>
                    <a:pt x="15" y="14"/>
                  </a:lnTo>
                  <a:lnTo>
                    <a:pt x="15" y="11"/>
                  </a:lnTo>
                  <a:lnTo>
                    <a:pt x="7" y="11"/>
                  </a:lnTo>
                  <a:lnTo>
                    <a:pt x="7"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9" name="Freeform 15"/>
            <p:cNvSpPr>
              <a:spLocks/>
            </p:cNvSpPr>
            <p:nvPr userDrawn="1"/>
          </p:nvSpPr>
          <p:spPr bwMode="auto">
            <a:xfrm>
              <a:off x="5340" y="371"/>
              <a:ext cx="19" cy="26"/>
            </a:xfrm>
            <a:custGeom>
              <a:avLst/>
              <a:gdLst>
                <a:gd name="T0" fmla="*/ 16 w 30"/>
                <a:gd name="T1" fmla="*/ 0 h 43"/>
                <a:gd name="T2" fmla="*/ 0 w 30"/>
                <a:gd name="T3" fmla="*/ 12 h 43"/>
                <a:gd name="T4" fmla="*/ 11 w 30"/>
                <a:gd name="T5" fmla="*/ 24 h 43"/>
                <a:gd name="T6" fmla="*/ 19 w 30"/>
                <a:gd name="T7" fmla="*/ 31 h 43"/>
                <a:gd name="T8" fmla="*/ 11 w 30"/>
                <a:gd name="T9" fmla="*/ 37 h 43"/>
                <a:gd name="T10" fmla="*/ 2 w 30"/>
                <a:gd name="T11" fmla="*/ 35 h 43"/>
                <a:gd name="T12" fmla="*/ 0 w 30"/>
                <a:gd name="T13" fmla="*/ 41 h 43"/>
                <a:gd name="T14" fmla="*/ 13 w 30"/>
                <a:gd name="T15" fmla="*/ 43 h 43"/>
                <a:gd name="T16" fmla="*/ 30 w 30"/>
                <a:gd name="T17" fmla="*/ 30 h 43"/>
                <a:gd name="T18" fmla="*/ 18 w 30"/>
                <a:gd name="T19" fmla="*/ 18 h 43"/>
                <a:gd name="T20" fmla="*/ 10 w 30"/>
                <a:gd name="T21" fmla="*/ 11 h 43"/>
                <a:gd name="T22" fmla="*/ 17 w 30"/>
                <a:gd name="T23" fmla="*/ 5 h 43"/>
                <a:gd name="T24" fmla="*/ 25 w 30"/>
                <a:gd name="T25" fmla="*/ 7 h 43"/>
                <a:gd name="T26" fmla="*/ 28 w 30"/>
                <a:gd name="T27" fmla="*/ 2 h 43"/>
                <a:gd name="T28" fmla="*/ 16 w 30"/>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43">
                  <a:moveTo>
                    <a:pt x="16" y="0"/>
                  </a:moveTo>
                  <a:cubicBezTo>
                    <a:pt x="6" y="0"/>
                    <a:pt x="0" y="6"/>
                    <a:pt x="0" y="12"/>
                  </a:cubicBezTo>
                  <a:cubicBezTo>
                    <a:pt x="0" y="16"/>
                    <a:pt x="3" y="21"/>
                    <a:pt x="11" y="24"/>
                  </a:cubicBezTo>
                  <a:cubicBezTo>
                    <a:pt x="17" y="26"/>
                    <a:pt x="19" y="28"/>
                    <a:pt x="19" y="31"/>
                  </a:cubicBezTo>
                  <a:cubicBezTo>
                    <a:pt x="19" y="35"/>
                    <a:pt x="16" y="37"/>
                    <a:pt x="11" y="37"/>
                  </a:cubicBezTo>
                  <a:cubicBezTo>
                    <a:pt x="7" y="37"/>
                    <a:pt x="4" y="36"/>
                    <a:pt x="2" y="35"/>
                  </a:cubicBezTo>
                  <a:cubicBezTo>
                    <a:pt x="0" y="41"/>
                    <a:pt x="0" y="41"/>
                    <a:pt x="0" y="41"/>
                  </a:cubicBezTo>
                  <a:cubicBezTo>
                    <a:pt x="3" y="42"/>
                    <a:pt x="7" y="43"/>
                    <a:pt x="13" y="43"/>
                  </a:cubicBezTo>
                  <a:cubicBezTo>
                    <a:pt x="23" y="43"/>
                    <a:pt x="30" y="38"/>
                    <a:pt x="30" y="30"/>
                  </a:cubicBezTo>
                  <a:cubicBezTo>
                    <a:pt x="30" y="26"/>
                    <a:pt x="28" y="22"/>
                    <a:pt x="18" y="18"/>
                  </a:cubicBezTo>
                  <a:cubicBezTo>
                    <a:pt x="13" y="17"/>
                    <a:pt x="10" y="15"/>
                    <a:pt x="10" y="11"/>
                  </a:cubicBezTo>
                  <a:cubicBezTo>
                    <a:pt x="10" y="7"/>
                    <a:pt x="13" y="5"/>
                    <a:pt x="17" y="5"/>
                  </a:cubicBezTo>
                  <a:cubicBezTo>
                    <a:pt x="21" y="5"/>
                    <a:pt x="24" y="6"/>
                    <a:pt x="25" y="7"/>
                  </a:cubicBezTo>
                  <a:cubicBezTo>
                    <a:pt x="28" y="2"/>
                    <a:pt x="28" y="2"/>
                    <a:pt x="28" y="2"/>
                  </a:cubicBezTo>
                  <a:cubicBezTo>
                    <a:pt x="25" y="1"/>
                    <a:pt x="21" y="0"/>
                    <a:pt x="16"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grpSp>
      <p:pic>
        <p:nvPicPr>
          <p:cNvPr id="23" name="Image 2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813243" y="375126"/>
            <a:ext cx="4565515" cy="1044997"/>
          </a:xfrm>
          <a:prstGeom prst="rect">
            <a:avLst/>
          </a:prstGeom>
        </p:spPr>
      </p:pic>
      <p:sp>
        <p:nvSpPr>
          <p:cNvPr id="28" name="Forme libre 27"/>
          <p:cNvSpPr/>
          <p:nvPr userDrawn="1"/>
        </p:nvSpPr>
        <p:spPr>
          <a:xfrm>
            <a:off x="2" y="3072651"/>
            <a:ext cx="7728180" cy="2609987"/>
          </a:xfrm>
          <a:custGeom>
            <a:avLst/>
            <a:gdLst>
              <a:gd name="connsiteX0" fmla="*/ 0 w 5299780"/>
              <a:gd name="connsiteY0" fmla="*/ 0 h 1789859"/>
              <a:gd name="connsiteX1" fmla="*/ 4404851 w 5299780"/>
              <a:gd name="connsiteY1" fmla="*/ 0 h 1789859"/>
              <a:gd name="connsiteX2" fmla="*/ 5299780 w 5299780"/>
              <a:gd name="connsiteY2" fmla="*/ 894930 h 1789859"/>
              <a:gd name="connsiteX3" fmla="*/ 4404851 w 5299780"/>
              <a:gd name="connsiteY3" fmla="*/ 1789859 h 1789859"/>
              <a:gd name="connsiteX4" fmla="*/ 0 w 5299780"/>
              <a:gd name="connsiteY4" fmla="*/ 1789859 h 1789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9780" h="1789859">
                <a:moveTo>
                  <a:pt x="0" y="0"/>
                </a:moveTo>
                <a:lnTo>
                  <a:pt x="4404851" y="0"/>
                </a:lnTo>
                <a:cubicBezTo>
                  <a:pt x="4899107" y="0"/>
                  <a:pt x="5299780" y="400673"/>
                  <a:pt x="5299780" y="894930"/>
                </a:cubicBezTo>
                <a:cubicBezTo>
                  <a:pt x="5299780" y="1389186"/>
                  <a:pt x="4899107" y="1789859"/>
                  <a:pt x="4404851" y="1789859"/>
                </a:cubicBezTo>
                <a:lnTo>
                  <a:pt x="0" y="1789859"/>
                </a:lnTo>
                <a:close/>
              </a:path>
            </a:pathLst>
          </a:custGeom>
          <a:gradFill flip="none" rotWithShape="1">
            <a:gsLst>
              <a:gs pos="0">
                <a:schemeClr val="tx2">
                  <a:lumMod val="90000"/>
                  <a:lumOff val="10000"/>
                  <a:alpha val="57000"/>
                </a:schemeClr>
              </a:gs>
              <a:gs pos="100000">
                <a:schemeClr val="accent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25" name="Forme libre 24"/>
          <p:cNvSpPr/>
          <p:nvPr userDrawn="1"/>
        </p:nvSpPr>
        <p:spPr>
          <a:xfrm>
            <a:off x="1" y="3525011"/>
            <a:ext cx="7424216" cy="2016224"/>
          </a:xfrm>
          <a:custGeom>
            <a:avLst/>
            <a:gdLst>
              <a:gd name="connsiteX0" fmla="*/ 0 w 5177583"/>
              <a:gd name="connsiteY0" fmla="*/ 0 h 1512168"/>
              <a:gd name="connsiteX1" fmla="*/ 4421499 w 5177583"/>
              <a:gd name="connsiteY1" fmla="*/ 0 h 1512168"/>
              <a:gd name="connsiteX2" fmla="*/ 5177583 w 5177583"/>
              <a:gd name="connsiteY2" fmla="*/ 756084 h 1512168"/>
              <a:gd name="connsiteX3" fmla="*/ 4421499 w 5177583"/>
              <a:gd name="connsiteY3" fmla="*/ 1512168 h 1512168"/>
              <a:gd name="connsiteX4" fmla="*/ 0 w 5177583"/>
              <a:gd name="connsiteY4" fmla="*/ 1512168 h 15121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7583" h="1512168">
                <a:moveTo>
                  <a:pt x="0" y="0"/>
                </a:moveTo>
                <a:lnTo>
                  <a:pt x="4421499" y="0"/>
                </a:lnTo>
                <a:cubicBezTo>
                  <a:pt x="4839073" y="0"/>
                  <a:pt x="5177583" y="338510"/>
                  <a:pt x="5177583" y="756084"/>
                </a:cubicBezTo>
                <a:cubicBezTo>
                  <a:pt x="5177583" y="1173658"/>
                  <a:pt x="4839073" y="1512168"/>
                  <a:pt x="4421499" y="1512168"/>
                </a:cubicBezTo>
                <a:lnTo>
                  <a:pt x="0" y="151216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5" name="Titre 4"/>
          <p:cNvSpPr>
            <a:spLocks noGrp="1"/>
          </p:cNvSpPr>
          <p:nvPr>
            <p:ph type="title"/>
          </p:nvPr>
        </p:nvSpPr>
        <p:spPr>
          <a:xfrm>
            <a:off x="214768" y="3621477"/>
            <a:ext cx="6694032" cy="1022580"/>
          </a:xfrm>
          <a:prstGeom prst="rect">
            <a:avLst/>
          </a:prstGeom>
        </p:spPr>
        <p:txBody>
          <a:bodyPr anchor="b">
            <a:noAutofit/>
          </a:bodyPr>
          <a:lstStyle>
            <a:lvl1pPr>
              <a:defRPr sz="3733">
                <a:solidFill>
                  <a:schemeClr val="accent1"/>
                </a:solidFill>
              </a:defRPr>
            </a:lvl1pPr>
          </a:lstStyle>
          <a:p>
            <a:r>
              <a:rPr lang="en-GB" dirty="0"/>
              <a:t>Modifiez le style du titre</a:t>
            </a:r>
          </a:p>
        </p:txBody>
      </p:sp>
      <p:sp>
        <p:nvSpPr>
          <p:cNvPr id="26" name="Ellipse 25"/>
          <p:cNvSpPr/>
          <p:nvPr/>
        </p:nvSpPr>
        <p:spPr>
          <a:xfrm rot="20057793">
            <a:off x="6283262" y="2986485"/>
            <a:ext cx="1340429" cy="134043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fr-FR" sz="2400" dirty="0"/>
          </a:p>
        </p:txBody>
      </p:sp>
      <p:sp>
        <p:nvSpPr>
          <p:cNvPr id="29" name="Oval 5"/>
          <p:cNvSpPr>
            <a:spLocks noChangeArrowheads="1"/>
          </p:cNvSpPr>
          <p:nvPr userDrawn="1"/>
        </p:nvSpPr>
        <p:spPr bwMode="auto">
          <a:xfrm rot="20057793">
            <a:off x="6803877" y="3506199"/>
            <a:ext cx="297547" cy="297548"/>
          </a:xfrm>
          <a:prstGeom prst="ellipse">
            <a:avLst/>
          </a:pr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dirty="0"/>
          </a:p>
        </p:txBody>
      </p:sp>
      <p:sp>
        <p:nvSpPr>
          <p:cNvPr id="32" name="Freeform 6"/>
          <p:cNvSpPr>
            <a:spLocks noEditPoints="1"/>
          </p:cNvSpPr>
          <p:nvPr userDrawn="1"/>
        </p:nvSpPr>
        <p:spPr bwMode="auto">
          <a:xfrm rot="20057793">
            <a:off x="6492041" y="3211173"/>
            <a:ext cx="921219" cy="887600"/>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dirty="0"/>
          </a:p>
        </p:txBody>
      </p:sp>
      <p:sp>
        <p:nvSpPr>
          <p:cNvPr id="33" name="Freeform 7"/>
          <p:cNvSpPr>
            <a:spLocks noEditPoints="1"/>
          </p:cNvSpPr>
          <p:nvPr userDrawn="1"/>
        </p:nvSpPr>
        <p:spPr bwMode="auto">
          <a:xfrm rot="20057793">
            <a:off x="6599629" y="3301110"/>
            <a:ext cx="706043" cy="707727"/>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4" name="Freeform 8"/>
          <p:cNvSpPr>
            <a:spLocks noEditPoints="1"/>
          </p:cNvSpPr>
          <p:nvPr userDrawn="1"/>
        </p:nvSpPr>
        <p:spPr bwMode="auto">
          <a:xfrm rot="20057793">
            <a:off x="6680810" y="3384786"/>
            <a:ext cx="542140" cy="542983"/>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5" name="Freeform 9"/>
          <p:cNvSpPr>
            <a:spLocks noEditPoints="1"/>
          </p:cNvSpPr>
          <p:nvPr userDrawn="1"/>
        </p:nvSpPr>
        <p:spPr bwMode="auto">
          <a:xfrm rot="20057793">
            <a:off x="6412557" y="3113589"/>
            <a:ext cx="1080919" cy="1084284"/>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4" name="Espace réservé du texte 3"/>
          <p:cNvSpPr>
            <a:spLocks noGrp="1"/>
          </p:cNvSpPr>
          <p:nvPr>
            <p:ph type="body" sz="quarter" idx="10"/>
          </p:nvPr>
        </p:nvSpPr>
        <p:spPr>
          <a:xfrm>
            <a:off x="213784" y="4593698"/>
            <a:ext cx="6695152" cy="912381"/>
          </a:xfrm>
        </p:spPr>
        <p:txBody>
          <a:bodyPr>
            <a:normAutofit/>
          </a:bodyPr>
          <a:lstStyle>
            <a:lvl1pPr marL="0" indent="0" algn="ctr">
              <a:buFontTx/>
              <a:buNone/>
              <a:defRPr sz="2667" b="0">
                <a:solidFill>
                  <a:schemeClr val="tx1"/>
                </a:solidFill>
              </a:defRPr>
            </a:lvl1pPr>
          </a:lstStyle>
          <a:p>
            <a:pPr lvl="0"/>
            <a:endParaRPr lang="en-GB" dirty="0"/>
          </a:p>
        </p:txBody>
      </p:sp>
      <p:sp>
        <p:nvSpPr>
          <p:cNvPr id="6" name="Espace réservé du numéro de diapositive 5"/>
          <p:cNvSpPr>
            <a:spLocks noGrp="1"/>
          </p:cNvSpPr>
          <p:nvPr>
            <p:ph type="sldNum" sz="quarter" idx="12"/>
          </p:nvPr>
        </p:nvSpPr>
        <p:spPr/>
        <p:txBody>
          <a:bodyPr/>
          <a:lstStyle/>
          <a:p>
            <a:fld id="{88A6B057-71F2-43BA-98BD-164F4E914A39}" type="slidenum">
              <a:rPr lang="en-GB" smtClean="0"/>
              <a:pPr/>
              <a:t>‹#›</a:t>
            </a:fld>
            <a:endParaRPr lang="en-GB" dirty="0"/>
          </a:p>
        </p:txBody>
      </p:sp>
    </p:spTree>
    <p:extLst>
      <p:ext uri="{BB962C8B-B14F-4D97-AF65-F5344CB8AC3E}">
        <p14:creationId xmlns:p14="http://schemas.microsoft.com/office/powerpoint/2010/main" val="1884730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par>
                                <p:cTn id="8" presetID="6" presetClass="emph" presetSubtype="0" fill="hold" nodeType="withEffect">
                                  <p:stCondLst>
                                    <p:cond delay="0"/>
                                  </p:stCondLst>
                                  <p:childTnLst>
                                    <p:animScale>
                                      <p:cBhvr>
                                        <p:cTn id="9" dur="10" fill="hold"/>
                                        <p:tgtEl>
                                          <p:spTgt spid="23"/>
                                        </p:tgtEl>
                                      </p:cBhvr>
                                      <p:by x="50000" y="50000"/>
                                    </p:animScale>
                                  </p:childTnLst>
                                </p:cTn>
                              </p:par>
                              <p:par>
                                <p:cTn id="10" presetID="6" presetClass="emph" presetSubtype="0" decel="100000" fill="hold" nodeType="withEffect">
                                  <p:stCondLst>
                                    <p:cond delay="0"/>
                                  </p:stCondLst>
                                  <p:childTnLst>
                                    <p:animScale>
                                      <p:cBhvr>
                                        <p:cTn id="11" dur="1000" fill="hold"/>
                                        <p:tgtEl>
                                          <p:spTgt spid="23"/>
                                        </p:tgtEl>
                                      </p:cBhvr>
                                      <p:by x="200000" y="200000"/>
                                    </p:animScale>
                                  </p:childTnLst>
                                </p:cTn>
                              </p:par>
                              <p:par>
                                <p:cTn id="12" presetID="2" presetClass="entr" presetSubtype="8" decel="100000" fill="hold" grpId="0" nodeType="withEffect">
                                  <p:stCondLst>
                                    <p:cond delay="0"/>
                                  </p:stCondLst>
                                  <p:childTnLst>
                                    <p:set>
                                      <p:cBhvr>
                                        <p:cTn id="13" dur="1" fill="hold">
                                          <p:stCondLst>
                                            <p:cond delay="0"/>
                                          </p:stCondLst>
                                        </p:cTn>
                                        <p:tgtEl>
                                          <p:spTgt spid="25"/>
                                        </p:tgtEl>
                                        <p:attrNameLst>
                                          <p:attrName>style.visibility</p:attrName>
                                        </p:attrNameLst>
                                      </p:cBhvr>
                                      <p:to>
                                        <p:strVal val="visible"/>
                                      </p:to>
                                    </p:set>
                                    <p:anim calcmode="lin" valueType="num">
                                      <p:cBhvr additive="base">
                                        <p:cTn id="14" dur="500" fill="hold"/>
                                        <p:tgtEl>
                                          <p:spTgt spid="25"/>
                                        </p:tgtEl>
                                        <p:attrNameLst>
                                          <p:attrName>ppt_x</p:attrName>
                                        </p:attrNameLst>
                                      </p:cBhvr>
                                      <p:tavLst>
                                        <p:tav tm="0">
                                          <p:val>
                                            <p:strVal val="0-#ppt_w/2"/>
                                          </p:val>
                                        </p:tav>
                                        <p:tav tm="100000">
                                          <p:val>
                                            <p:strVal val="#ppt_x"/>
                                          </p:val>
                                        </p:tav>
                                      </p:tavLst>
                                    </p:anim>
                                    <p:anim calcmode="lin" valueType="num">
                                      <p:cBhvr additive="base">
                                        <p:cTn id="15" dur="500" fill="hold"/>
                                        <p:tgtEl>
                                          <p:spTgt spid="25"/>
                                        </p:tgtEl>
                                        <p:attrNameLst>
                                          <p:attrName>ppt_y</p:attrName>
                                        </p:attrNameLst>
                                      </p:cBhvr>
                                      <p:tavLst>
                                        <p:tav tm="0">
                                          <p:val>
                                            <p:strVal val="#ppt_y"/>
                                          </p:val>
                                        </p:tav>
                                        <p:tav tm="100000">
                                          <p:val>
                                            <p:strVal val="#ppt_y"/>
                                          </p:val>
                                        </p:tav>
                                      </p:tavLst>
                                    </p:anim>
                                  </p:childTnLst>
                                </p:cTn>
                              </p:par>
                              <p:par>
                                <p:cTn id="16" presetID="2" presetClass="entr" presetSubtype="8" decel="100000" fill="hold" grpId="0" nodeType="withEffect">
                                  <p:stCondLst>
                                    <p:cond delay="100"/>
                                  </p:stCondLst>
                                  <p:childTnLst>
                                    <p:set>
                                      <p:cBhvr>
                                        <p:cTn id="17" dur="1" fill="hold">
                                          <p:stCondLst>
                                            <p:cond delay="0"/>
                                          </p:stCondLst>
                                        </p:cTn>
                                        <p:tgtEl>
                                          <p:spTgt spid="28"/>
                                        </p:tgtEl>
                                        <p:attrNameLst>
                                          <p:attrName>style.visibility</p:attrName>
                                        </p:attrNameLst>
                                      </p:cBhvr>
                                      <p:to>
                                        <p:strVal val="visible"/>
                                      </p:to>
                                    </p:set>
                                    <p:anim calcmode="lin" valueType="num">
                                      <p:cBhvr additive="base">
                                        <p:cTn id="18" dur="500" fill="hold"/>
                                        <p:tgtEl>
                                          <p:spTgt spid="28"/>
                                        </p:tgtEl>
                                        <p:attrNameLst>
                                          <p:attrName>ppt_x</p:attrName>
                                        </p:attrNameLst>
                                      </p:cBhvr>
                                      <p:tavLst>
                                        <p:tav tm="0">
                                          <p:val>
                                            <p:strVal val="0-#ppt_w/2"/>
                                          </p:val>
                                        </p:tav>
                                        <p:tav tm="100000">
                                          <p:val>
                                            <p:strVal val="#ppt_x"/>
                                          </p:val>
                                        </p:tav>
                                      </p:tavLst>
                                    </p:anim>
                                    <p:anim calcmode="lin" valueType="num">
                                      <p:cBhvr additive="base">
                                        <p:cTn id="19" dur="500" fill="hold"/>
                                        <p:tgtEl>
                                          <p:spTgt spid="28"/>
                                        </p:tgtEl>
                                        <p:attrNameLst>
                                          <p:attrName>ppt_y</p:attrName>
                                        </p:attrNameLst>
                                      </p:cBhvr>
                                      <p:tavLst>
                                        <p:tav tm="0">
                                          <p:val>
                                            <p:strVal val="#ppt_y"/>
                                          </p:val>
                                        </p:tav>
                                        <p:tav tm="100000">
                                          <p:val>
                                            <p:strVal val="#ppt_y"/>
                                          </p:val>
                                        </p:tav>
                                      </p:tavLst>
                                    </p:anim>
                                  </p:childTnLst>
                                </p:cTn>
                              </p:par>
                              <p:par>
                                <p:cTn id="20" presetID="10" presetClass="entr" presetSubtype="0" fill="hold" grpId="0" nodeType="withEffect">
                                  <p:stCondLst>
                                    <p:cond delay="25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childTnLst>
                                </p:cTn>
                              </p:par>
                              <p:par>
                                <p:cTn id="23" presetID="10" presetClass="entr" presetSubtype="0" fill="hold" grpId="0" nodeType="withEffect">
                                  <p:stCondLst>
                                    <p:cond delay="500"/>
                                  </p:stCondLst>
                                  <p:childTnLst>
                                    <p:set>
                                      <p:cBhvr>
                                        <p:cTn id="24" dur="1" fill="hold">
                                          <p:stCondLst>
                                            <p:cond delay="0"/>
                                          </p:stCondLst>
                                        </p:cTn>
                                        <p:tgtEl>
                                          <p:spTgt spid="26"/>
                                        </p:tgtEl>
                                        <p:attrNameLst>
                                          <p:attrName>style.visibility</p:attrName>
                                        </p:attrNameLst>
                                      </p:cBhvr>
                                      <p:to>
                                        <p:strVal val="visible"/>
                                      </p:to>
                                    </p:set>
                                    <p:animEffect transition="in" filter="fade">
                                      <p:cBhvr>
                                        <p:cTn id="25" dur="500"/>
                                        <p:tgtEl>
                                          <p:spTgt spid="26"/>
                                        </p:tgtEl>
                                      </p:cBhvr>
                                    </p:animEffect>
                                  </p:childTnLst>
                                </p:cTn>
                              </p:par>
                              <p:par>
                                <p:cTn id="26" presetID="10" presetClass="entr" presetSubtype="0" fill="hold" grpId="0" nodeType="withEffect">
                                  <p:stCondLst>
                                    <p:cond delay="500"/>
                                  </p:stCondLst>
                                  <p:childTnLst>
                                    <p:set>
                                      <p:cBhvr>
                                        <p:cTn id="27" dur="1" fill="hold">
                                          <p:stCondLst>
                                            <p:cond delay="0"/>
                                          </p:stCondLst>
                                        </p:cTn>
                                        <p:tgtEl>
                                          <p:spTgt spid="29"/>
                                        </p:tgtEl>
                                        <p:attrNameLst>
                                          <p:attrName>style.visibility</p:attrName>
                                        </p:attrNameLst>
                                      </p:cBhvr>
                                      <p:to>
                                        <p:strVal val="visible"/>
                                      </p:to>
                                    </p:set>
                                    <p:animEffect transition="in" filter="fade">
                                      <p:cBhvr>
                                        <p:cTn id="28" dur="500"/>
                                        <p:tgtEl>
                                          <p:spTgt spid="29"/>
                                        </p:tgtEl>
                                      </p:cBhvr>
                                    </p:animEffect>
                                  </p:childTnLst>
                                </p:cTn>
                              </p:par>
                              <p:par>
                                <p:cTn id="29" presetID="6" presetClass="emph" presetSubtype="0" fill="hold" grpId="1" nodeType="withEffect">
                                  <p:stCondLst>
                                    <p:cond delay="500"/>
                                  </p:stCondLst>
                                  <p:childTnLst>
                                    <p:animScale>
                                      <p:cBhvr>
                                        <p:cTn id="30" dur="10" fill="hold"/>
                                        <p:tgtEl>
                                          <p:spTgt spid="29"/>
                                        </p:tgtEl>
                                      </p:cBhvr>
                                      <p:by x="50000" y="50000"/>
                                    </p:animScale>
                                  </p:childTnLst>
                                </p:cTn>
                              </p:par>
                              <p:par>
                                <p:cTn id="31" presetID="6" presetClass="emph" presetSubtype="0" decel="100000" fill="hold" grpId="2" nodeType="withEffect">
                                  <p:stCondLst>
                                    <p:cond delay="500"/>
                                  </p:stCondLst>
                                  <p:childTnLst>
                                    <p:animScale>
                                      <p:cBhvr>
                                        <p:cTn id="32" dur="1000" fill="hold"/>
                                        <p:tgtEl>
                                          <p:spTgt spid="29"/>
                                        </p:tgtEl>
                                      </p:cBhvr>
                                      <p:by x="200000" y="200000"/>
                                    </p:animScale>
                                  </p:childTnLst>
                                </p:cTn>
                              </p:par>
                              <p:par>
                                <p:cTn id="33" presetID="10" presetClass="entr" presetSubtype="0" fill="hold" grpId="0" nodeType="withEffect">
                                  <p:stCondLst>
                                    <p:cond delay="500"/>
                                  </p:stCondLst>
                                  <p:childTnLst>
                                    <p:set>
                                      <p:cBhvr>
                                        <p:cTn id="34" dur="1" fill="hold">
                                          <p:stCondLst>
                                            <p:cond delay="0"/>
                                          </p:stCondLst>
                                        </p:cTn>
                                        <p:tgtEl>
                                          <p:spTgt spid="33"/>
                                        </p:tgtEl>
                                        <p:attrNameLst>
                                          <p:attrName>style.visibility</p:attrName>
                                        </p:attrNameLst>
                                      </p:cBhvr>
                                      <p:to>
                                        <p:strVal val="visible"/>
                                      </p:to>
                                    </p:set>
                                    <p:animEffect transition="in" filter="fade">
                                      <p:cBhvr>
                                        <p:cTn id="35" dur="500"/>
                                        <p:tgtEl>
                                          <p:spTgt spid="33"/>
                                        </p:tgtEl>
                                      </p:cBhvr>
                                    </p:animEffect>
                                  </p:childTnLst>
                                </p:cTn>
                              </p:par>
                              <p:par>
                                <p:cTn id="36" presetID="8" presetClass="emph" presetSubtype="0" repeatCount="indefinite" fill="hold" grpId="1" nodeType="withEffect">
                                  <p:stCondLst>
                                    <p:cond delay="500"/>
                                  </p:stCondLst>
                                  <p:childTnLst>
                                    <p:animRot by="-21600000">
                                      <p:cBhvr>
                                        <p:cTn id="37" dur="2000" fill="hold"/>
                                        <p:tgtEl>
                                          <p:spTgt spid="33"/>
                                        </p:tgtEl>
                                        <p:attrNameLst>
                                          <p:attrName>r</p:attrName>
                                        </p:attrNameLst>
                                      </p:cBhvr>
                                    </p:animRot>
                                  </p:childTnLst>
                                </p:cTn>
                              </p:par>
                              <p:par>
                                <p:cTn id="38" presetID="10" presetClass="entr" presetSubtype="0" fill="hold" grpId="0" nodeType="withEffect">
                                  <p:stCondLst>
                                    <p:cond delay="500"/>
                                  </p:stCondLst>
                                  <p:childTnLst>
                                    <p:set>
                                      <p:cBhvr>
                                        <p:cTn id="39" dur="1" fill="hold">
                                          <p:stCondLst>
                                            <p:cond delay="0"/>
                                          </p:stCondLst>
                                        </p:cTn>
                                        <p:tgtEl>
                                          <p:spTgt spid="35"/>
                                        </p:tgtEl>
                                        <p:attrNameLst>
                                          <p:attrName>style.visibility</p:attrName>
                                        </p:attrNameLst>
                                      </p:cBhvr>
                                      <p:to>
                                        <p:strVal val="visible"/>
                                      </p:to>
                                    </p:set>
                                    <p:animEffect transition="in" filter="fade">
                                      <p:cBhvr>
                                        <p:cTn id="40" dur="500"/>
                                        <p:tgtEl>
                                          <p:spTgt spid="35"/>
                                        </p:tgtEl>
                                      </p:cBhvr>
                                    </p:animEffect>
                                  </p:childTnLst>
                                </p:cTn>
                              </p:par>
                              <p:par>
                                <p:cTn id="41" presetID="8" presetClass="emph" presetSubtype="0" repeatCount="indefinite" fill="hold" grpId="1" nodeType="withEffect">
                                  <p:stCondLst>
                                    <p:cond delay="500"/>
                                  </p:stCondLst>
                                  <p:childTnLst>
                                    <p:animRot by="-21600000">
                                      <p:cBhvr>
                                        <p:cTn id="42" dur="2000" fill="hold"/>
                                        <p:tgtEl>
                                          <p:spTgt spid="35"/>
                                        </p:tgtEl>
                                        <p:attrNameLst>
                                          <p:attrName>r</p:attrName>
                                        </p:attrNameLst>
                                      </p:cBhvr>
                                    </p:animRot>
                                  </p:childTnLst>
                                </p:cTn>
                              </p:par>
                              <p:par>
                                <p:cTn id="43" presetID="10" presetClass="entr" presetSubtype="0" fill="hold" grpId="0" nodeType="withEffect">
                                  <p:stCondLst>
                                    <p:cond delay="500"/>
                                  </p:stCondLst>
                                  <p:childTnLst>
                                    <p:set>
                                      <p:cBhvr>
                                        <p:cTn id="44" dur="1" fill="hold">
                                          <p:stCondLst>
                                            <p:cond delay="0"/>
                                          </p:stCondLst>
                                        </p:cTn>
                                        <p:tgtEl>
                                          <p:spTgt spid="32"/>
                                        </p:tgtEl>
                                        <p:attrNameLst>
                                          <p:attrName>style.visibility</p:attrName>
                                        </p:attrNameLst>
                                      </p:cBhvr>
                                      <p:to>
                                        <p:strVal val="visible"/>
                                      </p:to>
                                    </p:set>
                                    <p:animEffect transition="in" filter="fade">
                                      <p:cBhvr>
                                        <p:cTn id="45" dur="500"/>
                                        <p:tgtEl>
                                          <p:spTgt spid="32"/>
                                        </p:tgtEl>
                                      </p:cBhvr>
                                    </p:animEffect>
                                  </p:childTnLst>
                                </p:cTn>
                              </p:par>
                              <p:par>
                                <p:cTn id="46" presetID="8" presetClass="emph" presetSubtype="0" repeatCount="indefinite" fill="hold" grpId="1" nodeType="withEffect">
                                  <p:stCondLst>
                                    <p:cond delay="500"/>
                                  </p:stCondLst>
                                  <p:childTnLst>
                                    <p:animRot by="21600000">
                                      <p:cBhvr>
                                        <p:cTn id="47" dur="2000" fill="hold"/>
                                        <p:tgtEl>
                                          <p:spTgt spid="32"/>
                                        </p:tgtEl>
                                        <p:attrNameLst>
                                          <p:attrName>r</p:attrName>
                                        </p:attrNameLst>
                                      </p:cBhvr>
                                    </p:animRot>
                                  </p:childTnLst>
                                </p:cTn>
                              </p:par>
                              <p:par>
                                <p:cTn id="48" presetID="10" presetClass="entr" presetSubtype="0" fill="hold" grpId="0" nodeType="withEffect">
                                  <p:stCondLst>
                                    <p:cond delay="500"/>
                                  </p:stCondLst>
                                  <p:childTnLst>
                                    <p:set>
                                      <p:cBhvr>
                                        <p:cTn id="49" dur="1" fill="hold">
                                          <p:stCondLst>
                                            <p:cond delay="0"/>
                                          </p:stCondLst>
                                        </p:cTn>
                                        <p:tgtEl>
                                          <p:spTgt spid="34"/>
                                        </p:tgtEl>
                                        <p:attrNameLst>
                                          <p:attrName>style.visibility</p:attrName>
                                        </p:attrNameLst>
                                      </p:cBhvr>
                                      <p:to>
                                        <p:strVal val="visible"/>
                                      </p:to>
                                    </p:set>
                                    <p:animEffect transition="in" filter="fade">
                                      <p:cBhvr>
                                        <p:cTn id="50" dur="500"/>
                                        <p:tgtEl>
                                          <p:spTgt spid="34"/>
                                        </p:tgtEl>
                                      </p:cBhvr>
                                    </p:animEffect>
                                  </p:childTnLst>
                                </p:cTn>
                              </p:par>
                              <p:par>
                                <p:cTn id="51" presetID="8" presetClass="emph" presetSubtype="0" repeatCount="indefinite" fill="hold" grpId="1" nodeType="withEffect">
                                  <p:stCondLst>
                                    <p:cond delay="500"/>
                                  </p:stCondLst>
                                  <p:childTnLst>
                                    <p:animRot by="21600000">
                                      <p:cBhvr>
                                        <p:cTn id="52" dur="2000" fill="hold"/>
                                        <p:tgtEl>
                                          <p:spTgt spid="34"/>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5" grpId="0" animBg="1"/>
      <p:bldP spid="5" grpId="0"/>
      <p:bldP spid="26" grpId="0" animBg="1"/>
      <p:bldP spid="29" grpId="0" animBg="1"/>
      <p:bldP spid="29" grpId="1" animBg="1"/>
      <p:bldP spid="29" grpId="2" animBg="1"/>
      <p:bldP spid="32" grpId="0" animBg="1"/>
      <p:bldP spid="32" grpId="1" animBg="1"/>
      <p:bldP spid="33" grpId="0" animBg="1"/>
      <p:bldP spid="33" grpId="1" animBg="1"/>
      <p:bldP spid="34" grpId="0" animBg="1"/>
      <p:bldP spid="34" grpId="1" animBg="1"/>
      <p:bldP spid="35" grpId="0" animBg="1"/>
      <p:bldP spid="35" grpId="1" animBg="1"/>
    </p:bld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hapter">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solidFill>
                <a:prstClr val="white"/>
              </a:solidFill>
            </a:endParaRPr>
          </a:p>
        </p:txBody>
      </p:sp>
      <p:sp>
        <p:nvSpPr>
          <p:cNvPr id="6" name="Titre 5"/>
          <p:cNvSpPr>
            <a:spLocks noGrp="1"/>
          </p:cNvSpPr>
          <p:nvPr>
            <p:ph type="title"/>
          </p:nvPr>
        </p:nvSpPr>
        <p:spPr>
          <a:xfrm>
            <a:off x="838200" y="3653220"/>
            <a:ext cx="10515600" cy="1187457"/>
          </a:xfrm>
          <a:prstGeom prst="rect">
            <a:avLst/>
          </a:prstGeom>
        </p:spPr>
        <p:txBody>
          <a:bodyPr anchor="b">
            <a:normAutofit/>
          </a:bodyPr>
          <a:lstStyle>
            <a:lvl1pPr>
              <a:defRPr sz="3200">
                <a:solidFill>
                  <a:schemeClr val="accent1"/>
                </a:solidFill>
              </a:defRPr>
            </a:lvl1pPr>
          </a:lstStyle>
          <a:p>
            <a:r>
              <a:rPr lang="en-GB" dirty="0"/>
              <a:t>Modifiez le style du titre</a:t>
            </a:r>
          </a:p>
        </p:txBody>
      </p:sp>
      <p:sp>
        <p:nvSpPr>
          <p:cNvPr id="7" name="Rectangle 6"/>
          <p:cNvSpPr/>
          <p:nvPr userDrawn="1"/>
        </p:nvSpPr>
        <p:spPr>
          <a:xfrm>
            <a:off x="-2225" y="606634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grpSp>
        <p:nvGrpSpPr>
          <p:cNvPr id="20" name="Group 5"/>
          <p:cNvGrpSpPr>
            <a:grpSpLocks noChangeAspect="1"/>
          </p:cNvGrpSpPr>
          <p:nvPr userDrawn="1"/>
        </p:nvGrpSpPr>
        <p:grpSpPr bwMode="auto">
          <a:xfrm>
            <a:off x="10592180" y="6362050"/>
            <a:ext cx="1291715" cy="333661"/>
            <a:chOff x="4870" y="227"/>
            <a:chExt cx="662" cy="171"/>
          </a:xfrm>
        </p:grpSpPr>
        <p:sp>
          <p:nvSpPr>
            <p:cNvPr id="21" name="Freeform 6"/>
            <p:cNvSpPr>
              <a:spLocks noEditPoints="1"/>
            </p:cNvSpPr>
            <p:nvPr userDrawn="1"/>
          </p:nvSpPr>
          <p:spPr bwMode="auto">
            <a:xfrm>
              <a:off x="5359" y="227"/>
              <a:ext cx="173" cy="171"/>
            </a:xfrm>
            <a:custGeom>
              <a:avLst/>
              <a:gdLst>
                <a:gd name="T0" fmla="*/ 164 w 280"/>
                <a:gd name="T1" fmla="*/ 0 h 276"/>
                <a:gd name="T2" fmla="*/ 110 w 280"/>
                <a:gd name="T3" fmla="*/ 0 h 276"/>
                <a:gd name="T4" fmla="*/ 97 w 280"/>
                <a:gd name="T5" fmla="*/ 14 h 276"/>
                <a:gd name="T6" fmla="*/ 97 w 280"/>
                <a:gd name="T7" fmla="*/ 55 h 276"/>
                <a:gd name="T8" fmla="*/ 83 w 280"/>
                <a:gd name="T9" fmla="*/ 83 h 276"/>
                <a:gd name="T10" fmla="*/ 50 w 280"/>
                <a:gd name="T11" fmla="*/ 97 h 276"/>
                <a:gd name="T12" fmla="*/ 0 w 280"/>
                <a:gd name="T13" fmla="*/ 97 h 276"/>
                <a:gd name="T14" fmla="*/ 0 w 280"/>
                <a:gd name="T15" fmla="*/ 178 h 276"/>
                <a:gd name="T16" fmla="*/ 81 w 280"/>
                <a:gd name="T17" fmla="*/ 178 h 276"/>
                <a:gd name="T18" fmla="*/ 81 w 280"/>
                <a:gd name="T19" fmla="*/ 129 h 276"/>
                <a:gd name="T20" fmla="*/ 95 w 280"/>
                <a:gd name="T21" fmla="*/ 95 h 276"/>
                <a:gd name="T22" fmla="*/ 123 w 280"/>
                <a:gd name="T23" fmla="*/ 81 h 276"/>
                <a:gd name="T24" fmla="*/ 164 w 280"/>
                <a:gd name="T25" fmla="*/ 81 h 276"/>
                <a:gd name="T26" fmla="*/ 178 w 280"/>
                <a:gd name="T27" fmla="*/ 68 h 276"/>
                <a:gd name="T28" fmla="*/ 178 w 280"/>
                <a:gd name="T29" fmla="*/ 14 h 276"/>
                <a:gd name="T30" fmla="*/ 164 w 280"/>
                <a:gd name="T31" fmla="*/ 0 h 276"/>
                <a:gd name="T32" fmla="*/ 233 w 280"/>
                <a:gd name="T33" fmla="*/ 93 h 276"/>
                <a:gd name="T34" fmla="*/ 185 w 280"/>
                <a:gd name="T35" fmla="*/ 141 h 276"/>
                <a:gd name="T36" fmla="*/ 187 w 280"/>
                <a:gd name="T37" fmla="*/ 158 h 276"/>
                <a:gd name="T38" fmla="*/ 150 w 280"/>
                <a:gd name="T39" fmla="*/ 195 h 276"/>
                <a:gd name="T40" fmla="*/ 111 w 280"/>
                <a:gd name="T41" fmla="*/ 195 h 276"/>
                <a:gd name="T42" fmla="*/ 97 w 280"/>
                <a:gd name="T43" fmla="*/ 209 h 276"/>
                <a:gd name="T44" fmla="*/ 97 w 280"/>
                <a:gd name="T45" fmla="*/ 262 h 276"/>
                <a:gd name="T46" fmla="*/ 110 w 280"/>
                <a:gd name="T47" fmla="*/ 276 h 276"/>
                <a:gd name="T48" fmla="*/ 164 w 280"/>
                <a:gd name="T49" fmla="*/ 276 h 276"/>
                <a:gd name="T50" fmla="*/ 178 w 280"/>
                <a:gd name="T51" fmla="*/ 262 h 276"/>
                <a:gd name="T52" fmla="*/ 178 w 280"/>
                <a:gd name="T53" fmla="*/ 223 h 276"/>
                <a:gd name="T54" fmla="*/ 215 w 280"/>
                <a:gd name="T55" fmla="*/ 186 h 276"/>
                <a:gd name="T56" fmla="*/ 232 w 280"/>
                <a:gd name="T57" fmla="*/ 188 h 276"/>
                <a:gd name="T58" fmla="*/ 280 w 280"/>
                <a:gd name="T59" fmla="*/ 140 h 276"/>
                <a:gd name="T60" fmla="*/ 266 w 280"/>
                <a:gd name="T61" fmla="*/ 107 h 276"/>
                <a:gd name="T62" fmla="*/ 233 w 280"/>
                <a:gd name="T63" fmla="*/ 9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0" h="276">
                  <a:moveTo>
                    <a:pt x="164" y="0"/>
                  </a:moveTo>
                  <a:cubicBezTo>
                    <a:pt x="110" y="0"/>
                    <a:pt x="110" y="0"/>
                    <a:pt x="110" y="0"/>
                  </a:cubicBezTo>
                  <a:cubicBezTo>
                    <a:pt x="103" y="1"/>
                    <a:pt x="97" y="7"/>
                    <a:pt x="97" y="14"/>
                  </a:cubicBezTo>
                  <a:cubicBezTo>
                    <a:pt x="97" y="55"/>
                    <a:pt x="97" y="55"/>
                    <a:pt x="97" y="55"/>
                  </a:cubicBezTo>
                  <a:cubicBezTo>
                    <a:pt x="97" y="68"/>
                    <a:pt x="87" y="79"/>
                    <a:pt x="83" y="83"/>
                  </a:cubicBezTo>
                  <a:cubicBezTo>
                    <a:pt x="79" y="87"/>
                    <a:pt x="68" y="97"/>
                    <a:pt x="50" y="97"/>
                  </a:cubicBezTo>
                  <a:cubicBezTo>
                    <a:pt x="0" y="97"/>
                    <a:pt x="0" y="97"/>
                    <a:pt x="0" y="97"/>
                  </a:cubicBezTo>
                  <a:cubicBezTo>
                    <a:pt x="0" y="178"/>
                    <a:pt x="0" y="178"/>
                    <a:pt x="0" y="178"/>
                  </a:cubicBezTo>
                  <a:cubicBezTo>
                    <a:pt x="81" y="178"/>
                    <a:pt x="81" y="178"/>
                    <a:pt x="81" y="178"/>
                  </a:cubicBezTo>
                  <a:cubicBezTo>
                    <a:pt x="81" y="129"/>
                    <a:pt x="81" y="129"/>
                    <a:pt x="81" y="129"/>
                  </a:cubicBezTo>
                  <a:cubicBezTo>
                    <a:pt x="81" y="111"/>
                    <a:pt x="91" y="99"/>
                    <a:pt x="95" y="95"/>
                  </a:cubicBezTo>
                  <a:cubicBezTo>
                    <a:pt x="99" y="91"/>
                    <a:pt x="110" y="81"/>
                    <a:pt x="123" y="81"/>
                  </a:cubicBezTo>
                  <a:cubicBezTo>
                    <a:pt x="164" y="81"/>
                    <a:pt x="164" y="81"/>
                    <a:pt x="164" y="81"/>
                  </a:cubicBezTo>
                  <a:cubicBezTo>
                    <a:pt x="172" y="81"/>
                    <a:pt x="178" y="75"/>
                    <a:pt x="178" y="68"/>
                  </a:cubicBezTo>
                  <a:cubicBezTo>
                    <a:pt x="178" y="14"/>
                    <a:pt x="178" y="14"/>
                    <a:pt x="178" y="14"/>
                  </a:cubicBezTo>
                  <a:cubicBezTo>
                    <a:pt x="178" y="7"/>
                    <a:pt x="172" y="1"/>
                    <a:pt x="164" y="0"/>
                  </a:cubicBezTo>
                  <a:moveTo>
                    <a:pt x="233" y="93"/>
                  </a:moveTo>
                  <a:cubicBezTo>
                    <a:pt x="206" y="93"/>
                    <a:pt x="185" y="115"/>
                    <a:pt x="185" y="141"/>
                  </a:cubicBezTo>
                  <a:cubicBezTo>
                    <a:pt x="185" y="145"/>
                    <a:pt x="187" y="154"/>
                    <a:pt x="187" y="158"/>
                  </a:cubicBezTo>
                  <a:cubicBezTo>
                    <a:pt x="187" y="179"/>
                    <a:pt x="171" y="195"/>
                    <a:pt x="150" y="195"/>
                  </a:cubicBezTo>
                  <a:cubicBezTo>
                    <a:pt x="111" y="195"/>
                    <a:pt x="111" y="195"/>
                    <a:pt x="111" y="195"/>
                  </a:cubicBezTo>
                  <a:cubicBezTo>
                    <a:pt x="103" y="195"/>
                    <a:pt x="97" y="201"/>
                    <a:pt x="97" y="209"/>
                  </a:cubicBezTo>
                  <a:cubicBezTo>
                    <a:pt x="97" y="262"/>
                    <a:pt x="97" y="262"/>
                    <a:pt x="97" y="262"/>
                  </a:cubicBezTo>
                  <a:cubicBezTo>
                    <a:pt x="97" y="270"/>
                    <a:pt x="103" y="276"/>
                    <a:pt x="110" y="276"/>
                  </a:cubicBezTo>
                  <a:cubicBezTo>
                    <a:pt x="164" y="276"/>
                    <a:pt x="164" y="276"/>
                    <a:pt x="164" y="276"/>
                  </a:cubicBezTo>
                  <a:cubicBezTo>
                    <a:pt x="172" y="276"/>
                    <a:pt x="178" y="270"/>
                    <a:pt x="178" y="262"/>
                  </a:cubicBezTo>
                  <a:cubicBezTo>
                    <a:pt x="178" y="223"/>
                    <a:pt x="178" y="223"/>
                    <a:pt x="178" y="223"/>
                  </a:cubicBezTo>
                  <a:cubicBezTo>
                    <a:pt x="178" y="202"/>
                    <a:pt x="194" y="186"/>
                    <a:pt x="215" y="186"/>
                  </a:cubicBezTo>
                  <a:cubicBezTo>
                    <a:pt x="218" y="186"/>
                    <a:pt x="227" y="188"/>
                    <a:pt x="232" y="188"/>
                  </a:cubicBezTo>
                  <a:cubicBezTo>
                    <a:pt x="258" y="188"/>
                    <a:pt x="280" y="166"/>
                    <a:pt x="280" y="140"/>
                  </a:cubicBezTo>
                  <a:cubicBezTo>
                    <a:pt x="280" y="127"/>
                    <a:pt x="275" y="115"/>
                    <a:pt x="266" y="107"/>
                  </a:cubicBezTo>
                  <a:cubicBezTo>
                    <a:pt x="258" y="98"/>
                    <a:pt x="246" y="93"/>
                    <a:pt x="233" y="93"/>
                  </a:cubicBezTo>
                </a:path>
              </a:pathLst>
            </a:custGeom>
            <a:solidFill>
              <a:srgbClr val="E200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2" name="Freeform 7"/>
            <p:cNvSpPr>
              <a:spLocks noEditPoints="1"/>
            </p:cNvSpPr>
            <p:nvPr userDrawn="1"/>
          </p:nvSpPr>
          <p:spPr bwMode="auto">
            <a:xfrm>
              <a:off x="4870" y="286"/>
              <a:ext cx="439" cy="64"/>
            </a:xfrm>
            <a:custGeom>
              <a:avLst/>
              <a:gdLst>
                <a:gd name="T0" fmla="*/ 150 w 708"/>
                <a:gd name="T1" fmla="*/ 0 h 103"/>
                <a:gd name="T2" fmla="*/ 88 w 708"/>
                <a:gd name="T3" fmla="*/ 59 h 103"/>
                <a:gd name="T4" fmla="*/ 26 w 708"/>
                <a:gd name="T5" fmla="*/ 0 h 103"/>
                <a:gd name="T6" fmla="*/ 0 w 708"/>
                <a:gd name="T7" fmla="*/ 24 h 103"/>
                <a:gd name="T8" fmla="*/ 88 w 708"/>
                <a:gd name="T9" fmla="*/ 103 h 103"/>
                <a:gd name="T10" fmla="*/ 176 w 708"/>
                <a:gd name="T11" fmla="*/ 24 h 103"/>
                <a:gd name="T12" fmla="*/ 150 w 708"/>
                <a:gd name="T13" fmla="*/ 0 h 103"/>
                <a:gd name="T14" fmla="*/ 554 w 708"/>
                <a:gd name="T15" fmla="*/ 0 h 103"/>
                <a:gd name="T16" fmla="*/ 473 w 708"/>
                <a:gd name="T17" fmla="*/ 8 h 103"/>
                <a:gd name="T18" fmla="*/ 473 w 708"/>
                <a:gd name="T19" fmla="*/ 94 h 103"/>
                <a:gd name="T20" fmla="*/ 554 w 708"/>
                <a:gd name="T21" fmla="*/ 102 h 103"/>
                <a:gd name="T22" fmla="*/ 635 w 708"/>
                <a:gd name="T23" fmla="*/ 94 h 103"/>
                <a:gd name="T24" fmla="*/ 635 w 708"/>
                <a:gd name="T25" fmla="*/ 65 h 103"/>
                <a:gd name="T26" fmla="*/ 554 w 708"/>
                <a:gd name="T27" fmla="*/ 72 h 103"/>
                <a:gd name="T28" fmla="*/ 508 w 708"/>
                <a:gd name="T29" fmla="*/ 68 h 103"/>
                <a:gd name="T30" fmla="*/ 508 w 708"/>
                <a:gd name="T31" fmla="*/ 34 h 103"/>
                <a:gd name="T32" fmla="*/ 554 w 708"/>
                <a:gd name="T33" fmla="*/ 30 h 103"/>
                <a:gd name="T34" fmla="*/ 635 w 708"/>
                <a:gd name="T35" fmla="*/ 37 h 103"/>
                <a:gd name="T36" fmla="*/ 635 w 708"/>
                <a:gd name="T37" fmla="*/ 8 h 103"/>
                <a:gd name="T38" fmla="*/ 554 w 708"/>
                <a:gd name="T39" fmla="*/ 0 h 103"/>
                <a:gd name="T40" fmla="*/ 434 w 708"/>
                <a:gd name="T41" fmla="*/ 2 h 103"/>
                <a:gd name="T42" fmla="*/ 400 w 708"/>
                <a:gd name="T43" fmla="*/ 2 h 103"/>
                <a:gd name="T44" fmla="*/ 400 w 708"/>
                <a:gd name="T45" fmla="*/ 63 h 103"/>
                <a:gd name="T46" fmla="*/ 336 w 708"/>
                <a:gd name="T47" fmla="*/ 24 h 103"/>
                <a:gd name="T48" fmla="*/ 274 w 708"/>
                <a:gd name="T49" fmla="*/ 2 h 103"/>
                <a:gd name="T50" fmla="*/ 274 w 708"/>
                <a:gd name="T51" fmla="*/ 100 h 103"/>
                <a:gd name="T52" fmla="*/ 309 w 708"/>
                <a:gd name="T53" fmla="*/ 100 h 103"/>
                <a:gd name="T54" fmla="*/ 309 w 708"/>
                <a:gd name="T55" fmla="*/ 48 h 103"/>
                <a:gd name="T56" fmla="*/ 336 w 708"/>
                <a:gd name="T57" fmla="*/ 60 h 103"/>
                <a:gd name="T58" fmla="*/ 400 w 708"/>
                <a:gd name="T59" fmla="*/ 100 h 103"/>
                <a:gd name="T60" fmla="*/ 434 w 708"/>
                <a:gd name="T61" fmla="*/ 100 h 103"/>
                <a:gd name="T62" fmla="*/ 434 w 708"/>
                <a:gd name="T63" fmla="*/ 2 h 103"/>
                <a:gd name="T64" fmla="*/ 708 w 708"/>
                <a:gd name="T65" fmla="*/ 2 h 103"/>
                <a:gd name="T66" fmla="*/ 673 w 708"/>
                <a:gd name="T67" fmla="*/ 2 h 103"/>
                <a:gd name="T68" fmla="*/ 673 w 708"/>
                <a:gd name="T69" fmla="*/ 100 h 103"/>
                <a:gd name="T70" fmla="*/ 708 w 708"/>
                <a:gd name="T71" fmla="*/ 100 h 103"/>
                <a:gd name="T72" fmla="*/ 708 w 708"/>
                <a:gd name="T73" fmla="*/ 2 h 103"/>
                <a:gd name="T74" fmla="*/ 235 w 708"/>
                <a:gd name="T75" fmla="*/ 2 h 103"/>
                <a:gd name="T76" fmla="*/ 199 w 708"/>
                <a:gd name="T77" fmla="*/ 2 h 103"/>
                <a:gd name="T78" fmla="*/ 199 w 708"/>
                <a:gd name="T79" fmla="*/ 100 h 103"/>
                <a:gd name="T80" fmla="*/ 235 w 708"/>
                <a:gd name="T81" fmla="*/ 100 h 103"/>
                <a:gd name="T82" fmla="*/ 235 w 708"/>
                <a:gd name="T83" fmla="*/ 2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08" h="103">
                  <a:moveTo>
                    <a:pt x="150" y="0"/>
                  </a:moveTo>
                  <a:cubicBezTo>
                    <a:pt x="150" y="0"/>
                    <a:pt x="96" y="52"/>
                    <a:pt x="88" y="59"/>
                  </a:cubicBezTo>
                  <a:cubicBezTo>
                    <a:pt x="80" y="52"/>
                    <a:pt x="26" y="0"/>
                    <a:pt x="26" y="0"/>
                  </a:cubicBezTo>
                  <a:cubicBezTo>
                    <a:pt x="0" y="24"/>
                    <a:pt x="0" y="24"/>
                    <a:pt x="0" y="24"/>
                  </a:cubicBezTo>
                  <a:cubicBezTo>
                    <a:pt x="88" y="103"/>
                    <a:pt x="88" y="103"/>
                    <a:pt x="88" y="103"/>
                  </a:cubicBezTo>
                  <a:cubicBezTo>
                    <a:pt x="176" y="24"/>
                    <a:pt x="176" y="24"/>
                    <a:pt x="176" y="24"/>
                  </a:cubicBezTo>
                  <a:lnTo>
                    <a:pt x="150" y="0"/>
                  </a:lnTo>
                  <a:close/>
                  <a:moveTo>
                    <a:pt x="554" y="0"/>
                  </a:moveTo>
                  <a:cubicBezTo>
                    <a:pt x="504" y="0"/>
                    <a:pt x="473" y="8"/>
                    <a:pt x="473" y="8"/>
                  </a:cubicBezTo>
                  <a:cubicBezTo>
                    <a:pt x="473" y="94"/>
                    <a:pt x="473" y="94"/>
                    <a:pt x="473" y="94"/>
                  </a:cubicBezTo>
                  <a:cubicBezTo>
                    <a:pt x="473" y="94"/>
                    <a:pt x="505" y="102"/>
                    <a:pt x="554" y="102"/>
                  </a:cubicBezTo>
                  <a:cubicBezTo>
                    <a:pt x="603" y="102"/>
                    <a:pt x="635" y="94"/>
                    <a:pt x="635" y="94"/>
                  </a:cubicBezTo>
                  <a:cubicBezTo>
                    <a:pt x="635" y="65"/>
                    <a:pt x="635" y="65"/>
                    <a:pt x="635" y="65"/>
                  </a:cubicBezTo>
                  <a:cubicBezTo>
                    <a:pt x="635" y="65"/>
                    <a:pt x="600" y="72"/>
                    <a:pt x="554" y="72"/>
                  </a:cubicBezTo>
                  <a:cubicBezTo>
                    <a:pt x="531" y="72"/>
                    <a:pt x="516" y="69"/>
                    <a:pt x="508" y="68"/>
                  </a:cubicBezTo>
                  <a:cubicBezTo>
                    <a:pt x="508" y="61"/>
                    <a:pt x="508" y="41"/>
                    <a:pt x="508" y="34"/>
                  </a:cubicBezTo>
                  <a:cubicBezTo>
                    <a:pt x="517" y="33"/>
                    <a:pt x="532" y="30"/>
                    <a:pt x="554" y="30"/>
                  </a:cubicBezTo>
                  <a:cubicBezTo>
                    <a:pt x="600" y="30"/>
                    <a:pt x="635" y="37"/>
                    <a:pt x="635" y="37"/>
                  </a:cubicBezTo>
                  <a:cubicBezTo>
                    <a:pt x="635" y="8"/>
                    <a:pt x="635" y="8"/>
                    <a:pt x="635" y="8"/>
                  </a:cubicBezTo>
                  <a:cubicBezTo>
                    <a:pt x="635" y="8"/>
                    <a:pt x="603" y="0"/>
                    <a:pt x="554" y="0"/>
                  </a:cubicBezTo>
                  <a:moveTo>
                    <a:pt x="434" y="2"/>
                  </a:moveTo>
                  <a:cubicBezTo>
                    <a:pt x="400" y="2"/>
                    <a:pt x="400" y="2"/>
                    <a:pt x="400" y="2"/>
                  </a:cubicBezTo>
                  <a:cubicBezTo>
                    <a:pt x="400" y="63"/>
                    <a:pt x="400" y="63"/>
                    <a:pt x="400" y="63"/>
                  </a:cubicBezTo>
                  <a:cubicBezTo>
                    <a:pt x="400" y="63"/>
                    <a:pt x="374" y="44"/>
                    <a:pt x="336" y="24"/>
                  </a:cubicBezTo>
                  <a:cubicBezTo>
                    <a:pt x="303" y="7"/>
                    <a:pt x="274" y="2"/>
                    <a:pt x="274" y="2"/>
                  </a:cubicBezTo>
                  <a:cubicBezTo>
                    <a:pt x="274" y="100"/>
                    <a:pt x="274" y="100"/>
                    <a:pt x="274" y="100"/>
                  </a:cubicBezTo>
                  <a:cubicBezTo>
                    <a:pt x="309" y="100"/>
                    <a:pt x="309" y="100"/>
                    <a:pt x="309" y="100"/>
                  </a:cubicBezTo>
                  <a:cubicBezTo>
                    <a:pt x="309" y="48"/>
                    <a:pt x="309" y="48"/>
                    <a:pt x="309" y="48"/>
                  </a:cubicBezTo>
                  <a:cubicBezTo>
                    <a:pt x="317" y="51"/>
                    <a:pt x="326" y="54"/>
                    <a:pt x="336" y="60"/>
                  </a:cubicBezTo>
                  <a:cubicBezTo>
                    <a:pt x="374" y="79"/>
                    <a:pt x="400" y="100"/>
                    <a:pt x="400" y="100"/>
                  </a:cubicBezTo>
                  <a:cubicBezTo>
                    <a:pt x="434" y="100"/>
                    <a:pt x="434" y="100"/>
                    <a:pt x="434" y="100"/>
                  </a:cubicBezTo>
                  <a:lnTo>
                    <a:pt x="434" y="2"/>
                  </a:lnTo>
                  <a:close/>
                  <a:moveTo>
                    <a:pt x="708" y="2"/>
                  </a:moveTo>
                  <a:cubicBezTo>
                    <a:pt x="673" y="2"/>
                    <a:pt x="673" y="2"/>
                    <a:pt x="673" y="2"/>
                  </a:cubicBezTo>
                  <a:cubicBezTo>
                    <a:pt x="673" y="100"/>
                    <a:pt x="673" y="100"/>
                    <a:pt x="673" y="100"/>
                  </a:cubicBezTo>
                  <a:cubicBezTo>
                    <a:pt x="708" y="100"/>
                    <a:pt x="708" y="100"/>
                    <a:pt x="708" y="100"/>
                  </a:cubicBezTo>
                  <a:lnTo>
                    <a:pt x="708" y="2"/>
                  </a:lnTo>
                  <a:close/>
                  <a:moveTo>
                    <a:pt x="235" y="2"/>
                  </a:moveTo>
                  <a:cubicBezTo>
                    <a:pt x="199" y="2"/>
                    <a:pt x="199" y="2"/>
                    <a:pt x="199" y="2"/>
                  </a:cubicBezTo>
                  <a:cubicBezTo>
                    <a:pt x="199" y="100"/>
                    <a:pt x="199" y="100"/>
                    <a:pt x="199" y="100"/>
                  </a:cubicBezTo>
                  <a:cubicBezTo>
                    <a:pt x="235" y="100"/>
                    <a:pt x="235" y="100"/>
                    <a:pt x="235" y="100"/>
                  </a:cubicBezTo>
                  <a:lnTo>
                    <a:pt x="235" y="2"/>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3" name="Freeform 8"/>
            <p:cNvSpPr>
              <a:spLocks/>
            </p:cNvSpPr>
            <p:nvPr userDrawn="1"/>
          </p:nvSpPr>
          <p:spPr bwMode="auto">
            <a:xfrm>
              <a:off x="5179"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4" name="Freeform 9"/>
            <p:cNvSpPr>
              <a:spLocks/>
            </p:cNvSpPr>
            <p:nvPr userDrawn="1"/>
          </p:nvSpPr>
          <p:spPr bwMode="auto">
            <a:xfrm>
              <a:off x="5200" y="371"/>
              <a:ext cx="24" cy="26"/>
            </a:xfrm>
            <a:custGeom>
              <a:avLst/>
              <a:gdLst>
                <a:gd name="T0" fmla="*/ 39 w 39"/>
                <a:gd name="T1" fmla="*/ 0 h 43"/>
                <a:gd name="T2" fmla="*/ 31 w 39"/>
                <a:gd name="T3" fmla="*/ 0 h 43"/>
                <a:gd name="T4" fmla="*/ 31 w 39"/>
                <a:gd name="T5" fmla="*/ 26 h 43"/>
                <a:gd name="T6" fmla="*/ 31 w 39"/>
                <a:gd name="T7" fmla="*/ 30 h 43"/>
                <a:gd name="T8" fmla="*/ 31 w 39"/>
                <a:gd name="T9" fmla="*/ 30 h 43"/>
                <a:gd name="T10" fmla="*/ 28 w 39"/>
                <a:gd name="T11" fmla="*/ 26 h 43"/>
                <a:gd name="T12" fmla="*/ 10 w 39"/>
                <a:gd name="T13" fmla="*/ 0 h 43"/>
                <a:gd name="T14" fmla="*/ 0 w 39"/>
                <a:gd name="T15" fmla="*/ 0 h 43"/>
                <a:gd name="T16" fmla="*/ 0 w 39"/>
                <a:gd name="T17" fmla="*/ 43 h 43"/>
                <a:gd name="T18" fmla="*/ 9 w 39"/>
                <a:gd name="T19" fmla="*/ 43 h 43"/>
                <a:gd name="T20" fmla="*/ 9 w 39"/>
                <a:gd name="T21" fmla="*/ 16 h 43"/>
                <a:gd name="T22" fmla="*/ 8 w 39"/>
                <a:gd name="T23" fmla="*/ 11 h 43"/>
                <a:gd name="T24" fmla="*/ 8 w 39"/>
                <a:gd name="T25" fmla="*/ 11 h 43"/>
                <a:gd name="T26" fmla="*/ 12 w 39"/>
                <a:gd name="T27" fmla="*/ 15 h 43"/>
                <a:gd name="T28" fmla="*/ 31 w 39"/>
                <a:gd name="T29" fmla="*/ 43 h 43"/>
                <a:gd name="T30" fmla="*/ 39 w 39"/>
                <a:gd name="T31" fmla="*/ 43 h 43"/>
                <a:gd name="T32" fmla="*/ 39 w 39"/>
                <a:gd name="T3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 h="43">
                  <a:moveTo>
                    <a:pt x="39" y="0"/>
                  </a:moveTo>
                  <a:cubicBezTo>
                    <a:pt x="31" y="0"/>
                    <a:pt x="31" y="0"/>
                    <a:pt x="31" y="0"/>
                  </a:cubicBezTo>
                  <a:cubicBezTo>
                    <a:pt x="31" y="26"/>
                    <a:pt x="31" y="26"/>
                    <a:pt x="31" y="26"/>
                  </a:cubicBezTo>
                  <a:cubicBezTo>
                    <a:pt x="31" y="28"/>
                    <a:pt x="31" y="30"/>
                    <a:pt x="31" y="30"/>
                  </a:cubicBezTo>
                  <a:cubicBezTo>
                    <a:pt x="31" y="30"/>
                    <a:pt x="31" y="30"/>
                    <a:pt x="31" y="30"/>
                  </a:cubicBezTo>
                  <a:cubicBezTo>
                    <a:pt x="31" y="30"/>
                    <a:pt x="30" y="28"/>
                    <a:pt x="28" y="26"/>
                  </a:cubicBezTo>
                  <a:cubicBezTo>
                    <a:pt x="10" y="0"/>
                    <a:pt x="10" y="0"/>
                    <a:pt x="10" y="0"/>
                  </a:cubicBezTo>
                  <a:cubicBezTo>
                    <a:pt x="0" y="0"/>
                    <a:pt x="0" y="0"/>
                    <a:pt x="0" y="0"/>
                  </a:cubicBezTo>
                  <a:cubicBezTo>
                    <a:pt x="0" y="43"/>
                    <a:pt x="0" y="43"/>
                    <a:pt x="0" y="43"/>
                  </a:cubicBezTo>
                  <a:cubicBezTo>
                    <a:pt x="9" y="43"/>
                    <a:pt x="9" y="43"/>
                    <a:pt x="9" y="43"/>
                  </a:cubicBezTo>
                  <a:cubicBezTo>
                    <a:pt x="9" y="16"/>
                    <a:pt x="9" y="16"/>
                    <a:pt x="9" y="16"/>
                  </a:cubicBezTo>
                  <a:cubicBezTo>
                    <a:pt x="9" y="13"/>
                    <a:pt x="8" y="11"/>
                    <a:pt x="8" y="11"/>
                  </a:cubicBezTo>
                  <a:cubicBezTo>
                    <a:pt x="8" y="11"/>
                    <a:pt x="8" y="11"/>
                    <a:pt x="8" y="11"/>
                  </a:cubicBezTo>
                  <a:cubicBezTo>
                    <a:pt x="8" y="11"/>
                    <a:pt x="10" y="13"/>
                    <a:pt x="12" y="15"/>
                  </a:cubicBezTo>
                  <a:cubicBezTo>
                    <a:pt x="31" y="43"/>
                    <a:pt x="31" y="43"/>
                    <a:pt x="31" y="43"/>
                  </a:cubicBezTo>
                  <a:cubicBezTo>
                    <a:pt x="39" y="43"/>
                    <a:pt x="39" y="43"/>
                    <a:pt x="39" y="43"/>
                  </a:cubicBezTo>
                  <a:lnTo>
                    <a:pt x="39"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5" name="Freeform 10"/>
            <p:cNvSpPr>
              <a:spLocks/>
            </p:cNvSpPr>
            <p:nvPr userDrawn="1"/>
          </p:nvSpPr>
          <p:spPr bwMode="auto">
            <a:xfrm>
              <a:off x="5231"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6" name="Freeform 11"/>
            <p:cNvSpPr>
              <a:spLocks noEditPoints="1"/>
            </p:cNvSpPr>
            <p:nvPr userDrawn="1"/>
          </p:nvSpPr>
          <p:spPr bwMode="auto">
            <a:xfrm>
              <a:off x="5253" y="371"/>
              <a:ext cx="21" cy="26"/>
            </a:xfrm>
            <a:custGeom>
              <a:avLst/>
              <a:gdLst>
                <a:gd name="T0" fmla="*/ 14 w 35"/>
                <a:gd name="T1" fmla="*/ 0 h 43"/>
                <a:gd name="T2" fmla="*/ 0 w 35"/>
                <a:gd name="T3" fmla="*/ 2 h 43"/>
                <a:gd name="T4" fmla="*/ 0 w 35"/>
                <a:gd name="T5" fmla="*/ 43 h 43"/>
                <a:gd name="T6" fmla="*/ 9 w 35"/>
                <a:gd name="T7" fmla="*/ 43 h 43"/>
                <a:gd name="T8" fmla="*/ 9 w 35"/>
                <a:gd name="T9" fmla="*/ 23 h 43"/>
                <a:gd name="T10" fmla="*/ 9 w 35"/>
                <a:gd name="T11" fmla="*/ 23 h 43"/>
                <a:gd name="T12" fmla="*/ 24 w 35"/>
                <a:gd name="T13" fmla="*/ 43 h 43"/>
                <a:gd name="T14" fmla="*/ 35 w 35"/>
                <a:gd name="T15" fmla="*/ 43 h 43"/>
                <a:gd name="T16" fmla="*/ 19 w 35"/>
                <a:gd name="T17" fmla="*/ 24 h 43"/>
                <a:gd name="T18" fmla="*/ 19 w 35"/>
                <a:gd name="T19" fmla="*/ 24 h 43"/>
                <a:gd name="T20" fmla="*/ 33 w 35"/>
                <a:gd name="T21" fmla="*/ 13 h 43"/>
                <a:gd name="T22" fmla="*/ 14 w 35"/>
                <a:gd name="T23" fmla="*/ 0 h 43"/>
                <a:gd name="T24" fmla="*/ 13 w 35"/>
                <a:gd name="T25" fmla="*/ 22 h 43"/>
                <a:gd name="T26" fmla="*/ 9 w 35"/>
                <a:gd name="T27" fmla="*/ 22 h 43"/>
                <a:gd name="T28" fmla="*/ 9 w 35"/>
                <a:gd name="T29" fmla="*/ 5 h 43"/>
                <a:gd name="T30" fmla="*/ 14 w 35"/>
                <a:gd name="T31" fmla="*/ 4 h 43"/>
                <a:gd name="T32" fmla="*/ 24 w 35"/>
                <a:gd name="T33" fmla="*/ 13 h 43"/>
                <a:gd name="T34" fmla="*/ 13 w 35"/>
                <a:gd name="T3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43">
                  <a:moveTo>
                    <a:pt x="14" y="0"/>
                  </a:moveTo>
                  <a:cubicBezTo>
                    <a:pt x="8" y="0"/>
                    <a:pt x="3" y="1"/>
                    <a:pt x="0" y="2"/>
                  </a:cubicBezTo>
                  <a:cubicBezTo>
                    <a:pt x="0" y="43"/>
                    <a:pt x="0" y="43"/>
                    <a:pt x="0" y="43"/>
                  </a:cubicBezTo>
                  <a:cubicBezTo>
                    <a:pt x="9" y="43"/>
                    <a:pt x="9" y="43"/>
                    <a:pt x="9" y="43"/>
                  </a:cubicBezTo>
                  <a:cubicBezTo>
                    <a:pt x="9" y="23"/>
                    <a:pt x="9" y="23"/>
                    <a:pt x="9" y="23"/>
                  </a:cubicBezTo>
                  <a:cubicBezTo>
                    <a:pt x="9" y="23"/>
                    <a:pt x="9" y="23"/>
                    <a:pt x="9" y="23"/>
                  </a:cubicBezTo>
                  <a:cubicBezTo>
                    <a:pt x="24" y="43"/>
                    <a:pt x="24" y="43"/>
                    <a:pt x="24" y="43"/>
                  </a:cubicBezTo>
                  <a:cubicBezTo>
                    <a:pt x="35" y="43"/>
                    <a:pt x="35" y="43"/>
                    <a:pt x="35" y="43"/>
                  </a:cubicBezTo>
                  <a:cubicBezTo>
                    <a:pt x="19" y="24"/>
                    <a:pt x="19" y="24"/>
                    <a:pt x="19" y="24"/>
                  </a:cubicBezTo>
                  <a:cubicBezTo>
                    <a:pt x="19" y="24"/>
                    <a:pt x="19" y="24"/>
                    <a:pt x="19" y="24"/>
                  </a:cubicBezTo>
                  <a:cubicBezTo>
                    <a:pt x="28" y="23"/>
                    <a:pt x="33" y="19"/>
                    <a:pt x="33" y="13"/>
                  </a:cubicBezTo>
                  <a:cubicBezTo>
                    <a:pt x="33" y="5"/>
                    <a:pt x="27" y="0"/>
                    <a:pt x="14" y="0"/>
                  </a:cubicBezTo>
                  <a:moveTo>
                    <a:pt x="13" y="22"/>
                  </a:moveTo>
                  <a:cubicBezTo>
                    <a:pt x="11" y="22"/>
                    <a:pt x="10" y="22"/>
                    <a:pt x="9" y="22"/>
                  </a:cubicBezTo>
                  <a:cubicBezTo>
                    <a:pt x="9" y="5"/>
                    <a:pt x="9" y="5"/>
                    <a:pt x="9" y="5"/>
                  </a:cubicBezTo>
                  <a:cubicBezTo>
                    <a:pt x="10" y="5"/>
                    <a:pt x="12" y="4"/>
                    <a:pt x="14" y="4"/>
                  </a:cubicBezTo>
                  <a:cubicBezTo>
                    <a:pt x="21" y="4"/>
                    <a:pt x="24" y="7"/>
                    <a:pt x="24" y="13"/>
                  </a:cubicBezTo>
                  <a:cubicBezTo>
                    <a:pt x="24" y="19"/>
                    <a:pt x="20" y="22"/>
                    <a:pt x="13" y="22"/>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7" name="Freeform 12"/>
            <p:cNvSpPr>
              <a:spLocks/>
            </p:cNvSpPr>
            <p:nvPr userDrawn="1"/>
          </p:nvSpPr>
          <p:spPr bwMode="auto">
            <a:xfrm>
              <a:off x="5278" y="371"/>
              <a:ext cx="23" cy="26"/>
            </a:xfrm>
            <a:custGeom>
              <a:avLst/>
              <a:gdLst>
                <a:gd name="T0" fmla="*/ 23 w 37"/>
                <a:gd name="T1" fmla="*/ 0 h 43"/>
                <a:gd name="T2" fmla="*/ 0 w 37"/>
                <a:gd name="T3" fmla="*/ 21 h 43"/>
                <a:gd name="T4" fmla="*/ 23 w 37"/>
                <a:gd name="T5" fmla="*/ 43 h 43"/>
                <a:gd name="T6" fmla="*/ 37 w 37"/>
                <a:gd name="T7" fmla="*/ 41 h 43"/>
                <a:gd name="T8" fmla="*/ 37 w 37"/>
                <a:gd name="T9" fmla="*/ 18 h 43"/>
                <a:gd name="T10" fmla="*/ 20 w 37"/>
                <a:gd name="T11" fmla="*/ 18 h 43"/>
                <a:gd name="T12" fmla="*/ 20 w 37"/>
                <a:gd name="T13" fmla="*/ 23 h 43"/>
                <a:gd name="T14" fmla="*/ 27 w 37"/>
                <a:gd name="T15" fmla="*/ 23 h 43"/>
                <a:gd name="T16" fmla="*/ 27 w 37"/>
                <a:gd name="T17" fmla="*/ 37 h 43"/>
                <a:gd name="T18" fmla="*/ 22 w 37"/>
                <a:gd name="T19" fmla="*/ 38 h 43"/>
                <a:gd name="T20" fmla="*/ 9 w 37"/>
                <a:gd name="T21" fmla="*/ 22 h 43"/>
                <a:gd name="T22" fmla="*/ 24 w 37"/>
                <a:gd name="T23" fmla="*/ 5 h 43"/>
                <a:gd name="T24" fmla="*/ 33 w 37"/>
                <a:gd name="T25" fmla="*/ 7 h 43"/>
                <a:gd name="T26" fmla="*/ 36 w 37"/>
                <a:gd name="T27" fmla="*/ 2 h 43"/>
                <a:gd name="T28" fmla="*/ 23 w 37"/>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 h="43">
                  <a:moveTo>
                    <a:pt x="23" y="0"/>
                  </a:moveTo>
                  <a:cubicBezTo>
                    <a:pt x="9" y="0"/>
                    <a:pt x="0" y="8"/>
                    <a:pt x="0" y="21"/>
                  </a:cubicBezTo>
                  <a:cubicBezTo>
                    <a:pt x="0" y="35"/>
                    <a:pt x="9" y="43"/>
                    <a:pt x="23" y="43"/>
                  </a:cubicBezTo>
                  <a:cubicBezTo>
                    <a:pt x="30" y="43"/>
                    <a:pt x="33" y="42"/>
                    <a:pt x="37" y="41"/>
                  </a:cubicBezTo>
                  <a:cubicBezTo>
                    <a:pt x="37" y="18"/>
                    <a:pt x="37" y="18"/>
                    <a:pt x="37" y="18"/>
                  </a:cubicBezTo>
                  <a:cubicBezTo>
                    <a:pt x="20" y="18"/>
                    <a:pt x="20" y="18"/>
                    <a:pt x="20" y="18"/>
                  </a:cubicBezTo>
                  <a:cubicBezTo>
                    <a:pt x="20" y="23"/>
                    <a:pt x="20" y="23"/>
                    <a:pt x="20" y="23"/>
                  </a:cubicBezTo>
                  <a:cubicBezTo>
                    <a:pt x="27" y="23"/>
                    <a:pt x="27" y="23"/>
                    <a:pt x="27" y="23"/>
                  </a:cubicBezTo>
                  <a:cubicBezTo>
                    <a:pt x="27" y="37"/>
                    <a:pt x="27" y="37"/>
                    <a:pt x="27" y="37"/>
                  </a:cubicBezTo>
                  <a:cubicBezTo>
                    <a:pt x="27" y="37"/>
                    <a:pt x="25" y="38"/>
                    <a:pt x="22" y="38"/>
                  </a:cubicBezTo>
                  <a:cubicBezTo>
                    <a:pt x="15" y="38"/>
                    <a:pt x="9" y="32"/>
                    <a:pt x="9" y="22"/>
                  </a:cubicBezTo>
                  <a:cubicBezTo>
                    <a:pt x="9" y="10"/>
                    <a:pt x="15" y="5"/>
                    <a:pt x="24" y="5"/>
                  </a:cubicBezTo>
                  <a:cubicBezTo>
                    <a:pt x="28" y="5"/>
                    <a:pt x="31" y="6"/>
                    <a:pt x="33" y="7"/>
                  </a:cubicBezTo>
                  <a:cubicBezTo>
                    <a:pt x="36" y="2"/>
                    <a:pt x="36" y="2"/>
                    <a:pt x="36" y="2"/>
                  </a:cubicBezTo>
                  <a:cubicBezTo>
                    <a:pt x="33" y="1"/>
                    <a:pt x="29" y="0"/>
                    <a:pt x="23"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8" name="Rectangle 13"/>
            <p:cNvSpPr>
              <a:spLocks noChangeArrowheads="1"/>
            </p:cNvSpPr>
            <p:nvPr userDrawn="1"/>
          </p:nvSpPr>
          <p:spPr bwMode="auto">
            <a:xfrm>
              <a:off x="5307" y="371"/>
              <a:ext cx="7" cy="26"/>
            </a:xfrm>
            <a:prstGeom prst="rect">
              <a:avLst/>
            </a:prstGeom>
            <a:solidFill>
              <a:srgbClr val="00448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9" name="Freeform 14"/>
            <p:cNvSpPr>
              <a:spLocks/>
            </p:cNvSpPr>
            <p:nvPr userDrawn="1"/>
          </p:nvSpPr>
          <p:spPr bwMode="auto">
            <a:xfrm>
              <a:off x="5320"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7 w 16"/>
                <a:gd name="T11" fmla="*/ 22 h 26"/>
                <a:gd name="T12" fmla="*/ 7 w 16"/>
                <a:gd name="T13" fmla="*/ 14 h 26"/>
                <a:gd name="T14" fmla="*/ 15 w 16"/>
                <a:gd name="T15" fmla="*/ 14 h 26"/>
                <a:gd name="T16" fmla="*/ 15 w 16"/>
                <a:gd name="T17" fmla="*/ 11 h 26"/>
                <a:gd name="T18" fmla="*/ 7 w 16"/>
                <a:gd name="T19" fmla="*/ 11 h 26"/>
                <a:gd name="T20" fmla="*/ 7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7" y="22"/>
                  </a:lnTo>
                  <a:lnTo>
                    <a:pt x="7" y="14"/>
                  </a:lnTo>
                  <a:lnTo>
                    <a:pt x="15" y="14"/>
                  </a:lnTo>
                  <a:lnTo>
                    <a:pt x="15" y="11"/>
                  </a:lnTo>
                  <a:lnTo>
                    <a:pt x="7" y="11"/>
                  </a:lnTo>
                  <a:lnTo>
                    <a:pt x="7"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30" name="Freeform 15"/>
            <p:cNvSpPr>
              <a:spLocks/>
            </p:cNvSpPr>
            <p:nvPr userDrawn="1"/>
          </p:nvSpPr>
          <p:spPr bwMode="auto">
            <a:xfrm>
              <a:off x="5340" y="371"/>
              <a:ext cx="19" cy="26"/>
            </a:xfrm>
            <a:custGeom>
              <a:avLst/>
              <a:gdLst>
                <a:gd name="T0" fmla="*/ 16 w 30"/>
                <a:gd name="T1" fmla="*/ 0 h 43"/>
                <a:gd name="T2" fmla="*/ 0 w 30"/>
                <a:gd name="T3" fmla="*/ 12 h 43"/>
                <a:gd name="T4" fmla="*/ 11 w 30"/>
                <a:gd name="T5" fmla="*/ 24 h 43"/>
                <a:gd name="T6" fmla="*/ 19 w 30"/>
                <a:gd name="T7" fmla="*/ 31 h 43"/>
                <a:gd name="T8" fmla="*/ 11 w 30"/>
                <a:gd name="T9" fmla="*/ 37 h 43"/>
                <a:gd name="T10" fmla="*/ 2 w 30"/>
                <a:gd name="T11" fmla="*/ 35 h 43"/>
                <a:gd name="T12" fmla="*/ 0 w 30"/>
                <a:gd name="T13" fmla="*/ 41 h 43"/>
                <a:gd name="T14" fmla="*/ 13 w 30"/>
                <a:gd name="T15" fmla="*/ 43 h 43"/>
                <a:gd name="T16" fmla="*/ 30 w 30"/>
                <a:gd name="T17" fmla="*/ 30 h 43"/>
                <a:gd name="T18" fmla="*/ 18 w 30"/>
                <a:gd name="T19" fmla="*/ 18 h 43"/>
                <a:gd name="T20" fmla="*/ 10 w 30"/>
                <a:gd name="T21" fmla="*/ 11 h 43"/>
                <a:gd name="T22" fmla="*/ 17 w 30"/>
                <a:gd name="T23" fmla="*/ 5 h 43"/>
                <a:gd name="T24" fmla="*/ 25 w 30"/>
                <a:gd name="T25" fmla="*/ 7 h 43"/>
                <a:gd name="T26" fmla="*/ 28 w 30"/>
                <a:gd name="T27" fmla="*/ 2 h 43"/>
                <a:gd name="T28" fmla="*/ 16 w 30"/>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43">
                  <a:moveTo>
                    <a:pt x="16" y="0"/>
                  </a:moveTo>
                  <a:cubicBezTo>
                    <a:pt x="6" y="0"/>
                    <a:pt x="0" y="6"/>
                    <a:pt x="0" y="12"/>
                  </a:cubicBezTo>
                  <a:cubicBezTo>
                    <a:pt x="0" y="16"/>
                    <a:pt x="3" y="21"/>
                    <a:pt x="11" y="24"/>
                  </a:cubicBezTo>
                  <a:cubicBezTo>
                    <a:pt x="17" y="26"/>
                    <a:pt x="19" y="28"/>
                    <a:pt x="19" y="31"/>
                  </a:cubicBezTo>
                  <a:cubicBezTo>
                    <a:pt x="19" y="35"/>
                    <a:pt x="16" y="37"/>
                    <a:pt x="11" y="37"/>
                  </a:cubicBezTo>
                  <a:cubicBezTo>
                    <a:pt x="7" y="37"/>
                    <a:pt x="4" y="36"/>
                    <a:pt x="2" y="35"/>
                  </a:cubicBezTo>
                  <a:cubicBezTo>
                    <a:pt x="0" y="41"/>
                    <a:pt x="0" y="41"/>
                    <a:pt x="0" y="41"/>
                  </a:cubicBezTo>
                  <a:cubicBezTo>
                    <a:pt x="3" y="42"/>
                    <a:pt x="7" y="43"/>
                    <a:pt x="13" y="43"/>
                  </a:cubicBezTo>
                  <a:cubicBezTo>
                    <a:pt x="23" y="43"/>
                    <a:pt x="30" y="38"/>
                    <a:pt x="30" y="30"/>
                  </a:cubicBezTo>
                  <a:cubicBezTo>
                    <a:pt x="30" y="26"/>
                    <a:pt x="28" y="22"/>
                    <a:pt x="18" y="18"/>
                  </a:cubicBezTo>
                  <a:cubicBezTo>
                    <a:pt x="13" y="17"/>
                    <a:pt x="10" y="15"/>
                    <a:pt x="10" y="11"/>
                  </a:cubicBezTo>
                  <a:cubicBezTo>
                    <a:pt x="10" y="7"/>
                    <a:pt x="13" y="5"/>
                    <a:pt x="17" y="5"/>
                  </a:cubicBezTo>
                  <a:cubicBezTo>
                    <a:pt x="21" y="5"/>
                    <a:pt x="24" y="6"/>
                    <a:pt x="25" y="7"/>
                  </a:cubicBezTo>
                  <a:cubicBezTo>
                    <a:pt x="28" y="2"/>
                    <a:pt x="28" y="2"/>
                    <a:pt x="28" y="2"/>
                  </a:cubicBezTo>
                  <a:cubicBezTo>
                    <a:pt x="25" y="1"/>
                    <a:pt x="21" y="0"/>
                    <a:pt x="16"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grpSp>
      <p:sp>
        <p:nvSpPr>
          <p:cNvPr id="3" name="Espace réservé du texte 2"/>
          <p:cNvSpPr>
            <a:spLocks noGrp="1"/>
          </p:cNvSpPr>
          <p:nvPr>
            <p:ph type="body" sz="quarter" idx="11"/>
          </p:nvPr>
        </p:nvSpPr>
        <p:spPr>
          <a:xfrm>
            <a:off x="838200" y="4813583"/>
            <a:ext cx="10543117" cy="983968"/>
          </a:xfrm>
        </p:spPr>
        <p:txBody>
          <a:bodyPr/>
          <a:lstStyle>
            <a:lvl1pPr marL="0" indent="0" algn="ctr">
              <a:buFontTx/>
              <a:buNone/>
              <a:defRPr sz="2400">
                <a:solidFill>
                  <a:schemeClr val="accent2"/>
                </a:solidFill>
              </a:defRPr>
            </a:lvl1pPr>
          </a:lstStyle>
          <a:p>
            <a:pPr lvl="0"/>
            <a:endParaRPr lang="en-GB" dirty="0"/>
          </a:p>
        </p:txBody>
      </p:sp>
      <p:grpSp>
        <p:nvGrpSpPr>
          <p:cNvPr id="19" name="Groupe 18" hidden="1"/>
          <p:cNvGrpSpPr/>
          <p:nvPr userDrawn="1"/>
        </p:nvGrpSpPr>
        <p:grpSpPr>
          <a:xfrm rot="20057793">
            <a:off x="-613277" y="1966879"/>
            <a:ext cx="1226557" cy="1226557"/>
            <a:chOff x="4580002" y="2570126"/>
            <a:chExt cx="439952" cy="439952"/>
          </a:xfrm>
        </p:grpSpPr>
        <p:sp>
          <p:nvSpPr>
            <p:cNvPr id="32" name="Ellipse 31"/>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dirty="0"/>
            </a:p>
          </p:txBody>
        </p:sp>
        <p:grpSp>
          <p:nvGrpSpPr>
            <p:cNvPr id="33"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34"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p>
            </p:txBody>
          </p:sp>
          <p:sp>
            <p:nvSpPr>
              <p:cNvPr id="35"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6"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7"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8"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sp>
        <p:nvSpPr>
          <p:cNvPr id="111" name="Espace réservé pour une image  110"/>
          <p:cNvSpPr>
            <a:spLocks noGrp="1"/>
          </p:cNvSpPr>
          <p:nvPr>
            <p:ph type="pic" sz="quarter" idx="10"/>
          </p:nvPr>
        </p:nvSpPr>
        <p:spPr>
          <a:xfrm>
            <a:off x="0" y="2"/>
            <a:ext cx="12188317" cy="3343148"/>
          </a:xfrm>
          <a:custGeom>
            <a:avLst/>
            <a:gdLst>
              <a:gd name="connsiteX0" fmla="*/ 0 w 9141238"/>
              <a:gd name="connsiteY0" fmla="*/ 0 h 2507361"/>
              <a:gd name="connsiteX1" fmla="*/ 9141238 w 9141238"/>
              <a:gd name="connsiteY1" fmla="*/ 10160 h 2507361"/>
              <a:gd name="connsiteX2" fmla="*/ 9133840 w 9141238"/>
              <a:gd name="connsiteY2" fmla="*/ 2170430 h 2507361"/>
              <a:gd name="connsiteX3" fmla="*/ 2762782 w 9141238"/>
              <a:gd name="connsiteY3" fmla="*/ 2507361 h 2507361"/>
              <a:gd name="connsiteX4" fmla="*/ 2746139 w 9141238"/>
              <a:gd name="connsiteY4" fmla="*/ 2442020 h 2507361"/>
              <a:gd name="connsiteX5" fmla="*/ 2416736 w 9141238"/>
              <a:gd name="connsiteY5" fmla="*/ 2326687 h 2507361"/>
              <a:gd name="connsiteX6" fmla="*/ 2338592 w 9141238"/>
              <a:gd name="connsiteY6" fmla="*/ 2385825 h 2507361"/>
              <a:gd name="connsiteX7" fmla="*/ 2292338 w 9141238"/>
              <a:gd name="connsiteY7" fmla="*/ 2464954 h 2507361"/>
              <a:gd name="connsiteX8" fmla="*/ 454666 w 9141238"/>
              <a:gd name="connsiteY8" fmla="*/ 2041515 h 2507361"/>
              <a:gd name="connsiteX9" fmla="*/ 469157 w 9141238"/>
              <a:gd name="connsiteY9" fmla="*/ 1942001 h 2507361"/>
              <a:gd name="connsiteX10" fmla="*/ 424076 w 9141238"/>
              <a:gd name="connsiteY10" fmla="*/ 1765003 h 2507361"/>
              <a:gd name="connsiteX11" fmla="*/ 75929 w 9141238"/>
              <a:gd name="connsiteY11" fmla="*/ 1509291 h 2507361"/>
              <a:gd name="connsiteX12" fmla="*/ 0 w 9141238"/>
              <a:gd name="connsiteY12" fmla="*/ 1505592 h 2507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1238" h="2507361">
                <a:moveTo>
                  <a:pt x="0" y="0"/>
                </a:moveTo>
                <a:lnTo>
                  <a:pt x="9141238" y="10160"/>
                </a:lnTo>
                <a:lnTo>
                  <a:pt x="9133840" y="2170430"/>
                </a:lnTo>
                <a:lnTo>
                  <a:pt x="2762782" y="2507361"/>
                </a:lnTo>
                <a:lnTo>
                  <a:pt x="2746139" y="2442020"/>
                </a:lnTo>
                <a:cubicBezTo>
                  <a:pt x="2687025" y="2319210"/>
                  <a:pt x="2539547" y="2267574"/>
                  <a:pt x="2416736" y="2326687"/>
                </a:cubicBezTo>
                <a:cubicBezTo>
                  <a:pt x="2386034" y="2341466"/>
                  <a:pt x="2359780" y="2361767"/>
                  <a:pt x="2338592" y="2385825"/>
                </a:cubicBezTo>
                <a:lnTo>
                  <a:pt x="2292338" y="2464954"/>
                </a:lnTo>
                <a:lnTo>
                  <a:pt x="454666" y="2041515"/>
                </a:lnTo>
                <a:lnTo>
                  <a:pt x="469157" y="1942001"/>
                </a:lnTo>
                <a:cubicBezTo>
                  <a:pt x="466262" y="1882322"/>
                  <a:pt x="451619" y="1822226"/>
                  <a:pt x="424076" y="1765003"/>
                </a:cubicBezTo>
                <a:cubicBezTo>
                  <a:pt x="355216" y="1621945"/>
                  <a:pt x="222023" y="1530705"/>
                  <a:pt x="75929" y="1509291"/>
                </a:cubicBezTo>
                <a:lnTo>
                  <a:pt x="0" y="1505592"/>
                </a:lnTo>
                <a:close/>
              </a:path>
            </a:pathLst>
          </a:custGeom>
          <a:solidFill>
            <a:schemeClr val="bg1">
              <a:lumMod val="95000"/>
            </a:schemeClr>
          </a:solidFill>
        </p:spPr>
        <p:txBody>
          <a:bodyPr wrap="square">
            <a:noAutofit/>
          </a:bodyPr>
          <a:lstStyle>
            <a:lvl1pPr>
              <a:defRPr>
                <a:noFill/>
              </a:defRPr>
            </a:lvl1pPr>
          </a:lstStyle>
          <a:p>
            <a:endParaRPr lang="en-GB"/>
          </a:p>
        </p:txBody>
      </p:sp>
      <p:grpSp>
        <p:nvGrpSpPr>
          <p:cNvPr id="94" name="Groupe 93"/>
          <p:cNvGrpSpPr/>
          <p:nvPr userDrawn="1"/>
        </p:nvGrpSpPr>
        <p:grpSpPr>
          <a:xfrm rot="20057793">
            <a:off x="3035980" y="3068823"/>
            <a:ext cx="658099" cy="658099"/>
            <a:chOff x="4580002" y="2570126"/>
            <a:chExt cx="439952" cy="439952"/>
          </a:xfrm>
        </p:grpSpPr>
        <p:sp>
          <p:nvSpPr>
            <p:cNvPr id="95" name="Ellipse 94"/>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dirty="0"/>
            </a:p>
          </p:txBody>
        </p:sp>
        <p:grpSp>
          <p:nvGrpSpPr>
            <p:cNvPr id="96"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97"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p>
            </p:txBody>
          </p:sp>
          <p:sp>
            <p:nvSpPr>
              <p:cNvPr id="98"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9"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0"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1"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102" name="Groupe 101"/>
          <p:cNvGrpSpPr/>
          <p:nvPr userDrawn="1"/>
        </p:nvGrpSpPr>
        <p:grpSpPr>
          <a:xfrm rot="20057793">
            <a:off x="-600439" y="2005178"/>
            <a:ext cx="1226557" cy="1226557"/>
            <a:chOff x="4580002" y="2570126"/>
            <a:chExt cx="439952" cy="439952"/>
          </a:xfrm>
        </p:grpSpPr>
        <p:sp>
          <p:nvSpPr>
            <p:cNvPr id="103" name="Ellipse 102"/>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dirty="0"/>
            </a:p>
          </p:txBody>
        </p:sp>
        <p:grpSp>
          <p:nvGrpSpPr>
            <p:cNvPr id="104"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105"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p>
            </p:txBody>
          </p:sp>
          <p:sp>
            <p:nvSpPr>
              <p:cNvPr id="106"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7"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8"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9"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spTree>
    <p:extLst>
      <p:ext uri="{BB962C8B-B14F-4D97-AF65-F5344CB8AC3E}">
        <p14:creationId xmlns:p14="http://schemas.microsoft.com/office/powerpoint/2010/main" val="404042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12"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3"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4"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15" name="Rectangle 14"/>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16"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3" name="Espace réservé du contenu 2"/>
          <p:cNvSpPr>
            <a:spLocks noGrp="1"/>
          </p:cNvSpPr>
          <p:nvPr>
            <p:ph idx="1" hasCustomPrompt="1"/>
          </p:nvPr>
        </p:nvSpPr>
        <p:spPr/>
        <p:txBody>
          <a:body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p:txBody>
      </p:sp>
      <p:sp>
        <p:nvSpPr>
          <p:cNvPr id="4" name="Titre 3"/>
          <p:cNvSpPr>
            <a:spLocks noGrp="1"/>
          </p:cNvSpPr>
          <p:nvPr>
            <p:ph type="title"/>
          </p:nvPr>
        </p:nvSpPr>
        <p:spPr/>
        <p:txBody>
          <a:bodyPr/>
          <a:lstStyle>
            <a:lvl1pPr>
              <a:defRPr>
                <a:solidFill>
                  <a:schemeClr val="accent1"/>
                </a:solidFill>
              </a:defRPr>
            </a:lvl1pPr>
          </a:lstStyle>
          <a:p>
            <a:r>
              <a:rPr lang="en-GB" dirty="0"/>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dirty="0"/>
              <a:t>| </a:t>
            </a:r>
            <a:r>
              <a:rPr lang="fr-FR" dirty="0" err="1"/>
              <a:t>Improving</a:t>
            </a:r>
            <a:r>
              <a:rPr lang="fr-FR" dirty="0"/>
              <a:t> </a:t>
            </a:r>
            <a:r>
              <a:rPr lang="fr-FR" dirty="0" err="1"/>
              <a:t>industrial</a:t>
            </a:r>
            <a:r>
              <a:rPr lang="fr-FR" dirty="0"/>
              <a:t> performance</a:t>
            </a:r>
          </a:p>
        </p:txBody>
      </p:sp>
    </p:spTree>
    <p:extLst>
      <p:ext uri="{BB962C8B-B14F-4D97-AF65-F5344CB8AC3E}">
        <p14:creationId xmlns:p14="http://schemas.microsoft.com/office/powerpoint/2010/main" val="783223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grpId="0" nodeType="withEffect">
                                  <p:stCondLst>
                                    <p:cond delay="0"/>
                                  </p:stCondLst>
                                  <p:childTnLst>
                                    <p:animRot by="21600000">
                                      <p:cBhvr>
                                        <p:cTn id="6" dur="4000" fill="hold"/>
                                        <p:tgtEl>
                                          <p:spTgt spid="14"/>
                                        </p:tgtEl>
                                        <p:attrNameLst>
                                          <p:attrName>r</p:attrName>
                                        </p:attrNameLst>
                                      </p:cBhvr>
                                    </p:animRot>
                                  </p:childTnLst>
                                </p:cTn>
                              </p:par>
                              <p:par>
                                <p:cTn id="7" presetID="8" presetClass="emph" presetSubtype="0" repeatCount="indefinite" fill="hold" grpId="0" nodeType="withEffect">
                                  <p:stCondLst>
                                    <p:cond delay="0"/>
                                  </p:stCondLst>
                                  <p:childTnLst>
                                    <p:animRot by="-21600000">
                                      <p:cBhvr>
                                        <p:cTn id="8" dur="4000" fill="hold"/>
                                        <p:tgtEl>
                                          <p:spTgt spid="12"/>
                                        </p:tgtEl>
                                        <p:attrNameLst>
                                          <p:attrName>r</p:attrName>
                                        </p:attrNameLst>
                                      </p:cBhvr>
                                    </p:animRot>
                                  </p:childTnLst>
                                </p:cTn>
                              </p:par>
                              <p:par>
                                <p:cTn id="9" presetID="8" presetClass="emph" presetSubtype="0" repeatCount="indefinite" fill="hold" grpId="0" nodeType="withEffect">
                                  <p:stCondLst>
                                    <p:cond delay="0"/>
                                  </p:stCondLst>
                                  <p:childTnLst>
                                    <p:animRot by="21600000">
                                      <p:cBhvr>
                                        <p:cTn id="10" dur="4000" fill="hold"/>
                                        <p:tgtEl>
                                          <p:spTgt spid="16"/>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 grpId="0" animBg="1"/>
      <p:bldP spid="16" grpId="0" animBg="1"/>
    </p:bld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content &amp; image">
    <p:spTree>
      <p:nvGrpSpPr>
        <p:cNvPr id="1" name=""/>
        <p:cNvGrpSpPr/>
        <p:nvPr/>
      </p:nvGrpSpPr>
      <p:grpSpPr>
        <a:xfrm>
          <a:off x="0" y="0"/>
          <a:ext cx="0" cy="0"/>
          <a:chOff x="0" y="0"/>
          <a:chExt cx="0" cy="0"/>
        </a:xfrm>
      </p:grpSpPr>
      <p:sp>
        <p:nvSpPr>
          <p:cNvPr id="13"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4"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6"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17" name="Rectangle 16"/>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18"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3" name="Content Placeholder 2"/>
          <p:cNvSpPr>
            <a:spLocks noGrp="1"/>
          </p:cNvSpPr>
          <p:nvPr>
            <p:ph idx="1" hasCustomPrompt="1"/>
          </p:nvPr>
        </p:nvSpPr>
        <p:spPr>
          <a:xfrm>
            <a:off x="363166" y="1600202"/>
            <a:ext cx="5556725" cy="4325076"/>
          </a:xfrm>
        </p:spPr>
        <p:txBody>
          <a:body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p:txBody>
      </p:sp>
      <p:sp>
        <p:nvSpPr>
          <p:cNvPr id="4" name="Titre 3"/>
          <p:cNvSpPr>
            <a:spLocks noGrp="1"/>
          </p:cNvSpPr>
          <p:nvPr>
            <p:ph type="title"/>
          </p:nvPr>
        </p:nvSpPr>
        <p:spPr/>
        <p:txBody>
          <a:bodyPr/>
          <a:lstStyle>
            <a:lvl1pPr>
              <a:defRPr>
                <a:solidFill>
                  <a:schemeClr val="accent1"/>
                </a:solidFill>
              </a:defRPr>
            </a:lvl1pPr>
          </a:lstStyle>
          <a:p>
            <a:r>
              <a:rPr lang="en-GB" dirty="0"/>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15" name="Picture Placeholder 6"/>
          <p:cNvSpPr>
            <a:spLocks noGrp="1"/>
          </p:cNvSpPr>
          <p:nvPr>
            <p:ph type="pic" sz="quarter" idx="10"/>
          </p:nvPr>
        </p:nvSpPr>
        <p:spPr>
          <a:xfrm>
            <a:off x="6286364" y="1600202"/>
            <a:ext cx="5556725" cy="4325076"/>
          </a:xfrm>
          <a:prstGeom prst="roundRect">
            <a:avLst>
              <a:gd name="adj" fmla="val 14526"/>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GB" sz="2400">
                <a:solidFill>
                  <a:schemeClr val="lt1"/>
                </a:solidFill>
                <a:latin typeface="+mn-lt"/>
              </a:defRPr>
            </a:lvl1pPr>
          </a:lstStyle>
          <a:p>
            <a:pPr marL="0" lvl="0" algn="ctr"/>
            <a:endParaRPr lang="en-GB"/>
          </a:p>
        </p:txBody>
      </p:sp>
      <p:sp>
        <p:nvSpPr>
          <p:cNvPr id="5" name="Espace réservé du pied de page 4"/>
          <p:cNvSpPr>
            <a:spLocks noGrp="1"/>
          </p:cNvSpPr>
          <p:nvPr>
            <p:ph type="ftr" sz="quarter" idx="11"/>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1160526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Blue background">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4" name="Titre 3"/>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2" name="Espace réservé du contenu 2"/>
          <p:cNvSpPr>
            <a:spLocks noGrp="1"/>
          </p:cNvSpPr>
          <p:nvPr>
            <p:ph idx="1" hasCustomPrompt="1"/>
          </p:nvPr>
        </p:nvSpPr>
        <p:spPr>
          <a:xfrm>
            <a:off x="363166" y="1600202"/>
            <a:ext cx="11465668" cy="432507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p:txBody>
      </p:sp>
      <p:sp>
        <p:nvSpPr>
          <p:cNvPr id="13"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4" name="Rectangle 13"/>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3" name="Espace réservé du pied de page 2"/>
          <p:cNvSpPr>
            <a:spLocks noGrp="1"/>
          </p:cNvSpPr>
          <p:nvPr>
            <p:ph type="ftr" sz="quarter" idx="10"/>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2254312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Infographic">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4" name="Titre 3"/>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3"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4" name="Rectangle 13"/>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cxnSp>
        <p:nvCxnSpPr>
          <p:cNvPr id="42" name="Connecteur droit 41"/>
          <p:cNvCxnSpPr/>
          <p:nvPr/>
        </p:nvCxnSpPr>
        <p:spPr>
          <a:xfrm flipV="1">
            <a:off x="6607132" y="2956097"/>
            <a:ext cx="451565" cy="187894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43" name="Connecteur droit 42"/>
          <p:cNvCxnSpPr/>
          <p:nvPr/>
        </p:nvCxnSpPr>
        <p:spPr>
          <a:xfrm flipV="1">
            <a:off x="7363676" y="2773681"/>
            <a:ext cx="1374235" cy="213608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44" name="Connecteur droit 43"/>
          <p:cNvCxnSpPr/>
          <p:nvPr/>
        </p:nvCxnSpPr>
        <p:spPr>
          <a:xfrm flipV="1">
            <a:off x="8188961" y="4535620"/>
            <a:ext cx="514476" cy="381821"/>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45" name="Groupe 44"/>
          <p:cNvGrpSpPr/>
          <p:nvPr/>
        </p:nvGrpSpPr>
        <p:grpSpPr>
          <a:xfrm>
            <a:off x="6851684" y="2303473"/>
            <a:ext cx="611509" cy="611507"/>
            <a:chOff x="129161" y="1153251"/>
            <a:chExt cx="458632" cy="458630"/>
          </a:xfrm>
        </p:grpSpPr>
        <p:grpSp>
          <p:nvGrpSpPr>
            <p:cNvPr id="58" name="Groupe 57"/>
            <p:cNvGrpSpPr/>
            <p:nvPr/>
          </p:nvGrpSpPr>
          <p:grpSpPr>
            <a:xfrm>
              <a:off x="129161" y="1153251"/>
              <a:ext cx="458632" cy="458630"/>
              <a:chOff x="2984203" y="2099374"/>
              <a:chExt cx="313070" cy="313070"/>
            </a:xfrm>
          </p:grpSpPr>
          <p:sp>
            <p:nvSpPr>
              <p:cNvPr id="60" name="Ellipse 59"/>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61" name="Ellipse 60"/>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62" name="Ellipse 61"/>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9"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46" name="Groupe 45"/>
          <p:cNvGrpSpPr/>
          <p:nvPr/>
        </p:nvGrpSpPr>
        <p:grpSpPr>
          <a:xfrm>
            <a:off x="8617758" y="2162173"/>
            <a:ext cx="611509" cy="611507"/>
            <a:chOff x="129161" y="1153251"/>
            <a:chExt cx="458632" cy="458630"/>
          </a:xfrm>
        </p:grpSpPr>
        <p:grpSp>
          <p:nvGrpSpPr>
            <p:cNvPr id="53" name="Groupe 52"/>
            <p:cNvGrpSpPr/>
            <p:nvPr/>
          </p:nvGrpSpPr>
          <p:grpSpPr>
            <a:xfrm>
              <a:off x="129161" y="1153251"/>
              <a:ext cx="458632" cy="458630"/>
              <a:chOff x="2984203" y="2099374"/>
              <a:chExt cx="313070" cy="313070"/>
            </a:xfrm>
          </p:grpSpPr>
          <p:sp>
            <p:nvSpPr>
              <p:cNvPr id="55" name="Ellipse 54"/>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6" name="Ellipse 55"/>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7" name="Ellipse 56"/>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4"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47" name="Groupe 46"/>
          <p:cNvGrpSpPr/>
          <p:nvPr/>
        </p:nvGrpSpPr>
        <p:grpSpPr>
          <a:xfrm>
            <a:off x="8694859" y="4034813"/>
            <a:ext cx="611509" cy="611507"/>
            <a:chOff x="129161" y="1153251"/>
            <a:chExt cx="458632" cy="458630"/>
          </a:xfrm>
        </p:grpSpPr>
        <p:grpSp>
          <p:nvGrpSpPr>
            <p:cNvPr id="48" name="Groupe 47"/>
            <p:cNvGrpSpPr/>
            <p:nvPr/>
          </p:nvGrpSpPr>
          <p:grpSpPr>
            <a:xfrm>
              <a:off x="129161" y="1153251"/>
              <a:ext cx="458632" cy="458630"/>
              <a:chOff x="2984203" y="2099374"/>
              <a:chExt cx="313070" cy="313070"/>
            </a:xfrm>
          </p:grpSpPr>
          <p:sp>
            <p:nvSpPr>
              <p:cNvPr id="50" name="Ellipse 49"/>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1" name="Ellipse 50"/>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2" name="Ellipse 51"/>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dirty="0">
                  <a:ln>
                    <a:noFill/>
                  </a:ln>
                  <a:solidFill>
                    <a:sysClr val="windowText" lastClr="000000"/>
                  </a:solidFill>
                  <a:effectLst/>
                  <a:uLnTx/>
                  <a:uFillTx/>
                </a:endParaRPr>
              </a:p>
            </p:txBody>
          </p:sp>
        </p:grpSp>
        <p:sp>
          <p:nvSpPr>
            <p:cNvPr id="49"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cxnSp>
        <p:nvCxnSpPr>
          <p:cNvPr id="20" name="Connecteur droit 19"/>
          <p:cNvCxnSpPr/>
          <p:nvPr/>
        </p:nvCxnSpPr>
        <p:spPr>
          <a:xfrm flipH="1" flipV="1">
            <a:off x="5221770" y="3792119"/>
            <a:ext cx="250645" cy="1042925"/>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2" name="Connecteur droit 21"/>
          <p:cNvCxnSpPr/>
          <p:nvPr/>
        </p:nvCxnSpPr>
        <p:spPr>
          <a:xfrm flipH="1" flipV="1">
            <a:off x="3341636" y="2773681"/>
            <a:ext cx="1374235" cy="213608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3" name="Connecteur droit 22"/>
          <p:cNvCxnSpPr/>
          <p:nvPr/>
        </p:nvCxnSpPr>
        <p:spPr>
          <a:xfrm flipH="1" flipV="1">
            <a:off x="3376111" y="4535620"/>
            <a:ext cx="514476" cy="381821"/>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24" name="Groupe 23"/>
          <p:cNvGrpSpPr/>
          <p:nvPr/>
        </p:nvGrpSpPr>
        <p:grpSpPr>
          <a:xfrm flipH="1">
            <a:off x="4823371" y="3159646"/>
            <a:ext cx="611509" cy="611507"/>
            <a:chOff x="129161" y="1153251"/>
            <a:chExt cx="458632" cy="458630"/>
          </a:xfrm>
        </p:grpSpPr>
        <p:grpSp>
          <p:nvGrpSpPr>
            <p:cNvPr id="37" name="Groupe 36"/>
            <p:cNvGrpSpPr/>
            <p:nvPr/>
          </p:nvGrpSpPr>
          <p:grpSpPr>
            <a:xfrm>
              <a:off x="129161" y="1153251"/>
              <a:ext cx="458632" cy="458630"/>
              <a:chOff x="2984203" y="2099374"/>
              <a:chExt cx="313070" cy="313070"/>
            </a:xfrm>
          </p:grpSpPr>
          <p:sp>
            <p:nvSpPr>
              <p:cNvPr id="39" name="Ellipse 38"/>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40" name="Ellipse 39"/>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41" name="Ellipse 40"/>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38"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25" name="Groupe 24"/>
          <p:cNvGrpSpPr/>
          <p:nvPr/>
        </p:nvGrpSpPr>
        <p:grpSpPr>
          <a:xfrm flipH="1">
            <a:off x="2850280" y="2162173"/>
            <a:ext cx="611509" cy="611507"/>
            <a:chOff x="129161" y="1153251"/>
            <a:chExt cx="458632" cy="458630"/>
          </a:xfrm>
        </p:grpSpPr>
        <p:grpSp>
          <p:nvGrpSpPr>
            <p:cNvPr id="32" name="Groupe 31"/>
            <p:cNvGrpSpPr/>
            <p:nvPr/>
          </p:nvGrpSpPr>
          <p:grpSpPr>
            <a:xfrm>
              <a:off x="129161" y="1153251"/>
              <a:ext cx="458632" cy="458630"/>
              <a:chOff x="2984203" y="2099374"/>
              <a:chExt cx="313070" cy="313070"/>
            </a:xfrm>
          </p:grpSpPr>
          <p:sp>
            <p:nvSpPr>
              <p:cNvPr id="34" name="Ellipse 33"/>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5" name="Ellipse 34"/>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6" name="Ellipse 35"/>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33"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26" name="Groupe 25"/>
          <p:cNvGrpSpPr/>
          <p:nvPr/>
        </p:nvGrpSpPr>
        <p:grpSpPr>
          <a:xfrm flipH="1">
            <a:off x="2773179" y="4034813"/>
            <a:ext cx="611509" cy="611507"/>
            <a:chOff x="129161" y="1153251"/>
            <a:chExt cx="458632" cy="458630"/>
          </a:xfrm>
        </p:grpSpPr>
        <p:grpSp>
          <p:nvGrpSpPr>
            <p:cNvPr id="27" name="Groupe 26"/>
            <p:cNvGrpSpPr/>
            <p:nvPr/>
          </p:nvGrpSpPr>
          <p:grpSpPr>
            <a:xfrm>
              <a:off x="129161" y="1153251"/>
              <a:ext cx="458632" cy="458630"/>
              <a:chOff x="2984203" y="2099374"/>
              <a:chExt cx="313070" cy="313070"/>
            </a:xfrm>
          </p:grpSpPr>
          <p:sp>
            <p:nvSpPr>
              <p:cNvPr id="29" name="Ellipse 28"/>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0" name="Ellipse 29"/>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1" name="Ellipse 30"/>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28"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 name="Espace réservé du texte 4"/>
          <p:cNvSpPr>
            <a:spLocks noGrp="1"/>
          </p:cNvSpPr>
          <p:nvPr>
            <p:ph type="body" sz="quarter" idx="10" hasCustomPrompt="1"/>
          </p:nvPr>
        </p:nvSpPr>
        <p:spPr>
          <a:xfrm>
            <a:off x="363166" y="4007076"/>
            <a:ext cx="2410013" cy="666977"/>
          </a:xfrm>
        </p:spPr>
        <p:txBody>
          <a:bodyPr wrap="square" lIns="72000" rIns="72000" anchor="ctr">
            <a:spAutoFit/>
          </a:bodyPr>
          <a:lstStyle>
            <a:lvl1pPr marL="0" indent="0" algn="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4" name="Espace réservé du texte 4"/>
          <p:cNvSpPr>
            <a:spLocks noGrp="1"/>
          </p:cNvSpPr>
          <p:nvPr>
            <p:ph type="body" sz="quarter" idx="11" hasCustomPrompt="1"/>
          </p:nvPr>
        </p:nvSpPr>
        <p:spPr>
          <a:xfrm>
            <a:off x="9313386" y="4007076"/>
            <a:ext cx="2486412" cy="666977"/>
          </a:xfrm>
        </p:spPr>
        <p:txBody>
          <a:bodyPr wrap="square" lIns="72000" rIns="72000" anchor="ctr">
            <a:spAutoFit/>
          </a:bodyPr>
          <a:lstStyle>
            <a:lvl1pPr marL="0" indent="0" algn="l">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5" name="Espace réservé du texte 4"/>
          <p:cNvSpPr>
            <a:spLocks noGrp="1"/>
          </p:cNvSpPr>
          <p:nvPr>
            <p:ph type="body" sz="quarter" idx="12" hasCustomPrompt="1"/>
          </p:nvPr>
        </p:nvSpPr>
        <p:spPr>
          <a:xfrm>
            <a:off x="9249903" y="2134436"/>
            <a:ext cx="2486412" cy="666977"/>
          </a:xfrm>
        </p:spPr>
        <p:txBody>
          <a:bodyPr wrap="square" lIns="72000" rIns="72000" anchor="ctr">
            <a:spAutoFit/>
          </a:bodyPr>
          <a:lstStyle>
            <a:lvl1pPr marL="0" indent="0" algn="l">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6" name="Espace réservé du texte 4"/>
          <p:cNvSpPr>
            <a:spLocks noGrp="1"/>
          </p:cNvSpPr>
          <p:nvPr>
            <p:ph type="body" sz="quarter" idx="13" hasCustomPrompt="1"/>
          </p:nvPr>
        </p:nvSpPr>
        <p:spPr>
          <a:xfrm>
            <a:off x="5914230" y="1584431"/>
            <a:ext cx="2486412" cy="666977"/>
          </a:xfrm>
        </p:spPr>
        <p:txBody>
          <a:bodyPr wrap="square" lIns="72000" rIns="72000" anchor="b">
            <a:spAutoFit/>
          </a:bodyPr>
          <a:lstStyle>
            <a:lvl1pPr marL="0" indent="0" algn="ct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7" name="Espace réservé du texte 4"/>
          <p:cNvSpPr>
            <a:spLocks noGrp="1"/>
          </p:cNvSpPr>
          <p:nvPr>
            <p:ph type="body" sz="quarter" idx="14" hasCustomPrompt="1"/>
          </p:nvPr>
        </p:nvSpPr>
        <p:spPr>
          <a:xfrm>
            <a:off x="3873917" y="2466831"/>
            <a:ext cx="2486412" cy="666977"/>
          </a:xfrm>
        </p:spPr>
        <p:txBody>
          <a:bodyPr wrap="square" lIns="72000" rIns="72000" anchor="b">
            <a:spAutoFit/>
          </a:bodyPr>
          <a:lstStyle>
            <a:lvl1pPr marL="0" indent="0" algn="ct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8" name="Espace réservé du texte 4"/>
          <p:cNvSpPr>
            <a:spLocks noGrp="1"/>
          </p:cNvSpPr>
          <p:nvPr>
            <p:ph type="body" sz="quarter" idx="15" hasCustomPrompt="1"/>
          </p:nvPr>
        </p:nvSpPr>
        <p:spPr>
          <a:xfrm>
            <a:off x="423687" y="2141064"/>
            <a:ext cx="2410013" cy="666977"/>
          </a:xfrm>
        </p:spPr>
        <p:txBody>
          <a:bodyPr wrap="square" lIns="72000" rIns="72000" anchor="ctr">
            <a:spAutoFit/>
          </a:bodyPr>
          <a:lstStyle>
            <a:lvl1pPr marL="0" indent="0" algn="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grpSp>
        <p:nvGrpSpPr>
          <p:cNvPr id="69" name="Groupe 68"/>
          <p:cNvGrpSpPr/>
          <p:nvPr userDrawn="1"/>
        </p:nvGrpSpPr>
        <p:grpSpPr>
          <a:xfrm>
            <a:off x="3752428" y="4737046"/>
            <a:ext cx="4687147" cy="1004381"/>
            <a:chOff x="2814321" y="3552784"/>
            <a:chExt cx="3515360" cy="753286"/>
          </a:xfrm>
        </p:grpSpPr>
        <p:sp>
          <p:nvSpPr>
            <p:cNvPr id="71" name="Rectangle à coins arrondis 3"/>
            <p:cNvSpPr/>
            <p:nvPr/>
          </p:nvSpPr>
          <p:spPr>
            <a:xfrm>
              <a:off x="2814321" y="3552784"/>
              <a:ext cx="3515360" cy="753286"/>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p>
          </p:txBody>
        </p:sp>
        <p:pic>
          <p:nvPicPr>
            <p:cNvPr id="72" name="Image 7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304723" y="3678199"/>
              <a:ext cx="2530712" cy="462756"/>
            </a:xfrm>
            <a:prstGeom prst="rect">
              <a:avLst/>
            </a:prstGeom>
          </p:spPr>
        </p:pic>
      </p:grpSp>
      <p:sp>
        <p:nvSpPr>
          <p:cNvPr id="3" name="Espace réservé du pied de page 2"/>
          <p:cNvSpPr>
            <a:spLocks noGrp="1"/>
          </p:cNvSpPr>
          <p:nvPr>
            <p:ph type="ftr" sz="quarter" idx="16"/>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879605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9"/>
                                        </p:tgtEl>
                                        <p:attrNameLst>
                                          <p:attrName>style.visibility</p:attrName>
                                        </p:attrNameLst>
                                      </p:cBhvr>
                                      <p:to>
                                        <p:strVal val="visible"/>
                                      </p:to>
                                    </p:set>
                                    <p:animEffect transition="in" filter="fade">
                                      <p:cBhvr>
                                        <p:cTn id="7" dur="500"/>
                                        <p:tgtEl>
                                          <p:spTgt spid="69"/>
                                        </p:tgtEl>
                                      </p:cBhvr>
                                    </p:animEffect>
                                  </p:childTnLst>
                                </p:cTn>
                              </p:par>
                              <p:par>
                                <p:cTn id="8" presetID="6" presetClass="emph" presetSubtype="0" fill="hold" nodeType="withEffect">
                                  <p:stCondLst>
                                    <p:cond delay="0"/>
                                  </p:stCondLst>
                                  <p:childTnLst>
                                    <p:animScale>
                                      <p:cBhvr>
                                        <p:cTn id="9" dur="10" fill="hold"/>
                                        <p:tgtEl>
                                          <p:spTgt spid="69"/>
                                        </p:tgtEl>
                                      </p:cBhvr>
                                      <p:by x="50000" y="50000"/>
                                    </p:animScale>
                                  </p:childTnLst>
                                </p:cTn>
                              </p:par>
                              <p:par>
                                <p:cTn id="10" presetID="6" presetClass="emph" presetSubtype="0" decel="100000" fill="hold" nodeType="withEffect">
                                  <p:stCondLst>
                                    <p:cond delay="0"/>
                                  </p:stCondLst>
                                  <p:childTnLst>
                                    <p:animScale>
                                      <p:cBhvr>
                                        <p:cTn id="11" dur="1000" fill="hold"/>
                                        <p:tgtEl>
                                          <p:spTgt spid="69"/>
                                        </p:tgtEl>
                                      </p:cBhvr>
                                      <p:by x="200000" y="200000"/>
                                    </p:animScale>
                                  </p:childTnLst>
                                </p:cTn>
                              </p:par>
                              <p:par>
                                <p:cTn id="12" presetID="22" presetClass="entr" presetSubtype="4" fill="hold" nodeType="withEffect">
                                  <p:stCondLst>
                                    <p:cond delay="500"/>
                                  </p:stCondLst>
                                  <p:childTnLst>
                                    <p:set>
                                      <p:cBhvr>
                                        <p:cTn id="13" dur="1" fill="hold">
                                          <p:stCondLst>
                                            <p:cond delay="0"/>
                                          </p:stCondLst>
                                        </p:cTn>
                                        <p:tgtEl>
                                          <p:spTgt spid="23"/>
                                        </p:tgtEl>
                                        <p:attrNameLst>
                                          <p:attrName>style.visibility</p:attrName>
                                        </p:attrNameLst>
                                      </p:cBhvr>
                                      <p:to>
                                        <p:strVal val="visible"/>
                                      </p:to>
                                    </p:set>
                                    <p:animEffect transition="in" filter="wipe(down)">
                                      <p:cBhvr>
                                        <p:cTn id="14" dur="500"/>
                                        <p:tgtEl>
                                          <p:spTgt spid="23"/>
                                        </p:tgtEl>
                                      </p:cBhvr>
                                    </p:animEffect>
                                  </p:childTnLst>
                                </p:cTn>
                              </p:par>
                              <p:par>
                                <p:cTn id="15" presetID="22" presetClass="entr" presetSubtype="4" fill="hold" nodeType="withEffect">
                                  <p:stCondLst>
                                    <p:cond delay="600"/>
                                  </p:stCondLst>
                                  <p:childTnLst>
                                    <p:set>
                                      <p:cBhvr>
                                        <p:cTn id="16" dur="1" fill="hold">
                                          <p:stCondLst>
                                            <p:cond delay="0"/>
                                          </p:stCondLst>
                                        </p:cTn>
                                        <p:tgtEl>
                                          <p:spTgt spid="22"/>
                                        </p:tgtEl>
                                        <p:attrNameLst>
                                          <p:attrName>style.visibility</p:attrName>
                                        </p:attrNameLst>
                                      </p:cBhvr>
                                      <p:to>
                                        <p:strVal val="visible"/>
                                      </p:to>
                                    </p:set>
                                    <p:animEffect transition="in" filter="wipe(down)">
                                      <p:cBhvr>
                                        <p:cTn id="17" dur="500"/>
                                        <p:tgtEl>
                                          <p:spTgt spid="22"/>
                                        </p:tgtEl>
                                      </p:cBhvr>
                                    </p:animEffect>
                                  </p:childTnLst>
                                </p:cTn>
                              </p:par>
                              <p:par>
                                <p:cTn id="18" presetID="22" presetClass="entr" presetSubtype="4" fill="hold" nodeType="withEffect">
                                  <p:stCondLst>
                                    <p:cond delay="700"/>
                                  </p:stCondLst>
                                  <p:childTnLst>
                                    <p:set>
                                      <p:cBhvr>
                                        <p:cTn id="19" dur="1" fill="hold">
                                          <p:stCondLst>
                                            <p:cond delay="0"/>
                                          </p:stCondLst>
                                        </p:cTn>
                                        <p:tgtEl>
                                          <p:spTgt spid="20"/>
                                        </p:tgtEl>
                                        <p:attrNameLst>
                                          <p:attrName>style.visibility</p:attrName>
                                        </p:attrNameLst>
                                      </p:cBhvr>
                                      <p:to>
                                        <p:strVal val="visible"/>
                                      </p:to>
                                    </p:set>
                                    <p:animEffect transition="in" filter="wipe(down)">
                                      <p:cBhvr>
                                        <p:cTn id="20" dur="500"/>
                                        <p:tgtEl>
                                          <p:spTgt spid="20"/>
                                        </p:tgtEl>
                                      </p:cBhvr>
                                    </p:animEffect>
                                  </p:childTnLst>
                                </p:cTn>
                              </p:par>
                              <p:par>
                                <p:cTn id="21" presetID="22" presetClass="entr" presetSubtype="4" fill="hold" nodeType="withEffect">
                                  <p:stCondLst>
                                    <p:cond delay="800"/>
                                  </p:stCondLst>
                                  <p:childTnLst>
                                    <p:set>
                                      <p:cBhvr>
                                        <p:cTn id="22" dur="1" fill="hold">
                                          <p:stCondLst>
                                            <p:cond delay="0"/>
                                          </p:stCondLst>
                                        </p:cTn>
                                        <p:tgtEl>
                                          <p:spTgt spid="42"/>
                                        </p:tgtEl>
                                        <p:attrNameLst>
                                          <p:attrName>style.visibility</p:attrName>
                                        </p:attrNameLst>
                                      </p:cBhvr>
                                      <p:to>
                                        <p:strVal val="visible"/>
                                      </p:to>
                                    </p:set>
                                    <p:animEffect transition="in" filter="wipe(down)">
                                      <p:cBhvr>
                                        <p:cTn id="23" dur="500"/>
                                        <p:tgtEl>
                                          <p:spTgt spid="42"/>
                                        </p:tgtEl>
                                      </p:cBhvr>
                                    </p:animEffect>
                                  </p:childTnLst>
                                </p:cTn>
                              </p:par>
                              <p:par>
                                <p:cTn id="24" presetID="22" presetClass="entr" presetSubtype="4" fill="hold" nodeType="withEffect">
                                  <p:stCondLst>
                                    <p:cond delay="900"/>
                                  </p:stCondLst>
                                  <p:childTnLst>
                                    <p:set>
                                      <p:cBhvr>
                                        <p:cTn id="25" dur="1" fill="hold">
                                          <p:stCondLst>
                                            <p:cond delay="0"/>
                                          </p:stCondLst>
                                        </p:cTn>
                                        <p:tgtEl>
                                          <p:spTgt spid="43"/>
                                        </p:tgtEl>
                                        <p:attrNameLst>
                                          <p:attrName>style.visibility</p:attrName>
                                        </p:attrNameLst>
                                      </p:cBhvr>
                                      <p:to>
                                        <p:strVal val="visible"/>
                                      </p:to>
                                    </p:set>
                                    <p:animEffect transition="in" filter="wipe(down)">
                                      <p:cBhvr>
                                        <p:cTn id="26" dur="500"/>
                                        <p:tgtEl>
                                          <p:spTgt spid="43"/>
                                        </p:tgtEl>
                                      </p:cBhvr>
                                    </p:animEffect>
                                  </p:childTnLst>
                                </p:cTn>
                              </p:par>
                              <p:par>
                                <p:cTn id="27" presetID="22" presetClass="entr" presetSubtype="4" fill="hold" nodeType="withEffect">
                                  <p:stCondLst>
                                    <p:cond delay="1000"/>
                                  </p:stCondLst>
                                  <p:childTnLst>
                                    <p:set>
                                      <p:cBhvr>
                                        <p:cTn id="28" dur="1" fill="hold">
                                          <p:stCondLst>
                                            <p:cond delay="0"/>
                                          </p:stCondLst>
                                        </p:cTn>
                                        <p:tgtEl>
                                          <p:spTgt spid="44"/>
                                        </p:tgtEl>
                                        <p:attrNameLst>
                                          <p:attrName>style.visibility</p:attrName>
                                        </p:attrNameLst>
                                      </p:cBhvr>
                                      <p:to>
                                        <p:strVal val="visible"/>
                                      </p:to>
                                    </p:set>
                                    <p:animEffect transition="in" filter="wipe(down)">
                                      <p:cBhvr>
                                        <p:cTn id="29" dur="500"/>
                                        <p:tgtEl>
                                          <p:spTgt spid="44"/>
                                        </p:tgtEl>
                                      </p:cBhvr>
                                    </p:animEffect>
                                  </p:childTnLst>
                                </p:cTn>
                              </p:par>
                              <p:par>
                                <p:cTn id="30" presetID="53" presetClass="entr" presetSubtype="16" fill="hold" nodeType="withEffect">
                                  <p:stCondLst>
                                    <p:cond delay="750"/>
                                  </p:stCondLst>
                                  <p:childTnLst>
                                    <p:set>
                                      <p:cBhvr>
                                        <p:cTn id="31" dur="1" fill="hold">
                                          <p:stCondLst>
                                            <p:cond delay="0"/>
                                          </p:stCondLst>
                                        </p:cTn>
                                        <p:tgtEl>
                                          <p:spTgt spid="26"/>
                                        </p:tgtEl>
                                        <p:attrNameLst>
                                          <p:attrName>style.visibility</p:attrName>
                                        </p:attrNameLst>
                                      </p:cBhvr>
                                      <p:to>
                                        <p:strVal val="visible"/>
                                      </p:to>
                                    </p:set>
                                    <p:anim calcmode="lin" valueType="num">
                                      <p:cBhvr>
                                        <p:cTn id="32" dur="500" fill="hold"/>
                                        <p:tgtEl>
                                          <p:spTgt spid="26"/>
                                        </p:tgtEl>
                                        <p:attrNameLst>
                                          <p:attrName>ppt_w</p:attrName>
                                        </p:attrNameLst>
                                      </p:cBhvr>
                                      <p:tavLst>
                                        <p:tav tm="0">
                                          <p:val>
                                            <p:fltVal val="0"/>
                                          </p:val>
                                        </p:tav>
                                        <p:tav tm="100000">
                                          <p:val>
                                            <p:strVal val="#ppt_w"/>
                                          </p:val>
                                        </p:tav>
                                      </p:tavLst>
                                    </p:anim>
                                    <p:anim calcmode="lin" valueType="num">
                                      <p:cBhvr>
                                        <p:cTn id="33" dur="500" fill="hold"/>
                                        <p:tgtEl>
                                          <p:spTgt spid="26"/>
                                        </p:tgtEl>
                                        <p:attrNameLst>
                                          <p:attrName>ppt_h</p:attrName>
                                        </p:attrNameLst>
                                      </p:cBhvr>
                                      <p:tavLst>
                                        <p:tav tm="0">
                                          <p:val>
                                            <p:fltVal val="0"/>
                                          </p:val>
                                        </p:tav>
                                        <p:tav tm="100000">
                                          <p:val>
                                            <p:strVal val="#ppt_h"/>
                                          </p:val>
                                        </p:tav>
                                      </p:tavLst>
                                    </p:anim>
                                    <p:animEffect transition="in" filter="fade">
                                      <p:cBhvr>
                                        <p:cTn id="34" dur="500"/>
                                        <p:tgtEl>
                                          <p:spTgt spid="26"/>
                                        </p:tgtEl>
                                      </p:cBhvr>
                                    </p:animEffect>
                                  </p:childTnLst>
                                </p:cTn>
                              </p:par>
                              <p:par>
                                <p:cTn id="35" presetID="53" presetClass="entr" presetSubtype="16" fill="hold" nodeType="withEffect">
                                  <p:stCondLst>
                                    <p:cond delay="850"/>
                                  </p:stCondLst>
                                  <p:childTnLst>
                                    <p:set>
                                      <p:cBhvr>
                                        <p:cTn id="36" dur="1" fill="hold">
                                          <p:stCondLst>
                                            <p:cond delay="0"/>
                                          </p:stCondLst>
                                        </p:cTn>
                                        <p:tgtEl>
                                          <p:spTgt spid="25"/>
                                        </p:tgtEl>
                                        <p:attrNameLst>
                                          <p:attrName>style.visibility</p:attrName>
                                        </p:attrNameLst>
                                      </p:cBhvr>
                                      <p:to>
                                        <p:strVal val="visible"/>
                                      </p:to>
                                    </p:set>
                                    <p:anim calcmode="lin" valueType="num">
                                      <p:cBhvr>
                                        <p:cTn id="37" dur="500" fill="hold"/>
                                        <p:tgtEl>
                                          <p:spTgt spid="25"/>
                                        </p:tgtEl>
                                        <p:attrNameLst>
                                          <p:attrName>ppt_w</p:attrName>
                                        </p:attrNameLst>
                                      </p:cBhvr>
                                      <p:tavLst>
                                        <p:tav tm="0">
                                          <p:val>
                                            <p:fltVal val="0"/>
                                          </p:val>
                                        </p:tav>
                                        <p:tav tm="100000">
                                          <p:val>
                                            <p:strVal val="#ppt_w"/>
                                          </p:val>
                                        </p:tav>
                                      </p:tavLst>
                                    </p:anim>
                                    <p:anim calcmode="lin" valueType="num">
                                      <p:cBhvr>
                                        <p:cTn id="38" dur="500" fill="hold"/>
                                        <p:tgtEl>
                                          <p:spTgt spid="25"/>
                                        </p:tgtEl>
                                        <p:attrNameLst>
                                          <p:attrName>ppt_h</p:attrName>
                                        </p:attrNameLst>
                                      </p:cBhvr>
                                      <p:tavLst>
                                        <p:tav tm="0">
                                          <p:val>
                                            <p:fltVal val="0"/>
                                          </p:val>
                                        </p:tav>
                                        <p:tav tm="100000">
                                          <p:val>
                                            <p:strVal val="#ppt_h"/>
                                          </p:val>
                                        </p:tav>
                                      </p:tavLst>
                                    </p:anim>
                                    <p:animEffect transition="in" filter="fade">
                                      <p:cBhvr>
                                        <p:cTn id="39" dur="500"/>
                                        <p:tgtEl>
                                          <p:spTgt spid="25"/>
                                        </p:tgtEl>
                                      </p:cBhvr>
                                    </p:animEffect>
                                  </p:childTnLst>
                                </p:cTn>
                              </p:par>
                              <p:par>
                                <p:cTn id="40" presetID="53" presetClass="entr" presetSubtype="16" fill="hold" nodeType="withEffect">
                                  <p:stCondLst>
                                    <p:cond delay="950"/>
                                  </p:stCondLst>
                                  <p:childTnLst>
                                    <p:set>
                                      <p:cBhvr>
                                        <p:cTn id="41" dur="1" fill="hold">
                                          <p:stCondLst>
                                            <p:cond delay="0"/>
                                          </p:stCondLst>
                                        </p:cTn>
                                        <p:tgtEl>
                                          <p:spTgt spid="24"/>
                                        </p:tgtEl>
                                        <p:attrNameLst>
                                          <p:attrName>style.visibility</p:attrName>
                                        </p:attrNameLst>
                                      </p:cBhvr>
                                      <p:to>
                                        <p:strVal val="visible"/>
                                      </p:to>
                                    </p:set>
                                    <p:anim calcmode="lin" valueType="num">
                                      <p:cBhvr>
                                        <p:cTn id="42" dur="500" fill="hold"/>
                                        <p:tgtEl>
                                          <p:spTgt spid="24"/>
                                        </p:tgtEl>
                                        <p:attrNameLst>
                                          <p:attrName>ppt_w</p:attrName>
                                        </p:attrNameLst>
                                      </p:cBhvr>
                                      <p:tavLst>
                                        <p:tav tm="0">
                                          <p:val>
                                            <p:fltVal val="0"/>
                                          </p:val>
                                        </p:tav>
                                        <p:tav tm="100000">
                                          <p:val>
                                            <p:strVal val="#ppt_w"/>
                                          </p:val>
                                        </p:tav>
                                      </p:tavLst>
                                    </p:anim>
                                    <p:anim calcmode="lin" valueType="num">
                                      <p:cBhvr>
                                        <p:cTn id="43" dur="500" fill="hold"/>
                                        <p:tgtEl>
                                          <p:spTgt spid="24"/>
                                        </p:tgtEl>
                                        <p:attrNameLst>
                                          <p:attrName>ppt_h</p:attrName>
                                        </p:attrNameLst>
                                      </p:cBhvr>
                                      <p:tavLst>
                                        <p:tav tm="0">
                                          <p:val>
                                            <p:fltVal val="0"/>
                                          </p:val>
                                        </p:tav>
                                        <p:tav tm="100000">
                                          <p:val>
                                            <p:strVal val="#ppt_h"/>
                                          </p:val>
                                        </p:tav>
                                      </p:tavLst>
                                    </p:anim>
                                    <p:animEffect transition="in" filter="fade">
                                      <p:cBhvr>
                                        <p:cTn id="44" dur="500"/>
                                        <p:tgtEl>
                                          <p:spTgt spid="24"/>
                                        </p:tgtEl>
                                      </p:cBhvr>
                                    </p:animEffect>
                                  </p:childTnLst>
                                </p:cTn>
                              </p:par>
                              <p:par>
                                <p:cTn id="45" presetID="53" presetClass="entr" presetSubtype="16" fill="hold" nodeType="withEffect">
                                  <p:stCondLst>
                                    <p:cond delay="1050"/>
                                  </p:stCondLst>
                                  <p:childTnLst>
                                    <p:set>
                                      <p:cBhvr>
                                        <p:cTn id="46" dur="1" fill="hold">
                                          <p:stCondLst>
                                            <p:cond delay="0"/>
                                          </p:stCondLst>
                                        </p:cTn>
                                        <p:tgtEl>
                                          <p:spTgt spid="45"/>
                                        </p:tgtEl>
                                        <p:attrNameLst>
                                          <p:attrName>style.visibility</p:attrName>
                                        </p:attrNameLst>
                                      </p:cBhvr>
                                      <p:to>
                                        <p:strVal val="visible"/>
                                      </p:to>
                                    </p:set>
                                    <p:anim calcmode="lin" valueType="num">
                                      <p:cBhvr>
                                        <p:cTn id="47" dur="500" fill="hold"/>
                                        <p:tgtEl>
                                          <p:spTgt spid="45"/>
                                        </p:tgtEl>
                                        <p:attrNameLst>
                                          <p:attrName>ppt_w</p:attrName>
                                        </p:attrNameLst>
                                      </p:cBhvr>
                                      <p:tavLst>
                                        <p:tav tm="0">
                                          <p:val>
                                            <p:fltVal val="0"/>
                                          </p:val>
                                        </p:tav>
                                        <p:tav tm="100000">
                                          <p:val>
                                            <p:strVal val="#ppt_w"/>
                                          </p:val>
                                        </p:tav>
                                      </p:tavLst>
                                    </p:anim>
                                    <p:anim calcmode="lin" valueType="num">
                                      <p:cBhvr>
                                        <p:cTn id="48" dur="500" fill="hold"/>
                                        <p:tgtEl>
                                          <p:spTgt spid="45"/>
                                        </p:tgtEl>
                                        <p:attrNameLst>
                                          <p:attrName>ppt_h</p:attrName>
                                        </p:attrNameLst>
                                      </p:cBhvr>
                                      <p:tavLst>
                                        <p:tav tm="0">
                                          <p:val>
                                            <p:fltVal val="0"/>
                                          </p:val>
                                        </p:tav>
                                        <p:tav tm="100000">
                                          <p:val>
                                            <p:strVal val="#ppt_h"/>
                                          </p:val>
                                        </p:tav>
                                      </p:tavLst>
                                    </p:anim>
                                    <p:animEffect transition="in" filter="fade">
                                      <p:cBhvr>
                                        <p:cTn id="49" dur="500"/>
                                        <p:tgtEl>
                                          <p:spTgt spid="45"/>
                                        </p:tgtEl>
                                      </p:cBhvr>
                                    </p:animEffect>
                                  </p:childTnLst>
                                </p:cTn>
                              </p:par>
                              <p:par>
                                <p:cTn id="50" presetID="53" presetClass="entr" presetSubtype="16" fill="hold" nodeType="withEffect">
                                  <p:stCondLst>
                                    <p:cond delay="1150"/>
                                  </p:stCondLst>
                                  <p:childTnLst>
                                    <p:set>
                                      <p:cBhvr>
                                        <p:cTn id="51" dur="1" fill="hold">
                                          <p:stCondLst>
                                            <p:cond delay="0"/>
                                          </p:stCondLst>
                                        </p:cTn>
                                        <p:tgtEl>
                                          <p:spTgt spid="46"/>
                                        </p:tgtEl>
                                        <p:attrNameLst>
                                          <p:attrName>style.visibility</p:attrName>
                                        </p:attrNameLst>
                                      </p:cBhvr>
                                      <p:to>
                                        <p:strVal val="visible"/>
                                      </p:to>
                                    </p:set>
                                    <p:anim calcmode="lin" valueType="num">
                                      <p:cBhvr>
                                        <p:cTn id="52" dur="500" fill="hold"/>
                                        <p:tgtEl>
                                          <p:spTgt spid="46"/>
                                        </p:tgtEl>
                                        <p:attrNameLst>
                                          <p:attrName>ppt_w</p:attrName>
                                        </p:attrNameLst>
                                      </p:cBhvr>
                                      <p:tavLst>
                                        <p:tav tm="0">
                                          <p:val>
                                            <p:fltVal val="0"/>
                                          </p:val>
                                        </p:tav>
                                        <p:tav tm="100000">
                                          <p:val>
                                            <p:strVal val="#ppt_w"/>
                                          </p:val>
                                        </p:tav>
                                      </p:tavLst>
                                    </p:anim>
                                    <p:anim calcmode="lin" valueType="num">
                                      <p:cBhvr>
                                        <p:cTn id="53" dur="500" fill="hold"/>
                                        <p:tgtEl>
                                          <p:spTgt spid="46"/>
                                        </p:tgtEl>
                                        <p:attrNameLst>
                                          <p:attrName>ppt_h</p:attrName>
                                        </p:attrNameLst>
                                      </p:cBhvr>
                                      <p:tavLst>
                                        <p:tav tm="0">
                                          <p:val>
                                            <p:fltVal val="0"/>
                                          </p:val>
                                        </p:tav>
                                        <p:tav tm="100000">
                                          <p:val>
                                            <p:strVal val="#ppt_h"/>
                                          </p:val>
                                        </p:tav>
                                      </p:tavLst>
                                    </p:anim>
                                    <p:animEffect transition="in" filter="fade">
                                      <p:cBhvr>
                                        <p:cTn id="54" dur="500"/>
                                        <p:tgtEl>
                                          <p:spTgt spid="46"/>
                                        </p:tgtEl>
                                      </p:cBhvr>
                                    </p:animEffect>
                                  </p:childTnLst>
                                </p:cTn>
                              </p:par>
                              <p:par>
                                <p:cTn id="55" presetID="53" presetClass="entr" presetSubtype="16" fill="hold" nodeType="withEffect">
                                  <p:stCondLst>
                                    <p:cond delay="1250"/>
                                  </p:stCondLst>
                                  <p:childTnLst>
                                    <p:set>
                                      <p:cBhvr>
                                        <p:cTn id="56" dur="1" fill="hold">
                                          <p:stCondLst>
                                            <p:cond delay="0"/>
                                          </p:stCondLst>
                                        </p:cTn>
                                        <p:tgtEl>
                                          <p:spTgt spid="47"/>
                                        </p:tgtEl>
                                        <p:attrNameLst>
                                          <p:attrName>style.visibility</p:attrName>
                                        </p:attrNameLst>
                                      </p:cBhvr>
                                      <p:to>
                                        <p:strVal val="visible"/>
                                      </p:to>
                                    </p:set>
                                    <p:anim calcmode="lin" valueType="num">
                                      <p:cBhvr>
                                        <p:cTn id="57" dur="500" fill="hold"/>
                                        <p:tgtEl>
                                          <p:spTgt spid="47"/>
                                        </p:tgtEl>
                                        <p:attrNameLst>
                                          <p:attrName>ppt_w</p:attrName>
                                        </p:attrNameLst>
                                      </p:cBhvr>
                                      <p:tavLst>
                                        <p:tav tm="0">
                                          <p:val>
                                            <p:fltVal val="0"/>
                                          </p:val>
                                        </p:tav>
                                        <p:tav tm="100000">
                                          <p:val>
                                            <p:strVal val="#ppt_w"/>
                                          </p:val>
                                        </p:tav>
                                      </p:tavLst>
                                    </p:anim>
                                    <p:anim calcmode="lin" valueType="num">
                                      <p:cBhvr>
                                        <p:cTn id="58" dur="500" fill="hold"/>
                                        <p:tgtEl>
                                          <p:spTgt spid="47"/>
                                        </p:tgtEl>
                                        <p:attrNameLst>
                                          <p:attrName>ppt_h</p:attrName>
                                        </p:attrNameLst>
                                      </p:cBhvr>
                                      <p:tavLst>
                                        <p:tav tm="0">
                                          <p:val>
                                            <p:fltVal val="0"/>
                                          </p:val>
                                        </p:tav>
                                        <p:tav tm="100000">
                                          <p:val>
                                            <p:strVal val="#ppt_h"/>
                                          </p:val>
                                        </p:tav>
                                      </p:tavLst>
                                    </p:anim>
                                    <p:animEffect transition="in" filter="fade">
                                      <p:cBhvr>
                                        <p:cTn id="59" dur="500"/>
                                        <p:tgtEl>
                                          <p:spTgt spid="47"/>
                                        </p:tgtEl>
                                      </p:cBhvr>
                                    </p:animEffect>
                                  </p:childTnLst>
                                </p:cTn>
                              </p:par>
                              <p:par>
                                <p:cTn id="60" presetID="10" presetClass="entr" presetSubtype="0" fill="hold" grpId="0" nodeType="withEffect">
                                  <p:stCondLst>
                                    <p:cond delay="1000"/>
                                  </p:stCondLst>
                                  <p:childTnLst>
                                    <p:set>
                                      <p:cBhvr>
                                        <p:cTn id="61" dur="1" fill="hold">
                                          <p:stCondLst>
                                            <p:cond delay="0"/>
                                          </p:stCondLst>
                                        </p:cTn>
                                        <p:tgtEl>
                                          <p:spTgt spid="5"/>
                                        </p:tgtEl>
                                        <p:attrNameLst>
                                          <p:attrName>style.visibility</p:attrName>
                                        </p:attrNameLst>
                                      </p:cBhvr>
                                      <p:to>
                                        <p:strVal val="visible"/>
                                      </p:to>
                                    </p:set>
                                    <p:animEffect transition="in" filter="fade">
                                      <p:cBhvr>
                                        <p:cTn id="62" dur="250"/>
                                        <p:tgtEl>
                                          <p:spTgt spid="5"/>
                                        </p:tgtEl>
                                      </p:cBhvr>
                                    </p:animEffect>
                                  </p:childTnLst>
                                </p:cTn>
                              </p:par>
                              <p:par>
                                <p:cTn id="63" presetID="10" presetClass="entr" presetSubtype="0" fill="hold" grpId="0" nodeType="withEffect">
                                  <p:stCondLst>
                                    <p:cond delay="1100"/>
                                  </p:stCondLst>
                                  <p:childTnLst>
                                    <p:set>
                                      <p:cBhvr>
                                        <p:cTn id="64" dur="1" fill="hold">
                                          <p:stCondLst>
                                            <p:cond delay="0"/>
                                          </p:stCondLst>
                                        </p:cTn>
                                        <p:tgtEl>
                                          <p:spTgt spid="68"/>
                                        </p:tgtEl>
                                        <p:attrNameLst>
                                          <p:attrName>style.visibility</p:attrName>
                                        </p:attrNameLst>
                                      </p:cBhvr>
                                      <p:to>
                                        <p:strVal val="visible"/>
                                      </p:to>
                                    </p:set>
                                    <p:animEffect transition="in" filter="fade">
                                      <p:cBhvr>
                                        <p:cTn id="65" dur="250"/>
                                        <p:tgtEl>
                                          <p:spTgt spid="68"/>
                                        </p:tgtEl>
                                      </p:cBhvr>
                                    </p:animEffect>
                                  </p:childTnLst>
                                </p:cTn>
                              </p:par>
                              <p:par>
                                <p:cTn id="66" presetID="10" presetClass="entr" presetSubtype="0" fill="hold" grpId="0" nodeType="withEffect">
                                  <p:stCondLst>
                                    <p:cond delay="1200"/>
                                  </p:stCondLst>
                                  <p:childTnLst>
                                    <p:set>
                                      <p:cBhvr>
                                        <p:cTn id="67" dur="1" fill="hold">
                                          <p:stCondLst>
                                            <p:cond delay="0"/>
                                          </p:stCondLst>
                                        </p:cTn>
                                        <p:tgtEl>
                                          <p:spTgt spid="67"/>
                                        </p:tgtEl>
                                        <p:attrNameLst>
                                          <p:attrName>style.visibility</p:attrName>
                                        </p:attrNameLst>
                                      </p:cBhvr>
                                      <p:to>
                                        <p:strVal val="visible"/>
                                      </p:to>
                                    </p:set>
                                    <p:animEffect transition="in" filter="fade">
                                      <p:cBhvr>
                                        <p:cTn id="68" dur="250"/>
                                        <p:tgtEl>
                                          <p:spTgt spid="67"/>
                                        </p:tgtEl>
                                      </p:cBhvr>
                                    </p:animEffect>
                                  </p:childTnLst>
                                </p:cTn>
                              </p:par>
                              <p:par>
                                <p:cTn id="69" presetID="10" presetClass="entr" presetSubtype="0" fill="hold" grpId="0" nodeType="withEffect">
                                  <p:stCondLst>
                                    <p:cond delay="1300"/>
                                  </p:stCondLst>
                                  <p:childTnLst>
                                    <p:set>
                                      <p:cBhvr>
                                        <p:cTn id="70" dur="1" fill="hold">
                                          <p:stCondLst>
                                            <p:cond delay="0"/>
                                          </p:stCondLst>
                                        </p:cTn>
                                        <p:tgtEl>
                                          <p:spTgt spid="66"/>
                                        </p:tgtEl>
                                        <p:attrNameLst>
                                          <p:attrName>style.visibility</p:attrName>
                                        </p:attrNameLst>
                                      </p:cBhvr>
                                      <p:to>
                                        <p:strVal val="visible"/>
                                      </p:to>
                                    </p:set>
                                    <p:animEffect transition="in" filter="fade">
                                      <p:cBhvr>
                                        <p:cTn id="71" dur="250"/>
                                        <p:tgtEl>
                                          <p:spTgt spid="66"/>
                                        </p:tgtEl>
                                      </p:cBhvr>
                                    </p:animEffect>
                                  </p:childTnLst>
                                </p:cTn>
                              </p:par>
                              <p:par>
                                <p:cTn id="72" presetID="10" presetClass="entr" presetSubtype="0" fill="hold" grpId="0" nodeType="withEffect">
                                  <p:stCondLst>
                                    <p:cond delay="1400"/>
                                  </p:stCondLst>
                                  <p:childTnLst>
                                    <p:set>
                                      <p:cBhvr>
                                        <p:cTn id="73" dur="1" fill="hold">
                                          <p:stCondLst>
                                            <p:cond delay="0"/>
                                          </p:stCondLst>
                                        </p:cTn>
                                        <p:tgtEl>
                                          <p:spTgt spid="65"/>
                                        </p:tgtEl>
                                        <p:attrNameLst>
                                          <p:attrName>style.visibility</p:attrName>
                                        </p:attrNameLst>
                                      </p:cBhvr>
                                      <p:to>
                                        <p:strVal val="visible"/>
                                      </p:to>
                                    </p:set>
                                    <p:animEffect transition="in" filter="fade">
                                      <p:cBhvr>
                                        <p:cTn id="74" dur="250"/>
                                        <p:tgtEl>
                                          <p:spTgt spid="65"/>
                                        </p:tgtEl>
                                      </p:cBhvr>
                                    </p:animEffect>
                                  </p:childTnLst>
                                </p:cTn>
                              </p:par>
                              <p:par>
                                <p:cTn id="75" presetID="10" presetClass="entr" presetSubtype="0" fill="hold" grpId="0" nodeType="withEffect">
                                  <p:stCondLst>
                                    <p:cond delay="1500"/>
                                  </p:stCondLst>
                                  <p:childTnLst>
                                    <p:set>
                                      <p:cBhvr>
                                        <p:cTn id="76" dur="1" fill="hold">
                                          <p:stCondLst>
                                            <p:cond delay="0"/>
                                          </p:stCondLst>
                                        </p:cTn>
                                        <p:tgtEl>
                                          <p:spTgt spid="64"/>
                                        </p:tgtEl>
                                        <p:attrNameLst>
                                          <p:attrName>style.visibility</p:attrName>
                                        </p:attrNameLst>
                                      </p:cBhvr>
                                      <p:to>
                                        <p:strVal val="visible"/>
                                      </p:to>
                                    </p:set>
                                    <p:animEffect transition="in" filter="fade">
                                      <p:cBhvr>
                                        <p:cTn id="77" dur="250"/>
                                        <p:tgtEl>
                                          <p:spTgt spid="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tmplLst>
          <p:tmpl>
            <p:tnLst>
              <p:par>
                <p:cTn presetID="10" presetClass="entr" presetSubtype="0" fill="hold" nodeType="withEffect">
                  <p:stCondLst>
                    <p:cond delay="1000"/>
                  </p:stCondLst>
                  <p:childTnLst>
                    <p:set>
                      <p:cBhvr>
                        <p:cTn dur="1" fill="hold">
                          <p:stCondLst>
                            <p:cond delay="0"/>
                          </p:stCondLst>
                        </p:cTn>
                        <p:tgtEl>
                          <p:spTgt spid="5"/>
                        </p:tgtEl>
                        <p:attrNameLst>
                          <p:attrName>style.visibility</p:attrName>
                        </p:attrNameLst>
                      </p:cBhvr>
                      <p:to>
                        <p:strVal val="visible"/>
                      </p:to>
                    </p:set>
                    <p:animEffect transition="in" filter="fade">
                      <p:cBhvr>
                        <p:cTn dur="250"/>
                        <p:tgtEl>
                          <p:spTgt spid="5"/>
                        </p:tgtEl>
                      </p:cBhvr>
                    </p:animEffect>
                  </p:childTnLst>
                </p:cTn>
              </p:par>
            </p:tnLst>
          </p:tmpl>
        </p:tmplLst>
      </p:bldP>
      <p:bldP spid="64" grpId="0">
        <p:tmplLst>
          <p:tmpl>
            <p:tnLst>
              <p:par>
                <p:cTn presetID="10" presetClass="entr" presetSubtype="0" fill="hold" nodeType="withEffect">
                  <p:stCondLst>
                    <p:cond delay="1500"/>
                  </p:stCondLst>
                  <p:childTnLst>
                    <p:set>
                      <p:cBhvr>
                        <p:cTn dur="1" fill="hold">
                          <p:stCondLst>
                            <p:cond delay="0"/>
                          </p:stCondLst>
                        </p:cTn>
                        <p:tgtEl>
                          <p:spTgt spid="64"/>
                        </p:tgtEl>
                        <p:attrNameLst>
                          <p:attrName>style.visibility</p:attrName>
                        </p:attrNameLst>
                      </p:cBhvr>
                      <p:to>
                        <p:strVal val="visible"/>
                      </p:to>
                    </p:set>
                    <p:animEffect transition="in" filter="fade">
                      <p:cBhvr>
                        <p:cTn dur="250"/>
                        <p:tgtEl>
                          <p:spTgt spid="64"/>
                        </p:tgtEl>
                      </p:cBhvr>
                    </p:animEffect>
                  </p:childTnLst>
                </p:cTn>
              </p:par>
            </p:tnLst>
          </p:tmpl>
        </p:tmplLst>
      </p:bldP>
      <p:bldP spid="65" grpId="0">
        <p:tmplLst>
          <p:tmpl>
            <p:tnLst>
              <p:par>
                <p:cTn presetID="10" presetClass="entr" presetSubtype="0" fill="hold" nodeType="withEffect">
                  <p:stCondLst>
                    <p:cond delay="1400"/>
                  </p:stCondLst>
                  <p:childTnLst>
                    <p:set>
                      <p:cBhvr>
                        <p:cTn dur="1" fill="hold">
                          <p:stCondLst>
                            <p:cond delay="0"/>
                          </p:stCondLst>
                        </p:cTn>
                        <p:tgtEl>
                          <p:spTgt spid="65"/>
                        </p:tgtEl>
                        <p:attrNameLst>
                          <p:attrName>style.visibility</p:attrName>
                        </p:attrNameLst>
                      </p:cBhvr>
                      <p:to>
                        <p:strVal val="visible"/>
                      </p:to>
                    </p:set>
                    <p:animEffect transition="in" filter="fade">
                      <p:cBhvr>
                        <p:cTn dur="250"/>
                        <p:tgtEl>
                          <p:spTgt spid="65"/>
                        </p:tgtEl>
                      </p:cBhvr>
                    </p:animEffect>
                  </p:childTnLst>
                </p:cTn>
              </p:par>
            </p:tnLst>
          </p:tmpl>
        </p:tmplLst>
      </p:bldP>
      <p:bldP spid="66" grpId="0">
        <p:tmplLst>
          <p:tmpl>
            <p:tnLst>
              <p:par>
                <p:cTn presetID="10" presetClass="entr" presetSubtype="0" fill="hold" nodeType="withEffect">
                  <p:stCondLst>
                    <p:cond delay="1300"/>
                  </p:stCondLst>
                  <p:childTnLst>
                    <p:set>
                      <p:cBhvr>
                        <p:cTn dur="1" fill="hold">
                          <p:stCondLst>
                            <p:cond delay="0"/>
                          </p:stCondLst>
                        </p:cTn>
                        <p:tgtEl>
                          <p:spTgt spid="66"/>
                        </p:tgtEl>
                        <p:attrNameLst>
                          <p:attrName>style.visibility</p:attrName>
                        </p:attrNameLst>
                      </p:cBhvr>
                      <p:to>
                        <p:strVal val="visible"/>
                      </p:to>
                    </p:set>
                    <p:animEffect transition="in" filter="fade">
                      <p:cBhvr>
                        <p:cTn dur="250"/>
                        <p:tgtEl>
                          <p:spTgt spid="66"/>
                        </p:tgtEl>
                      </p:cBhvr>
                    </p:animEffect>
                  </p:childTnLst>
                </p:cTn>
              </p:par>
            </p:tnLst>
          </p:tmpl>
        </p:tmplLst>
      </p:bldP>
      <p:bldP spid="67" grpId="0">
        <p:tmplLst>
          <p:tmpl>
            <p:tnLst>
              <p:par>
                <p:cTn presetID="10" presetClass="entr" presetSubtype="0" fill="hold" nodeType="withEffect">
                  <p:stCondLst>
                    <p:cond delay="1200"/>
                  </p:stCondLst>
                  <p:childTnLst>
                    <p:set>
                      <p:cBhvr>
                        <p:cTn dur="1" fill="hold">
                          <p:stCondLst>
                            <p:cond delay="0"/>
                          </p:stCondLst>
                        </p:cTn>
                        <p:tgtEl>
                          <p:spTgt spid="67"/>
                        </p:tgtEl>
                        <p:attrNameLst>
                          <p:attrName>style.visibility</p:attrName>
                        </p:attrNameLst>
                      </p:cBhvr>
                      <p:to>
                        <p:strVal val="visible"/>
                      </p:to>
                    </p:set>
                    <p:animEffect transition="in" filter="fade">
                      <p:cBhvr>
                        <p:cTn dur="250"/>
                        <p:tgtEl>
                          <p:spTgt spid="67"/>
                        </p:tgtEl>
                      </p:cBhvr>
                    </p:animEffect>
                  </p:childTnLst>
                </p:cTn>
              </p:par>
            </p:tnLst>
          </p:tmpl>
        </p:tmplLst>
      </p:bldP>
      <p:bldP spid="68" grpId="0">
        <p:tmplLst>
          <p:tmpl>
            <p:tnLst>
              <p:par>
                <p:cTn presetID="10" presetClass="entr" presetSubtype="0" fill="hold" nodeType="withEffect">
                  <p:stCondLst>
                    <p:cond delay="1100"/>
                  </p:stCondLst>
                  <p:childTnLst>
                    <p:set>
                      <p:cBhvr>
                        <p:cTn dur="1" fill="hold">
                          <p:stCondLst>
                            <p:cond delay="0"/>
                          </p:stCondLst>
                        </p:cTn>
                        <p:tgtEl>
                          <p:spTgt spid="68"/>
                        </p:tgtEl>
                        <p:attrNameLst>
                          <p:attrName>style.visibility</p:attrName>
                        </p:attrNameLst>
                      </p:cBhvr>
                      <p:to>
                        <p:strVal val="visible"/>
                      </p:to>
                    </p:set>
                    <p:animEffect transition="in" filter="fade">
                      <p:cBhvr>
                        <p:cTn dur="250"/>
                        <p:tgtEl>
                          <p:spTgt spid="68"/>
                        </p:tgtEl>
                      </p:cBhvr>
                    </p:animEffect>
                  </p:childTnLst>
                </p:cTn>
              </p:par>
            </p:tnLst>
          </p:tmpl>
        </p:tmplLst>
      </p:bldP>
    </p:bld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HIghlights">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44" name="Freeform 13"/>
          <p:cNvSpPr>
            <a:spLocks noEditPoints="1"/>
          </p:cNvSpPr>
          <p:nvPr userDrawn="1"/>
        </p:nvSpPr>
        <p:spPr bwMode="auto">
          <a:xfrm rot="21197796">
            <a:off x="3634317" y="977902"/>
            <a:ext cx="4921251" cy="4904317"/>
          </a:xfrm>
          <a:custGeom>
            <a:avLst/>
            <a:gdLst>
              <a:gd name="T0" fmla="*/ 2825 w 3041"/>
              <a:gd name="T1" fmla="*/ 1515 h 3029"/>
              <a:gd name="T2" fmla="*/ 2999 w 3041"/>
              <a:gd name="T3" fmla="*/ 1056 h 3029"/>
              <a:gd name="T4" fmla="*/ 2998 w 3041"/>
              <a:gd name="T5" fmla="*/ 1054 h 3029"/>
              <a:gd name="T6" fmla="*/ 2891 w 3041"/>
              <a:gd name="T7" fmla="*/ 780 h 3029"/>
              <a:gd name="T8" fmla="*/ 2891 w 3041"/>
              <a:gd name="T9" fmla="*/ 778 h 3029"/>
              <a:gd name="T10" fmla="*/ 2430 w 3041"/>
              <a:gd name="T11" fmla="*/ 582 h 3029"/>
              <a:gd name="T12" fmla="*/ 2441 w 3041"/>
              <a:gd name="T13" fmla="*/ 294 h 3029"/>
              <a:gd name="T14" fmla="*/ 2173 w 3041"/>
              <a:gd name="T15" fmla="*/ 388 h 3029"/>
              <a:gd name="T16" fmla="*/ 1876 w 3041"/>
              <a:gd name="T17" fmla="*/ 25 h 3029"/>
              <a:gd name="T18" fmla="*/ 1527 w 3041"/>
              <a:gd name="T19" fmla="*/ 0 h 3029"/>
              <a:gd name="T20" fmla="*/ 1178 w 3041"/>
              <a:gd name="T21" fmla="*/ 264 h 3029"/>
              <a:gd name="T22" fmla="*/ 933 w 3041"/>
              <a:gd name="T23" fmla="*/ 111 h 3029"/>
              <a:gd name="T24" fmla="*/ 864 w 3041"/>
              <a:gd name="T25" fmla="*/ 399 h 3029"/>
              <a:gd name="T26" fmla="*/ 414 w 3041"/>
              <a:gd name="T27" fmla="*/ 467 h 3029"/>
              <a:gd name="T28" fmla="*/ 212 w 3041"/>
              <a:gd name="T29" fmla="*/ 743 h 3029"/>
              <a:gd name="T30" fmla="*/ 268 w 3041"/>
              <a:gd name="T31" fmla="*/ 1198 h 3029"/>
              <a:gd name="T32" fmla="*/ 14 w 3041"/>
              <a:gd name="T33" fmla="*/ 1332 h 3029"/>
              <a:gd name="T34" fmla="*/ 229 w 3041"/>
              <a:gd name="T35" fmla="*/ 1520 h 3029"/>
              <a:gd name="T36" fmla="*/ 61 w 3041"/>
              <a:gd name="T37" fmla="*/ 1959 h 3029"/>
              <a:gd name="T38" fmla="*/ 190 w 3041"/>
              <a:gd name="T39" fmla="*/ 2263 h 3029"/>
              <a:gd name="T40" fmla="*/ 621 w 3041"/>
              <a:gd name="T41" fmla="*/ 2444 h 3029"/>
              <a:gd name="T42" fmla="*/ 610 w 3041"/>
              <a:gd name="T43" fmla="*/ 2732 h 3029"/>
              <a:gd name="T44" fmla="*/ 886 w 3041"/>
              <a:gd name="T45" fmla="*/ 2644 h 3029"/>
              <a:gd name="T46" fmla="*/ 1176 w 3041"/>
              <a:gd name="T47" fmla="*/ 3002 h 3029"/>
              <a:gd name="T48" fmla="*/ 1527 w 3041"/>
              <a:gd name="T49" fmla="*/ 3029 h 3029"/>
              <a:gd name="T50" fmla="*/ 1527 w 3041"/>
              <a:gd name="T51" fmla="*/ 2813 h 3029"/>
              <a:gd name="T52" fmla="*/ 1986 w 3041"/>
              <a:gd name="T53" fmla="*/ 2986 h 3029"/>
              <a:gd name="T54" fmla="*/ 2262 w 3041"/>
              <a:gd name="T55" fmla="*/ 2879 h 3029"/>
              <a:gd name="T56" fmla="*/ 2459 w 3041"/>
              <a:gd name="T57" fmla="*/ 2418 h 3029"/>
              <a:gd name="T58" fmla="*/ 2747 w 3041"/>
              <a:gd name="T59" fmla="*/ 2430 h 3029"/>
              <a:gd name="T60" fmla="*/ 2653 w 3041"/>
              <a:gd name="T61" fmla="*/ 2161 h 3029"/>
              <a:gd name="T62" fmla="*/ 3017 w 3041"/>
              <a:gd name="T63" fmla="*/ 1865 h 3029"/>
              <a:gd name="T64" fmla="*/ 3041 w 3041"/>
              <a:gd name="T65" fmla="*/ 1516 h 3029"/>
              <a:gd name="T66" fmla="*/ 1962 w 3041"/>
              <a:gd name="T67" fmla="*/ 2545 h 3029"/>
              <a:gd name="T68" fmla="*/ 1092 w 3041"/>
              <a:gd name="T69" fmla="*/ 2545 h 3029"/>
              <a:gd name="T70" fmla="*/ 497 w 3041"/>
              <a:gd name="T71" fmla="*/ 1950 h 3029"/>
              <a:gd name="T72" fmla="*/ 497 w 3041"/>
              <a:gd name="T73" fmla="*/ 1080 h 3029"/>
              <a:gd name="T74" fmla="*/ 1092 w 3041"/>
              <a:gd name="T75" fmla="*/ 485 h 3029"/>
              <a:gd name="T76" fmla="*/ 1962 w 3041"/>
              <a:gd name="T77" fmla="*/ 485 h 3029"/>
              <a:gd name="T78" fmla="*/ 2557 w 3041"/>
              <a:gd name="T79" fmla="*/ 1080 h 3029"/>
              <a:gd name="T80" fmla="*/ 2557 w 3041"/>
              <a:gd name="T81" fmla="*/ 1950 h 3029"/>
              <a:gd name="T82" fmla="*/ 1962 w 3041"/>
              <a:gd name="T83" fmla="*/ 2545 h 3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41" h="3029">
                <a:moveTo>
                  <a:pt x="2825" y="1516"/>
                </a:moveTo>
                <a:cubicBezTo>
                  <a:pt x="2825" y="1515"/>
                  <a:pt x="2825" y="1515"/>
                  <a:pt x="2825" y="1515"/>
                </a:cubicBezTo>
                <a:cubicBezTo>
                  <a:pt x="2825" y="1394"/>
                  <a:pt x="2809" y="1277"/>
                  <a:pt x="2778" y="1167"/>
                </a:cubicBezTo>
                <a:cubicBezTo>
                  <a:pt x="2999" y="1056"/>
                  <a:pt x="2999" y="1056"/>
                  <a:pt x="2999" y="1056"/>
                </a:cubicBezTo>
                <a:cubicBezTo>
                  <a:pt x="2998" y="1054"/>
                  <a:pt x="2998" y="1054"/>
                  <a:pt x="2998" y="1054"/>
                </a:cubicBezTo>
                <a:cubicBezTo>
                  <a:pt x="2998" y="1054"/>
                  <a:pt x="2998" y="1054"/>
                  <a:pt x="2998" y="1054"/>
                </a:cubicBezTo>
                <a:cubicBezTo>
                  <a:pt x="2932" y="922"/>
                  <a:pt x="2932" y="922"/>
                  <a:pt x="2932" y="922"/>
                </a:cubicBezTo>
                <a:cubicBezTo>
                  <a:pt x="2891" y="780"/>
                  <a:pt x="2891" y="780"/>
                  <a:pt x="2891" y="780"/>
                </a:cubicBezTo>
                <a:cubicBezTo>
                  <a:pt x="2891" y="780"/>
                  <a:pt x="2891" y="780"/>
                  <a:pt x="2891" y="780"/>
                </a:cubicBezTo>
                <a:cubicBezTo>
                  <a:pt x="2891" y="778"/>
                  <a:pt x="2891" y="778"/>
                  <a:pt x="2891" y="778"/>
                </a:cubicBezTo>
                <a:cubicBezTo>
                  <a:pt x="2642" y="849"/>
                  <a:pt x="2642" y="849"/>
                  <a:pt x="2642" y="849"/>
                </a:cubicBezTo>
                <a:cubicBezTo>
                  <a:pt x="2583" y="751"/>
                  <a:pt x="2512" y="661"/>
                  <a:pt x="2430" y="582"/>
                </a:cubicBezTo>
                <a:cubicBezTo>
                  <a:pt x="2574" y="401"/>
                  <a:pt x="2574" y="401"/>
                  <a:pt x="2574" y="401"/>
                </a:cubicBezTo>
                <a:cubicBezTo>
                  <a:pt x="2441" y="294"/>
                  <a:pt x="2441" y="294"/>
                  <a:pt x="2441" y="294"/>
                </a:cubicBezTo>
                <a:cubicBezTo>
                  <a:pt x="2298" y="199"/>
                  <a:pt x="2298" y="199"/>
                  <a:pt x="2298" y="199"/>
                </a:cubicBezTo>
                <a:cubicBezTo>
                  <a:pt x="2173" y="388"/>
                  <a:pt x="2173" y="388"/>
                  <a:pt x="2173" y="388"/>
                </a:cubicBezTo>
                <a:cubicBezTo>
                  <a:pt x="2071" y="330"/>
                  <a:pt x="1960" y="285"/>
                  <a:pt x="1843" y="256"/>
                </a:cubicBezTo>
                <a:cubicBezTo>
                  <a:pt x="1876" y="25"/>
                  <a:pt x="1876" y="25"/>
                  <a:pt x="1876" y="25"/>
                </a:cubicBezTo>
                <a:cubicBezTo>
                  <a:pt x="1702" y="0"/>
                  <a:pt x="1702" y="0"/>
                  <a:pt x="1702" y="0"/>
                </a:cubicBezTo>
                <a:cubicBezTo>
                  <a:pt x="1527" y="0"/>
                  <a:pt x="1527" y="0"/>
                  <a:pt x="1527" y="0"/>
                </a:cubicBezTo>
                <a:cubicBezTo>
                  <a:pt x="1527" y="217"/>
                  <a:pt x="1527" y="217"/>
                  <a:pt x="1527" y="217"/>
                </a:cubicBezTo>
                <a:cubicBezTo>
                  <a:pt x="1406" y="217"/>
                  <a:pt x="1289" y="233"/>
                  <a:pt x="1178" y="264"/>
                </a:cubicBezTo>
                <a:cubicBezTo>
                  <a:pt x="1067" y="44"/>
                  <a:pt x="1067" y="44"/>
                  <a:pt x="1067" y="44"/>
                </a:cubicBezTo>
                <a:cubicBezTo>
                  <a:pt x="933" y="111"/>
                  <a:pt x="933" y="111"/>
                  <a:pt x="933" y="111"/>
                </a:cubicBezTo>
                <a:cubicBezTo>
                  <a:pt x="789" y="155"/>
                  <a:pt x="789" y="155"/>
                  <a:pt x="789" y="155"/>
                </a:cubicBezTo>
                <a:cubicBezTo>
                  <a:pt x="864" y="399"/>
                  <a:pt x="864" y="399"/>
                  <a:pt x="864" y="399"/>
                </a:cubicBezTo>
                <a:cubicBezTo>
                  <a:pt x="765" y="458"/>
                  <a:pt x="674" y="530"/>
                  <a:pt x="595" y="612"/>
                </a:cubicBezTo>
                <a:cubicBezTo>
                  <a:pt x="414" y="467"/>
                  <a:pt x="414" y="467"/>
                  <a:pt x="414" y="467"/>
                </a:cubicBezTo>
                <a:cubicBezTo>
                  <a:pt x="307" y="601"/>
                  <a:pt x="307" y="601"/>
                  <a:pt x="307" y="601"/>
                </a:cubicBezTo>
                <a:cubicBezTo>
                  <a:pt x="212" y="743"/>
                  <a:pt x="212" y="743"/>
                  <a:pt x="212" y="743"/>
                </a:cubicBezTo>
                <a:cubicBezTo>
                  <a:pt x="401" y="869"/>
                  <a:pt x="401" y="869"/>
                  <a:pt x="401" y="869"/>
                </a:cubicBezTo>
                <a:cubicBezTo>
                  <a:pt x="342" y="971"/>
                  <a:pt x="297" y="1081"/>
                  <a:pt x="268" y="1198"/>
                </a:cubicBezTo>
                <a:cubicBezTo>
                  <a:pt x="38" y="1165"/>
                  <a:pt x="38" y="1165"/>
                  <a:pt x="38" y="1165"/>
                </a:cubicBezTo>
                <a:cubicBezTo>
                  <a:pt x="14" y="1332"/>
                  <a:pt x="14" y="1332"/>
                  <a:pt x="14" y="1332"/>
                </a:cubicBezTo>
                <a:cubicBezTo>
                  <a:pt x="0" y="1501"/>
                  <a:pt x="0" y="1501"/>
                  <a:pt x="0" y="1501"/>
                </a:cubicBezTo>
                <a:cubicBezTo>
                  <a:pt x="229" y="1520"/>
                  <a:pt x="229" y="1520"/>
                  <a:pt x="229" y="1520"/>
                </a:cubicBezTo>
                <a:cubicBezTo>
                  <a:pt x="230" y="1641"/>
                  <a:pt x="247" y="1758"/>
                  <a:pt x="278" y="1869"/>
                </a:cubicBezTo>
                <a:cubicBezTo>
                  <a:pt x="61" y="1959"/>
                  <a:pt x="61" y="1959"/>
                  <a:pt x="61" y="1959"/>
                </a:cubicBezTo>
                <a:cubicBezTo>
                  <a:pt x="124" y="2111"/>
                  <a:pt x="124" y="2111"/>
                  <a:pt x="124" y="2111"/>
                </a:cubicBezTo>
                <a:cubicBezTo>
                  <a:pt x="190" y="2263"/>
                  <a:pt x="190" y="2263"/>
                  <a:pt x="190" y="2263"/>
                </a:cubicBezTo>
                <a:cubicBezTo>
                  <a:pt x="407" y="2170"/>
                  <a:pt x="407" y="2170"/>
                  <a:pt x="407" y="2170"/>
                </a:cubicBezTo>
                <a:cubicBezTo>
                  <a:pt x="466" y="2271"/>
                  <a:pt x="538" y="2363"/>
                  <a:pt x="621" y="2444"/>
                </a:cubicBezTo>
                <a:cubicBezTo>
                  <a:pt x="480" y="2638"/>
                  <a:pt x="480" y="2638"/>
                  <a:pt x="480" y="2638"/>
                </a:cubicBezTo>
                <a:cubicBezTo>
                  <a:pt x="610" y="2732"/>
                  <a:pt x="610" y="2732"/>
                  <a:pt x="610" y="2732"/>
                </a:cubicBezTo>
                <a:cubicBezTo>
                  <a:pt x="735" y="2833"/>
                  <a:pt x="735" y="2833"/>
                  <a:pt x="735" y="2833"/>
                </a:cubicBezTo>
                <a:cubicBezTo>
                  <a:pt x="886" y="2644"/>
                  <a:pt x="886" y="2644"/>
                  <a:pt x="886" y="2644"/>
                </a:cubicBezTo>
                <a:cubicBezTo>
                  <a:pt x="987" y="2701"/>
                  <a:pt x="1096" y="2745"/>
                  <a:pt x="1211" y="2774"/>
                </a:cubicBezTo>
                <a:cubicBezTo>
                  <a:pt x="1176" y="3002"/>
                  <a:pt x="1176" y="3002"/>
                  <a:pt x="1176" y="3002"/>
                </a:cubicBezTo>
                <a:cubicBezTo>
                  <a:pt x="1350" y="3029"/>
                  <a:pt x="1350" y="3029"/>
                  <a:pt x="1350" y="3029"/>
                </a:cubicBezTo>
                <a:cubicBezTo>
                  <a:pt x="1527" y="3029"/>
                  <a:pt x="1527" y="3029"/>
                  <a:pt x="1527" y="3029"/>
                </a:cubicBezTo>
                <a:cubicBezTo>
                  <a:pt x="1527" y="2813"/>
                  <a:pt x="1527" y="2813"/>
                  <a:pt x="1527" y="2813"/>
                </a:cubicBezTo>
                <a:cubicBezTo>
                  <a:pt x="1527" y="2813"/>
                  <a:pt x="1527" y="2813"/>
                  <a:pt x="1527" y="2813"/>
                </a:cubicBezTo>
                <a:cubicBezTo>
                  <a:pt x="1648" y="2813"/>
                  <a:pt x="1765" y="2796"/>
                  <a:pt x="1876" y="2765"/>
                </a:cubicBezTo>
                <a:cubicBezTo>
                  <a:pt x="1986" y="2986"/>
                  <a:pt x="1986" y="2986"/>
                  <a:pt x="1986" y="2986"/>
                </a:cubicBezTo>
                <a:cubicBezTo>
                  <a:pt x="2119" y="2920"/>
                  <a:pt x="2119" y="2920"/>
                  <a:pt x="2119" y="2920"/>
                </a:cubicBezTo>
                <a:cubicBezTo>
                  <a:pt x="2262" y="2879"/>
                  <a:pt x="2262" y="2879"/>
                  <a:pt x="2262" y="2879"/>
                </a:cubicBezTo>
                <a:cubicBezTo>
                  <a:pt x="2191" y="2630"/>
                  <a:pt x="2191" y="2630"/>
                  <a:pt x="2191" y="2630"/>
                </a:cubicBezTo>
                <a:cubicBezTo>
                  <a:pt x="2290" y="2571"/>
                  <a:pt x="2380" y="2500"/>
                  <a:pt x="2459" y="2418"/>
                </a:cubicBezTo>
                <a:cubicBezTo>
                  <a:pt x="2640" y="2563"/>
                  <a:pt x="2640" y="2563"/>
                  <a:pt x="2640" y="2563"/>
                </a:cubicBezTo>
                <a:cubicBezTo>
                  <a:pt x="2747" y="2430"/>
                  <a:pt x="2747" y="2430"/>
                  <a:pt x="2747" y="2430"/>
                </a:cubicBezTo>
                <a:cubicBezTo>
                  <a:pt x="2842" y="2287"/>
                  <a:pt x="2842" y="2287"/>
                  <a:pt x="2842" y="2287"/>
                </a:cubicBezTo>
                <a:cubicBezTo>
                  <a:pt x="2653" y="2161"/>
                  <a:pt x="2653" y="2161"/>
                  <a:pt x="2653" y="2161"/>
                </a:cubicBezTo>
                <a:cubicBezTo>
                  <a:pt x="2711" y="2060"/>
                  <a:pt x="2757" y="1949"/>
                  <a:pt x="2786" y="1832"/>
                </a:cubicBezTo>
                <a:cubicBezTo>
                  <a:pt x="3017" y="1865"/>
                  <a:pt x="3017" y="1865"/>
                  <a:pt x="3017" y="1865"/>
                </a:cubicBezTo>
                <a:cubicBezTo>
                  <a:pt x="3041" y="1691"/>
                  <a:pt x="3041" y="1691"/>
                  <a:pt x="3041" y="1691"/>
                </a:cubicBezTo>
                <a:cubicBezTo>
                  <a:pt x="3041" y="1516"/>
                  <a:pt x="3041" y="1516"/>
                  <a:pt x="3041" y="1516"/>
                </a:cubicBezTo>
                <a:lnTo>
                  <a:pt x="2825" y="1516"/>
                </a:lnTo>
                <a:close/>
                <a:moveTo>
                  <a:pt x="1962" y="2545"/>
                </a:moveTo>
                <a:cubicBezTo>
                  <a:pt x="1825" y="2603"/>
                  <a:pt x="1678" y="2633"/>
                  <a:pt x="1527" y="2633"/>
                </a:cubicBezTo>
                <a:cubicBezTo>
                  <a:pt x="1376" y="2633"/>
                  <a:pt x="1230" y="2603"/>
                  <a:pt x="1092" y="2545"/>
                </a:cubicBezTo>
                <a:cubicBezTo>
                  <a:pt x="959" y="2489"/>
                  <a:pt x="839" y="2408"/>
                  <a:pt x="737" y="2305"/>
                </a:cubicBezTo>
                <a:cubicBezTo>
                  <a:pt x="634" y="2203"/>
                  <a:pt x="553" y="2083"/>
                  <a:pt x="497" y="1950"/>
                </a:cubicBezTo>
                <a:cubicBezTo>
                  <a:pt x="439" y="1812"/>
                  <a:pt x="409" y="1666"/>
                  <a:pt x="409" y="1515"/>
                </a:cubicBezTo>
                <a:cubicBezTo>
                  <a:pt x="409" y="1364"/>
                  <a:pt x="439" y="1217"/>
                  <a:pt x="497" y="1080"/>
                </a:cubicBezTo>
                <a:cubicBezTo>
                  <a:pt x="553" y="947"/>
                  <a:pt x="634" y="827"/>
                  <a:pt x="737" y="724"/>
                </a:cubicBezTo>
                <a:cubicBezTo>
                  <a:pt x="839" y="621"/>
                  <a:pt x="959" y="541"/>
                  <a:pt x="1092" y="485"/>
                </a:cubicBezTo>
                <a:cubicBezTo>
                  <a:pt x="1230" y="426"/>
                  <a:pt x="1376" y="397"/>
                  <a:pt x="1527" y="397"/>
                </a:cubicBezTo>
                <a:cubicBezTo>
                  <a:pt x="1678" y="397"/>
                  <a:pt x="1825" y="426"/>
                  <a:pt x="1962" y="485"/>
                </a:cubicBezTo>
                <a:cubicBezTo>
                  <a:pt x="2095" y="541"/>
                  <a:pt x="2215" y="621"/>
                  <a:pt x="2318" y="724"/>
                </a:cubicBezTo>
                <a:cubicBezTo>
                  <a:pt x="2420" y="827"/>
                  <a:pt x="2501" y="947"/>
                  <a:pt x="2557" y="1080"/>
                </a:cubicBezTo>
                <a:cubicBezTo>
                  <a:pt x="2616" y="1217"/>
                  <a:pt x="2645" y="1364"/>
                  <a:pt x="2645" y="1515"/>
                </a:cubicBezTo>
                <a:cubicBezTo>
                  <a:pt x="2645" y="1666"/>
                  <a:pt x="2616" y="1812"/>
                  <a:pt x="2557" y="1950"/>
                </a:cubicBezTo>
                <a:cubicBezTo>
                  <a:pt x="2501" y="2083"/>
                  <a:pt x="2420" y="2203"/>
                  <a:pt x="2318" y="2305"/>
                </a:cubicBezTo>
                <a:cubicBezTo>
                  <a:pt x="2215" y="2408"/>
                  <a:pt x="2095" y="2489"/>
                  <a:pt x="1962" y="2545"/>
                </a:cubicBezTo>
                <a:close/>
              </a:path>
            </a:pathLst>
          </a:custGeom>
          <a:gradFill>
            <a:gsLst>
              <a:gs pos="0">
                <a:srgbClr val="032145">
                  <a:lumMod val="25000"/>
                  <a:lumOff val="75000"/>
                </a:srgbClr>
              </a:gs>
              <a:gs pos="100000">
                <a:srgbClr val="032145">
                  <a:alpha val="27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5" name="Freeform 17"/>
          <p:cNvSpPr>
            <a:spLocks noEditPoints="1"/>
          </p:cNvSpPr>
          <p:nvPr userDrawn="1"/>
        </p:nvSpPr>
        <p:spPr bwMode="auto">
          <a:xfrm rot="1144636">
            <a:off x="1274471" y="3042352"/>
            <a:ext cx="2668971" cy="2675569"/>
          </a:xfrm>
          <a:custGeom>
            <a:avLst/>
            <a:gdLst>
              <a:gd name="T0" fmla="*/ 1687 w 1890"/>
              <a:gd name="T1" fmla="*/ 999 h 1892"/>
              <a:gd name="T2" fmla="*/ 1632 w 1890"/>
              <a:gd name="T3" fmla="*/ 675 h 1892"/>
              <a:gd name="T4" fmla="*/ 1809 w 1890"/>
              <a:gd name="T5" fmla="*/ 533 h 1892"/>
              <a:gd name="T6" fmla="*/ 1808 w 1890"/>
              <a:gd name="T7" fmla="*/ 533 h 1892"/>
              <a:gd name="T8" fmla="*/ 1808 w 1890"/>
              <a:gd name="T9" fmla="*/ 533 h 1892"/>
              <a:gd name="T10" fmla="*/ 1713 w 1890"/>
              <a:gd name="T11" fmla="*/ 414 h 1892"/>
              <a:gd name="T12" fmla="*/ 1637 w 1890"/>
              <a:gd name="T13" fmla="*/ 283 h 1892"/>
              <a:gd name="T14" fmla="*/ 1637 w 1890"/>
              <a:gd name="T15" fmla="*/ 283 h 1892"/>
              <a:gd name="T16" fmla="*/ 1637 w 1890"/>
              <a:gd name="T17" fmla="*/ 283 h 1892"/>
              <a:gd name="T18" fmla="*/ 1433 w 1890"/>
              <a:gd name="T19" fmla="*/ 401 h 1892"/>
              <a:gd name="T20" fmla="*/ 1152 w 1890"/>
              <a:gd name="T21" fmla="*/ 249 h 1892"/>
              <a:gd name="T22" fmla="*/ 1152 w 1890"/>
              <a:gd name="T23" fmla="*/ 23 h 1892"/>
              <a:gd name="T24" fmla="*/ 1000 w 1890"/>
              <a:gd name="T25" fmla="*/ 23 h 1892"/>
              <a:gd name="T26" fmla="*/ 851 w 1890"/>
              <a:gd name="T27" fmla="*/ 0 h 1892"/>
              <a:gd name="T28" fmla="*/ 815 w 1890"/>
              <a:gd name="T29" fmla="*/ 234 h 1892"/>
              <a:gd name="T30" fmla="*/ 518 w 1890"/>
              <a:gd name="T31" fmla="*/ 361 h 1892"/>
              <a:gd name="T32" fmla="*/ 357 w 1890"/>
              <a:gd name="T33" fmla="*/ 217 h 1892"/>
              <a:gd name="T34" fmla="*/ 244 w 1890"/>
              <a:gd name="T35" fmla="*/ 342 h 1892"/>
              <a:gd name="T36" fmla="*/ 139 w 1890"/>
              <a:gd name="T37" fmla="*/ 474 h 1892"/>
              <a:gd name="T38" fmla="*/ 303 w 1890"/>
              <a:gd name="T39" fmla="*/ 605 h 1892"/>
              <a:gd name="T40" fmla="*/ 213 w 1890"/>
              <a:gd name="T41" fmla="*/ 924 h 1892"/>
              <a:gd name="T42" fmla="*/ 0 w 1890"/>
              <a:gd name="T43" fmla="*/ 960 h 1892"/>
              <a:gd name="T44" fmla="*/ 27 w 1890"/>
              <a:gd name="T45" fmla="*/ 1125 h 1892"/>
              <a:gd name="T46" fmla="*/ 63 w 1890"/>
              <a:gd name="T47" fmla="*/ 1289 h 1892"/>
              <a:gd name="T48" fmla="*/ 269 w 1890"/>
              <a:gd name="T49" fmla="*/ 1245 h 1892"/>
              <a:gd name="T50" fmla="*/ 424 w 1890"/>
              <a:gd name="T51" fmla="*/ 1477 h 1892"/>
              <a:gd name="T52" fmla="*/ 461 w 1890"/>
              <a:gd name="T53" fmla="*/ 1512 h 1892"/>
              <a:gd name="T54" fmla="*/ 361 w 1890"/>
              <a:gd name="T55" fmla="*/ 1713 h 1892"/>
              <a:gd name="T56" fmla="*/ 505 w 1890"/>
              <a:gd name="T57" fmla="*/ 1785 h 1892"/>
              <a:gd name="T58" fmla="*/ 646 w 1890"/>
              <a:gd name="T59" fmla="*/ 1862 h 1892"/>
              <a:gd name="T60" fmla="*/ 751 w 1890"/>
              <a:gd name="T61" fmla="*/ 1670 h 1892"/>
              <a:gd name="T62" fmla="*/ 950 w 1890"/>
              <a:gd name="T63" fmla="*/ 1698 h 1892"/>
              <a:gd name="T64" fmla="*/ 1075 w 1890"/>
              <a:gd name="T65" fmla="*/ 1687 h 1892"/>
              <a:gd name="T66" fmla="*/ 1178 w 1890"/>
              <a:gd name="T67" fmla="*/ 1892 h 1892"/>
              <a:gd name="T68" fmla="*/ 1314 w 1890"/>
              <a:gd name="T69" fmla="*/ 1824 h 1892"/>
              <a:gd name="T70" fmla="*/ 1459 w 1890"/>
              <a:gd name="T71" fmla="*/ 1776 h 1892"/>
              <a:gd name="T72" fmla="*/ 1385 w 1890"/>
              <a:gd name="T73" fmla="*/ 1556 h 1892"/>
              <a:gd name="T74" fmla="*/ 1468 w 1890"/>
              <a:gd name="T75" fmla="*/ 1485 h 1892"/>
              <a:gd name="T76" fmla="*/ 1600 w 1890"/>
              <a:gd name="T77" fmla="*/ 1310 h 1892"/>
              <a:gd name="T78" fmla="*/ 1799 w 1890"/>
              <a:gd name="T79" fmla="*/ 1376 h 1892"/>
              <a:gd name="T80" fmla="*/ 1853 w 1890"/>
              <a:gd name="T81" fmla="*/ 1212 h 1892"/>
              <a:gd name="T82" fmla="*/ 1890 w 1890"/>
              <a:gd name="T83" fmla="*/ 1042 h 1892"/>
              <a:gd name="T84" fmla="*/ 1687 w 1890"/>
              <a:gd name="T85" fmla="*/ 999 h 1892"/>
              <a:gd name="T86" fmla="*/ 945 w 1890"/>
              <a:gd name="T87" fmla="*/ 1126 h 1892"/>
              <a:gd name="T88" fmla="*/ 765 w 1890"/>
              <a:gd name="T89" fmla="*/ 946 h 1892"/>
              <a:gd name="T90" fmla="*/ 945 w 1890"/>
              <a:gd name="T91" fmla="*/ 766 h 1892"/>
              <a:gd name="T92" fmla="*/ 1125 w 1890"/>
              <a:gd name="T93" fmla="*/ 946 h 1892"/>
              <a:gd name="T94" fmla="*/ 945 w 1890"/>
              <a:gd name="T95" fmla="*/ 1126 h 1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90" h="1892">
                <a:moveTo>
                  <a:pt x="1687" y="999"/>
                </a:moveTo>
                <a:cubicBezTo>
                  <a:pt x="1693" y="889"/>
                  <a:pt x="1675" y="778"/>
                  <a:pt x="1632" y="675"/>
                </a:cubicBezTo>
                <a:cubicBezTo>
                  <a:pt x="1809" y="533"/>
                  <a:pt x="1809" y="533"/>
                  <a:pt x="1809" y="533"/>
                </a:cubicBezTo>
                <a:cubicBezTo>
                  <a:pt x="1808" y="533"/>
                  <a:pt x="1808" y="533"/>
                  <a:pt x="1808" y="533"/>
                </a:cubicBezTo>
                <a:cubicBezTo>
                  <a:pt x="1808" y="533"/>
                  <a:pt x="1808" y="533"/>
                  <a:pt x="1808" y="533"/>
                </a:cubicBezTo>
                <a:cubicBezTo>
                  <a:pt x="1713" y="414"/>
                  <a:pt x="1713" y="414"/>
                  <a:pt x="1713" y="414"/>
                </a:cubicBezTo>
                <a:cubicBezTo>
                  <a:pt x="1637" y="283"/>
                  <a:pt x="1637" y="283"/>
                  <a:pt x="1637" y="283"/>
                </a:cubicBezTo>
                <a:cubicBezTo>
                  <a:pt x="1637" y="283"/>
                  <a:pt x="1637" y="283"/>
                  <a:pt x="1637" y="283"/>
                </a:cubicBezTo>
                <a:cubicBezTo>
                  <a:pt x="1637" y="283"/>
                  <a:pt x="1637" y="283"/>
                  <a:pt x="1637" y="283"/>
                </a:cubicBezTo>
                <a:cubicBezTo>
                  <a:pt x="1433" y="401"/>
                  <a:pt x="1433" y="401"/>
                  <a:pt x="1433" y="401"/>
                </a:cubicBezTo>
                <a:cubicBezTo>
                  <a:pt x="1349" y="329"/>
                  <a:pt x="1253" y="278"/>
                  <a:pt x="1152" y="249"/>
                </a:cubicBezTo>
                <a:cubicBezTo>
                  <a:pt x="1152" y="23"/>
                  <a:pt x="1152" y="23"/>
                  <a:pt x="1152" y="23"/>
                </a:cubicBezTo>
                <a:cubicBezTo>
                  <a:pt x="1000" y="23"/>
                  <a:pt x="1000" y="23"/>
                  <a:pt x="1000" y="23"/>
                </a:cubicBezTo>
                <a:cubicBezTo>
                  <a:pt x="851" y="0"/>
                  <a:pt x="851" y="0"/>
                  <a:pt x="851" y="0"/>
                </a:cubicBezTo>
                <a:cubicBezTo>
                  <a:pt x="815" y="234"/>
                  <a:pt x="815" y="234"/>
                  <a:pt x="815" y="234"/>
                </a:cubicBezTo>
                <a:cubicBezTo>
                  <a:pt x="710" y="253"/>
                  <a:pt x="608" y="296"/>
                  <a:pt x="518" y="361"/>
                </a:cubicBezTo>
                <a:cubicBezTo>
                  <a:pt x="357" y="217"/>
                  <a:pt x="357" y="217"/>
                  <a:pt x="357" y="217"/>
                </a:cubicBezTo>
                <a:cubicBezTo>
                  <a:pt x="244" y="342"/>
                  <a:pt x="244" y="342"/>
                  <a:pt x="244" y="342"/>
                </a:cubicBezTo>
                <a:cubicBezTo>
                  <a:pt x="139" y="474"/>
                  <a:pt x="139" y="474"/>
                  <a:pt x="139" y="474"/>
                </a:cubicBezTo>
                <a:cubicBezTo>
                  <a:pt x="303" y="605"/>
                  <a:pt x="303" y="605"/>
                  <a:pt x="303" y="605"/>
                </a:cubicBezTo>
                <a:cubicBezTo>
                  <a:pt x="248" y="704"/>
                  <a:pt x="218" y="814"/>
                  <a:pt x="213" y="924"/>
                </a:cubicBezTo>
                <a:cubicBezTo>
                  <a:pt x="0" y="960"/>
                  <a:pt x="0" y="960"/>
                  <a:pt x="0" y="960"/>
                </a:cubicBezTo>
                <a:cubicBezTo>
                  <a:pt x="27" y="1125"/>
                  <a:pt x="27" y="1125"/>
                  <a:pt x="27" y="1125"/>
                </a:cubicBezTo>
                <a:cubicBezTo>
                  <a:pt x="63" y="1289"/>
                  <a:pt x="63" y="1289"/>
                  <a:pt x="63" y="1289"/>
                </a:cubicBezTo>
                <a:cubicBezTo>
                  <a:pt x="269" y="1245"/>
                  <a:pt x="269" y="1245"/>
                  <a:pt x="269" y="1245"/>
                </a:cubicBezTo>
                <a:cubicBezTo>
                  <a:pt x="305" y="1329"/>
                  <a:pt x="356" y="1408"/>
                  <a:pt x="424" y="1477"/>
                </a:cubicBezTo>
                <a:cubicBezTo>
                  <a:pt x="436" y="1490"/>
                  <a:pt x="449" y="1501"/>
                  <a:pt x="461" y="1512"/>
                </a:cubicBezTo>
                <a:cubicBezTo>
                  <a:pt x="361" y="1713"/>
                  <a:pt x="361" y="1713"/>
                  <a:pt x="361" y="1713"/>
                </a:cubicBezTo>
                <a:cubicBezTo>
                  <a:pt x="505" y="1785"/>
                  <a:pt x="505" y="1785"/>
                  <a:pt x="505" y="1785"/>
                </a:cubicBezTo>
                <a:cubicBezTo>
                  <a:pt x="646" y="1862"/>
                  <a:pt x="646" y="1862"/>
                  <a:pt x="646" y="1862"/>
                </a:cubicBezTo>
                <a:cubicBezTo>
                  <a:pt x="751" y="1670"/>
                  <a:pt x="751" y="1670"/>
                  <a:pt x="751" y="1670"/>
                </a:cubicBezTo>
                <a:cubicBezTo>
                  <a:pt x="816" y="1688"/>
                  <a:pt x="883" y="1698"/>
                  <a:pt x="950" y="1698"/>
                </a:cubicBezTo>
                <a:cubicBezTo>
                  <a:pt x="992" y="1698"/>
                  <a:pt x="1034" y="1694"/>
                  <a:pt x="1075" y="1687"/>
                </a:cubicBezTo>
                <a:cubicBezTo>
                  <a:pt x="1178" y="1892"/>
                  <a:pt x="1178" y="1892"/>
                  <a:pt x="1178" y="1892"/>
                </a:cubicBezTo>
                <a:cubicBezTo>
                  <a:pt x="1314" y="1824"/>
                  <a:pt x="1314" y="1824"/>
                  <a:pt x="1314" y="1824"/>
                </a:cubicBezTo>
                <a:cubicBezTo>
                  <a:pt x="1459" y="1776"/>
                  <a:pt x="1459" y="1776"/>
                  <a:pt x="1459" y="1776"/>
                </a:cubicBezTo>
                <a:cubicBezTo>
                  <a:pt x="1385" y="1556"/>
                  <a:pt x="1385" y="1556"/>
                  <a:pt x="1385" y="1556"/>
                </a:cubicBezTo>
                <a:cubicBezTo>
                  <a:pt x="1414" y="1535"/>
                  <a:pt x="1442" y="1511"/>
                  <a:pt x="1468" y="1485"/>
                </a:cubicBezTo>
                <a:cubicBezTo>
                  <a:pt x="1522" y="1432"/>
                  <a:pt x="1566" y="1373"/>
                  <a:pt x="1600" y="1310"/>
                </a:cubicBezTo>
                <a:cubicBezTo>
                  <a:pt x="1799" y="1376"/>
                  <a:pt x="1799" y="1376"/>
                  <a:pt x="1799" y="1376"/>
                </a:cubicBezTo>
                <a:cubicBezTo>
                  <a:pt x="1853" y="1212"/>
                  <a:pt x="1853" y="1212"/>
                  <a:pt x="1853" y="1212"/>
                </a:cubicBezTo>
                <a:cubicBezTo>
                  <a:pt x="1890" y="1042"/>
                  <a:pt x="1890" y="1042"/>
                  <a:pt x="1890" y="1042"/>
                </a:cubicBezTo>
                <a:lnTo>
                  <a:pt x="1687" y="999"/>
                </a:lnTo>
                <a:close/>
                <a:moveTo>
                  <a:pt x="945" y="1126"/>
                </a:moveTo>
                <a:cubicBezTo>
                  <a:pt x="845" y="1126"/>
                  <a:pt x="765" y="1045"/>
                  <a:pt x="765" y="946"/>
                </a:cubicBezTo>
                <a:cubicBezTo>
                  <a:pt x="765" y="847"/>
                  <a:pt x="845" y="766"/>
                  <a:pt x="945" y="766"/>
                </a:cubicBezTo>
                <a:cubicBezTo>
                  <a:pt x="1044" y="766"/>
                  <a:pt x="1125" y="847"/>
                  <a:pt x="1125" y="946"/>
                </a:cubicBezTo>
                <a:cubicBezTo>
                  <a:pt x="1125" y="1045"/>
                  <a:pt x="1044" y="1126"/>
                  <a:pt x="945" y="1126"/>
                </a:cubicBezTo>
                <a:close/>
              </a:path>
            </a:pathLst>
          </a:custGeom>
          <a:gradFill>
            <a:gsLst>
              <a:gs pos="0">
                <a:srgbClr val="032145">
                  <a:lumMod val="25000"/>
                  <a:lumOff val="75000"/>
                  <a:alpha val="0"/>
                </a:srgbClr>
              </a:gs>
              <a:gs pos="100000">
                <a:srgbClr val="032145">
                  <a:alpha val="69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6" name="Freeform 17"/>
          <p:cNvSpPr>
            <a:spLocks noEditPoints="1"/>
          </p:cNvSpPr>
          <p:nvPr userDrawn="1"/>
        </p:nvSpPr>
        <p:spPr bwMode="auto">
          <a:xfrm>
            <a:off x="8310319" y="1227001"/>
            <a:ext cx="2668971" cy="2675569"/>
          </a:xfrm>
          <a:custGeom>
            <a:avLst/>
            <a:gdLst>
              <a:gd name="T0" fmla="*/ 1687 w 1890"/>
              <a:gd name="T1" fmla="*/ 999 h 1892"/>
              <a:gd name="T2" fmla="*/ 1632 w 1890"/>
              <a:gd name="T3" fmla="*/ 675 h 1892"/>
              <a:gd name="T4" fmla="*/ 1809 w 1890"/>
              <a:gd name="T5" fmla="*/ 533 h 1892"/>
              <a:gd name="T6" fmla="*/ 1808 w 1890"/>
              <a:gd name="T7" fmla="*/ 533 h 1892"/>
              <a:gd name="T8" fmla="*/ 1808 w 1890"/>
              <a:gd name="T9" fmla="*/ 533 h 1892"/>
              <a:gd name="T10" fmla="*/ 1713 w 1890"/>
              <a:gd name="T11" fmla="*/ 414 h 1892"/>
              <a:gd name="T12" fmla="*/ 1637 w 1890"/>
              <a:gd name="T13" fmla="*/ 283 h 1892"/>
              <a:gd name="T14" fmla="*/ 1637 w 1890"/>
              <a:gd name="T15" fmla="*/ 283 h 1892"/>
              <a:gd name="T16" fmla="*/ 1637 w 1890"/>
              <a:gd name="T17" fmla="*/ 283 h 1892"/>
              <a:gd name="T18" fmla="*/ 1433 w 1890"/>
              <a:gd name="T19" fmla="*/ 401 h 1892"/>
              <a:gd name="T20" fmla="*/ 1152 w 1890"/>
              <a:gd name="T21" fmla="*/ 249 h 1892"/>
              <a:gd name="T22" fmla="*/ 1152 w 1890"/>
              <a:gd name="T23" fmla="*/ 23 h 1892"/>
              <a:gd name="T24" fmla="*/ 1000 w 1890"/>
              <a:gd name="T25" fmla="*/ 23 h 1892"/>
              <a:gd name="T26" fmla="*/ 851 w 1890"/>
              <a:gd name="T27" fmla="*/ 0 h 1892"/>
              <a:gd name="T28" fmla="*/ 815 w 1890"/>
              <a:gd name="T29" fmla="*/ 234 h 1892"/>
              <a:gd name="T30" fmla="*/ 518 w 1890"/>
              <a:gd name="T31" fmla="*/ 361 h 1892"/>
              <a:gd name="T32" fmla="*/ 357 w 1890"/>
              <a:gd name="T33" fmla="*/ 217 h 1892"/>
              <a:gd name="T34" fmla="*/ 244 w 1890"/>
              <a:gd name="T35" fmla="*/ 342 h 1892"/>
              <a:gd name="T36" fmla="*/ 139 w 1890"/>
              <a:gd name="T37" fmla="*/ 474 h 1892"/>
              <a:gd name="T38" fmla="*/ 303 w 1890"/>
              <a:gd name="T39" fmla="*/ 605 h 1892"/>
              <a:gd name="T40" fmla="*/ 213 w 1890"/>
              <a:gd name="T41" fmla="*/ 924 h 1892"/>
              <a:gd name="T42" fmla="*/ 0 w 1890"/>
              <a:gd name="T43" fmla="*/ 960 h 1892"/>
              <a:gd name="T44" fmla="*/ 27 w 1890"/>
              <a:gd name="T45" fmla="*/ 1125 h 1892"/>
              <a:gd name="T46" fmla="*/ 63 w 1890"/>
              <a:gd name="T47" fmla="*/ 1289 h 1892"/>
              <a:gd name="T48" fmla="*/ 269 w 1890"/>
              <a:gd name="T49" fmla="*/ 1245 h 1892"/>
              <a:gd name="T50" fmla="*/ 424 w 1890"/>
              <a:gd name="T51" fmla="*/ 1477 h 1892"/>
              <a:gd name="T52" fmla="*/ 461 w 1890"/>
              <a:gd name="T53" fmla="*/ 1512 h 1892"/>
              <a:gd name="T54" fmla="*/ 361 w 1890"/>
              <a:gd name="T55" fmla="*/ 1713 h 1892"/>
              <a:gd name="T56" fmla="*/ 505 w 1890"/>
              <a:gd name="T57" fmla="*/ 1785 h 1892"/>
              <a:gd name="T58" fmla="*/ 646 w 1890"/>
              <a:gd name="T59" fmla="*/ 1862 h 1892"/>
              <a:gd name="T60" fmla="*/ 751 w 1890"/>
              <a:gd name="T61" fmla="*/ 1670 h 1892"/>
              <a:gd name="T62" fmla="*/ 950 w 1890"/>
              <a:gd name="T63" fmla="*/ 1698 h 1892"/>
              <a:gd name="T64" fmla="*/ 1075 w 1890"/>
              <a:gd name="T65" fmla="*/ 1687 h 1892"/>
              <a:gd name="T66" fmla="*/ 1178 w 1890"/>
              <a:gd name="T67" fmla="*/ 1892 h 1892"/>
              <a:gd name="T68" fmla="*/ 1314 w 1890"/>
              <a:gd name="T69" fmla="*/ 1824 h 1892"/>
              <a:gd name="T70" fmla="*/ 1459 w 1890"/>
              <a:gd name="T71" fmla="*/ 1776 h 1892"/>
              <a:gd name="T72" fmla="*/ 1385 w 1890"/>
              <a:gd name="T73" fmla="*/ 1556 h 1892"/>
              <a:gd name="T74" fmla="*/ 1468 w 1890"/>
              <a:gd name="T75" fmla="*/ 1485 h 1892"/>
              <a:gd name="T76" fmla="*/ 1600 w 1890"/>
              <a:gd name="T77" fmla="*/ 1310 h 1892"/>
              <a:gd name="T78" fmla="*/ 1799 w 1890"/>
              <a:gd name="T79" fmla="*/ 1376 h 1892"/>
              <a:gd name="T80" fmla="*/ 1853 w 1890"/>
              <a:gd name="T81" fmla="*/ 1212 h 1892"/>
              <a:gd name="T82" fmla="*/ 1890 w 1890"/>
              <a:gd name="T83" fmla="*/ 1042 h 1892"/>
              <a:gd name="T84" fmla="*/ 1687 w 1890"/>
              <a:gd name="T85" fmla="*/ 999 h 1892"/>
              <a:gd name="T86" fmla="*/ 945 w 1890"/>
              <a:gd name="T87" fmla="*/ 1126 h 1892"/>
              <a:gd name="T88" fmla="*/ 765 w 1890"/>
              <a:gd name="T89" fmla="*/ 946 h 1892"/>
              <a:gd name="T90" fmla="*/ 945 w 1890"/>
              <a:gd name="T91" fmla="*/ 766 h 1892"/>
              <a:gd name="T92" fmla="*/ 1125 w 1890"/>
              <a:gd name="T93" fmla="*/ 946 h 1892"/>
              <a:gd name="T94" fmla="*/ 945 w 1890"/>
              <a:gd name="T95" fmla="*/ 1126 h 1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90" h="1892">
                <a:moveTo>
                  <a:pt x="1687" y="999"/>
                </a:moveTo>
                <a:cubicBezTo>
                  <a:pt x="1693" y="889"/>
                  <a:pt x="1675" y="778"/>
                  <a:pt x="1632" y="675"/>
                </a:cubicBezTo>
                <a:cubicBezTo>
                  <a:pt x="1809" y="533"/>
                  <a:pt x="1809" y="533"/>
                  <a:pt x="1809" y="533"/>
                </a:cubicBezTo>
                <a:cubicBezTo>
                  <a:pt x="1808" y="533"/>
                  <a:pt x="1808" y="533"/>
                  <a:pt x="1808" y="533"/>
                </a:cubicBezTo>
                <a:cubicBezTo>
                  <a:pt x="1808" y="533"/>
                  <a:pt x="1808" y="533"/>
                  <a:pt x="1808" y="533"/>
                </a:cubicBezTo>
                <a:cubicBezTo>
                  <a:pt x="1713" y="414"/>
                  <a:pt x="1713" y="414"/>
                  <a:pt x="1713" y="414"/>
                </a:cubicBezTo>
                <a:cubicBezTo>
                  <a:pt x="1637" y="283"/>
                  <a:pt x="1637" y="283"/>
                  <a:pt x="1637" y="283"/>
                </a:cubicBezTo>
                <a:cubicBezTo>
                  <a:pt x="1637" y="283"/>
                  <a:pt x="1637" y="283"/>
                  <a:pt x="1637" y="283"/>
                </a:cubicBezTo>
                <a:cubicBezTo>
                  <a:pt x="1637" y="283"/>
                  <a:pt x="1637" y="283"/>
                  <a:pt x="1637" y="283"/>
                </a:cubicBezTo>
                <a:cubicBezTo>
                  <a:pt x="1433" y="401"/>
                  <a:pt x="1433" y="401"/>
                  <a:pt x="1433" y="401"/>
                </a:cubicBezTo>
                <a:cubicBezTo>
                  <a:pt x="1349" y="329"/>
                  <a:pt x="1253" y="278"/>
                  <a:pt x="1152" y="249"/>
                </a:cubicBezTo>
                <a:cubicBezTo>
                  <a:pt x="1152" y="23"/>
                  <a:pt x="1152" y="23"/>
                  <a:pt x="1152" y="23"/>
                </a:cubicBezTo>
                <a:cubicBezTo>
                  <a:pt x="1000" y="23"/>
                  <a:pt x="1000" y="23"/>
                  <a:pt x="1000" y="23"/>
                </a:cubicBezTo>
                <a:cubicBezTo>
                  <a:pt x="851" y="0"/>
                  <a:pt x="851" y="0"/>
                  <a:pt x="851" y="0"/>
                </a:cubicBezTo>
                <a:cubicBezTo>
                  <a:pt x="815" y="234"/>
                  <a:pt x="815" y="234"/>
                  <a:pt x="815" y="234"/>
                </a:cubicBezTo>
                <a:cubicBezTo>
                  <a:pt x="710" y="253"/>
                  <a:pt x="608" y="296"/>
                  <a:pt x="518" y="361"/>
                </a:cubicBezTo>
                <a:cubicBezTo>
                  <a:pt x="357" y="217"/>
                  <a:pt x="357" y="217"/>
                  <a:pt x="357" y="217"/>
                </a:cubicBezTo>
                <a:cubicBezTo>
                  <a:pt x="244" y="342"/>
                  <a:pt x="244" y="342"/>
                  <a:pt x="244" y="342"/>
                </a:cubicBezTo>
                <a:cubicBezTo>
                  <a:pt x="139" y="474"/>
                  <a:pt x="139" y="474"/>
                  <a:pt x="139" y="474"/>
                </a:cubicBezTo>
                <a:cubicBezTo>
                  <a:pt x="303" y="605"/>
                  <a:pt x="303" y="605"/>
                  <a:pt x="303" y="605"/>
                </a:cubicBezTo>
                <a:cubicBezTo>
                  <a:pt x="248" y="704"/>
                  <a:pt x="218" y="814"/>
                  <a:pt x="213" y="924"/>
                </a:cubicBezTo>
                <a:cubicBezTo>
                  <a:pt x="0" y="960"/>
                  <a:pt x="0" y="960"/>
                  <a:pt x="0" y="960"/>
                </a:cubicBezTo>
                <a:cubicBezTo>
                  <a:pt x="27" y="1125"/>
                  <a:pt x="27" y="1125"/>
                  <a:pt x="27" y="1125"/>
                </a:cubicBezTo>
                <a:cubicBezTo>
                  <a:pt x="63" y="1289"/>
                  <a:pt x="63" y="1289"/>
                  <a:pt x="63" y="1289"/>
                </a:cubicBezTo>
                <a:cubicBezTo>
                  <a:pt x="269" y="1245"/>
                  <a:pt x="269" y="1245"/>
                  <a:pt x="269" y="1245"/>
                </a:cubicBezTo>
                <a:cubicBezTo>
                  <a:pt x="305" y="1329"/>
                  <a:pt x="356" y="1408"/>
                  <a:pt x="424" y="1477"/>
                </a:cubicBezTo>
                <a:cubicBezTo>
                  <a:pt x="436" y="1490"/>
                  <a:pt x="449" y="1501"/>
                  <a:pt x="461" y="1512"/>
                </a:cubicBezTo>
                <a:cubicBezTo>
                  <a:pt x="361" y="1713"/>
                  <a:pt x="361" y="1713"/>
                  <a:pt x="361" y="1713"/>
                </a:cubicBezTo>
                <a:cubicBezTo>
                  <a:pt x="505" y="1785"/>
                  <a:pt x="505" y="1785"/>
                  <a:pt x="505" y="1785"/>
                </a:cubicBezTo>
                <a:cubicBezTo>
                  <a:pt x="646" y="1862"/>
                  <a:pt x="646" y="1862"/>
                  <a:pt x="646" y="1862"/>
                </a:cubicBezTo>
                <a:cubicBezTo>
                  <a:pt x="751" y="1670"/>
                  <a:pt x="751" y="1670"/>
                  <a:pt x="751" y="1670"/>
                </a:cubicBezTo>
                <a:cubicBezTo>
                  <a:pt x="816" y="1688"/>
                  <a:pt x="883" y="1698"/>
                  <a:pt x="950" y="1698"/>
                </a:cubicBezTo>
                <a:cubicBezTo>
                  <a:pt x="992" y="1698"/>
                  <a:pt x="1034" y="1694"/>
                  <a:pt x="1075" y="1687"/>
                </a:cubicBezTo>
                <a:cubicBezTo>
                  <a:pt x="1178" y="1892"/>
                  <a:pt x="1178" y="1892"/>
                  <a:pt x="1178" y="1892"/>
                </a:cubicBezTo>
                <a:cubicBezTo>
                  <a:pt x="1314" y="1824"/>
                  <a:pt x="1314" y="1824"/>
                  <a:pt x="1314" y="1824"/>
                </a:cubicBezTo>
                <a:cubicBezTo>
                  <a:pt x="1459" y="1776"/>
                  <a:pt x="1459" y="1776"/>
                  <a:pt x="1459" y="1776"/>
                </a:cubicBezTo>
                <a:cubicBezTo>
                  <a:pt x="1385" y="1556"/>
                  <a:pt x="1385" y="1556"/>
                  <a:pt x="1385" y="1556"/>
                </a:cubicBezTo>
                <a:cubicBezTo>
                  <a:pt x="1414" y="1535"/>
                  <a:pt x="1442" y="1511"/>
                  <a:pt x="1468" y="1485"/>
                </a:cubicBezTo>
                <a:cubicBezTo>
                  <a:pt x="1522" y="1432"/>
                  <a:pt x="1566" y="1373"/>
                  <a:pt x="1600" y="1310"/>
                </a:cubicBezTo>
                <a:cubicBezTo>
                  <a:pt x="1799" y="1376"/>
                  <a:pt x="1799" y="1376"/>
                  <a:pt x="1799" y="1376"/>
                </a:cubicBezTo>
                <a:cubicBezTo>
                  <a:pt x="1853" y="1212"/>
                  <a:pt x="1853" y="1212"/>
                  <a:pt x="1853" y="1212"/>
                </a:cubicBezTo>
                <a:cubicBezTo>
                  <a:pt x="1890" y="1042"/>
                  <a:pt x="1890" y="1042"/>
                  <a:pt x="1890" y="1042"/>
                </a:cubicBezTo>
                <a:lnTo>
                  <a:pt x="1687" y="999"/>
                </a:lnTo>
                <a:close/>
                <a:moveTo>
                  <a:pt x="945" y="1126"/>
                </a:moveTo>
                <a:cubicBezTo>
                  <a:pt x="845" y="1126"/>
                  <a:pt x="765" y="1045"/>
                  <a:pt x="765" y="946"/>
                </a:cubicBezTo>
                <a:cubicBezTo>
                  <a:pt x="765" y="847"/>
                  <a:pt x="845" y="766"/>
                  <a:pt x="945" y="766"/>
                </a:cubicBezTo>
                <a:cubicBezTo>
                  <a:pt x="1044" y="766"/>
                  <a:pt x="1125" y="847"/>
                  <a:pt x="1125" y="946"/>
                </a:cubicBezTo>
                <a:cubicBezTo>
                  <a:pt x="1125" y="1045"/>
                  <a:pt x="1044" y="1126"/>
                  <a:pt x="945" y="1126"/>
                </a:cubicBezTo>
                <a:close/>
              </a:path>
            </a:pathLst>
          </a:custGeom>
          <a:gradFill>
            <a:gsLst>
              <a:gs pos="0">
                <a:srgbClr val="032145">
                  <a:lumMod val="25000"/>
                  <a:lumOff val="75000"/>
                  <a:alpha val="0"/>
                </a:srgbClr>
              </a:gs>
              <a:gs pos="100000">
                <a:srgbClr val="032145">
                  <a:alpha val="69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7" name="Freeform 38"/>
          <p:cNvSpPr>
            <a:spLocks noEditPoints="1"/>
          </p:cNvSpPr>
          <p:nvPr userDrawn="1"/>
        </p:nvSpPr>
        <p:spPr bwMode="auto">
          <a:xfrm>
            <a:off x="4529669" y="1939152"/>
            <a:ext cx="3096684" cy="2982384"/>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8" name="Freeform 39"/>
          <p:cNvSpPr>
            <a:spLocks noEditPoints="1"/>
          </p:cNvSpPr>
          <p:nvPr userDrawn="1"/>
        </p:nvSpPr>
        <p:spPr bwMode="auto">
          <a:xfrm>
            <a:off x="4891617" y="2241837"/>
            <a:ext cx="2372784" cy="2377017"/>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9" name="Freeform 40"/>
          <p:cNvSpPr>
            <a:spLocks noEditPoints="1"/>
          </p:cNvSpPr>
          <p:nvPr userDrawn="1"/>
        </p:nvSpPr>
        <p:spPr bwMode="auto">
          <a:xfrm>
            <a:off x="5164668" y="2521236"/>
            <a:ext cx="1820333" cy="1824567"/>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dirty="0">
              <a:ln>
                <a:noFill/>
              </a:ln>
              <a:solidFill>
                <a:srgbClr val="3B3C40"/>
              </a:solidFill>
              <a:effectLst/>
              <a:uLnTx/>
              <a:uFillTx/>
            </a:endParaRPr>
          </a:p>
        </p:txBody>
      </p:sp>
      <p:sp>
        <p:nvSpPr>
          <p:cNvPr id="4" name="Rectangle 3"/>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2" name="Titre 1"/>
          <p:cNvSpPr>
            <a:spLocks noGrp="1"/>
          </p:cNvSpPr>
          <p:nvPr>
            <p:ph type="title"/>
          </p:nvPr>
        </p:nvSpPr>
        <p:spPr/>
        <p:txBody>
          <a:bodyPr/>
          <a:lstStyle>
            <a:lvl1pPr>
              <a:defRPr>
                <a:solidFill>
                  <a:schemeClr val="bg1"/>
                </a:solidFill>
              </a:defRPr>
            </a:lvl1pPr>
          </a:lstStyle>
          <a:p>
            <a:r>
              <a:rPr lang="fr-FR"/>
              <a:t>Modifiez le style du titre</a:t>
            </a:r>
            <a:endParaRPr lang="en-GB"/>
          </a:p>
        </p:txBody>
      </p:sp>
      <p:sp>
        <p:nvSpPr>
          <p:cNvPr id="3" name="Espace réservé du numéro de diapositive 2"/>
          <p:cNvSpPr>
            <a:spLocks noGrp="1"/>
          </p:cNvSpPr>
          <p:nvPr>
            <p:ph type="sldNum" sz="quarter" idx="10"/>
          </p:nvPr>
        </p:nvSpPr>
        <p:spPr/>
        <p:txBody>
          <a:bodyPr/>
          <a:lstStyle/>
          <a:p>
            <a:fld id="{88A6B057-71F2-43BA-98BD-164F4E914A39}" type="slidenum">
              <a:rPr lang="en-GB" smtClean="0"/>
              <a:pPr/>
              <a:t>‹#›</a:t>
            </a:fld>
            <a:endParaRPr lang="en-GB" dirty="0"/>
          </a:p>
        </p:txBody>
      </p:sp>
      <p:sp>
        <p:nvSpPr>
          <p:cNvPr id="16" name="Espace réservé du texte 15"/>
          <p:cNvSpPr>
            <a:spLocks noGrp="1" noChangeAspect="1"/>
          </p:cNvSpPr>
          <p:nvPr userDrawn="1">
            <p:ph type="body" sz="quarter" idx="11" hasCustomPrompt="1"/>
          </p:nvPr>
        </p:nvSpPr>
        <p:spPr>
          <a:xfrm>
            <a:off x="6867211" y="1873480"/>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17" name="Espace réservé du texte 15"/>
          <p:cNvSpPr>
            <a:spLocks noGrp="1" noChangeAspect="1"/>
          </p:cNvSpPr>
          <p:nvPr userDrawn="1">
            <p:ph type="body" sz="quarter" idx="12" hasCustomPrompt="1"/>
          </p:nvPr>
        </p:nvSpPr>
        <p:spPr>
          <a:xfrm>
            <a:off x="7556960" y="3408859"/>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18" name="Espace réservé du texte 15"/>
          <p:cNvSpPr>
            <a:spLocks noGrp="1" noChangeAspect="1"/>
          </p:cNvSpPr>
          <p:nvPr userDrawn="1">
            <p:ph type="body" sz="quarter" idx="13" hasCustomPrompt="1"/>
          </p:nvPr>
        </p:nvSpPr>
        <p:spPr>
          <a:xfrm>
            <a:off x="5859164" y="4900176"/>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19" name="Espace réservé du texte 15"/>
          <p:cNvSpPr>
            <a:spLocks noGrp="1" noChangeAspect="1"/>
          </p:cNvSpPr>
          <p:nvPr userDrawn="1">
            <p:ph type="body" sz="quarter" idx="14" hasCustomPrompt="1"/>
          </p:nvPr>
        </p:nvSpPr>
        <p:spPr>
          <a:xfrm>
            <a:off x="4165600" y="3438381"/>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26" name="Espace réservé du texte 15"/>
          <p:cNvSpPr>
            <a:spLocks noGrp="1" noChangeAspect="1"/>
          </p:cNvSpPr>
          <p:nvPr userDrawn="1">
            <p:ph type="body" sz="quarter" idx="15" hasCustomPrompt="1"/>
          </p:nvPr>
        </p:nvSpPr>
        <p:spPr>
          <a:xfrm>
            <a:off x="4796367" y="1873480"/>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28" name="Espace réservé du texte 27"/>
          <p:cNvSpPr>
            <a:spLocks noGrp="1"/>
          </p:cNvSpPr>
          <p:nvPr userDrawn="1">
            <p:ph type="body" sz="quarter" idx="16"/>
          </p:nvPr>
        </p:nvSpPr>
        <p:spPr>
          <a:xfrm>
            <a:off x="1307448" y="1742617"/>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29" name="Espace réservé du texte 27"/>
          <p:cNvSpPr>
            <a:spLocks noGrp="1"/>
          </p:cNvSpPr>
          <p:nvPr userDrawn="1">
            <p:ph type="body" sz="quarter" idx="17"/>
          </p:nvPr>
        </p:nvSpPr>
        <p:spPr>
          <a:xfrm>
            <a:off x="701688" y="3307518"/>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30" name="Espace réservé du texte 27"/>
          <p:cNvSpPr>
            <a:spLocks noGrp="1"/>
          </p:cNvSpPr>
          <p:nvPr userDrawn="1">
            <p:ph type="body" sz="quarter" idx="18"/>
          </p:nvPr>
        </p:nvSpPr>
        <p:spPr>
          <a:xfrm>
            <a:off x="2370245" y="4781269"/>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31" name="Espace réservé du texte 27"/>
          <p:cNvSpPr>
            <a:spLocks noGrp="1"/>
          </p:cNvSpPr>
          <p:nvPr userDrawn="1">
            <p:ph type="body" sz="quarter" idx="19"/>
          </p:nvPr>
        </p:nvSpPr>
        <p:spPr>
          <a:xfrm>
            <a:off x="7454476" y="1742617"/>
            <a:ext cx="3564083" cy="693068"/>
          </a:xfrm>
        </p:spPr>
        <p:txBody>
          <a:bodyPr anchor="ctr"/>
          <a:lstStyle>
            <a:lvl1pPr marL="0" indent="0" algn="l">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32" name="Espace réservé du texte 27"/>
          <p:cNvSpPr>
            <a:spLocks noGrp="1"/>
          </p:cNvSpPr>
          <p:nvPr userDrawn="1">
            <p:ph type="body" sz="quarter" idx="20"/>
          </p:nvPr>
        </p:nvSpPr>
        <p:spPr>
          <a:xfrm>
            <a:off x="8113484" y="3277995"/>
            <a:ext cx="3564083" cy="693068"/>
          </a:xfrm>
        </p:spPr>
        <p:txBody>
          <a:bodyPr anchor="ctr"/>
          <a:lstStyle>
            <a:lvl1pPr marL="0" indent="0" algn="l">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6" name="Espace réservé du pied de page 5"/>
          <p:cNvSpPr>
            <a:spLocks noGrp="1"/>
          </p:cNvSpPr>
          <p:nvPr>
            <p:ph type="ftr" sz="quarter" idx="21"/>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21350793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500"/>
                                        <p:tgtEl>
                                          <p:spTgt spid="45"/>
                                        </p:tgtEl>
                                      </p:cBhvr>
                                    </p:animEffect>
                                  </p:childTnLst>
                                </p:cTn>
                              </p:par>
                              <p:par>
                                <p:cTn id="8" presetID="10" presetClass="entr" presetSubtype="0" fill="hold" grpId="1" nodeType="withEffect">
                                  <p:stCondLst>
                                    <p:cond delay="0"/>
                                  </p:stCondLst>
                                  <p:childTnLst>
                                    <p:set>
                                      <p:cBhvr>
                                        <p:cTn id="9" dur="1" fill="hold">
                                          <p:stCondLst>
                                            <p:cond delay="0"/>
                                          </p:stCondLst>
                                        </p:cTn>
                                        <p:tgtEl>
                                          <p:spTgt spid="44"/>
                                        </p:tgtEl>
                                        <p:attrNameLst>
                                          <p:attrName>style.visibility</p:attrName>
                                        </p:attrNameLst>
                                      </p:cBhvr>
                                      <p:to>
                                        <p:strVal val="visible"/>
                                      </p:to>
                                    </p:set>
                                    <p:animEffect transition="in" filter="fade">
                                      <p:cBhvr>
                                        <p:cTn id="10" dur="500"/>
                                        <p:tgtEl>
                                          <p:spTgt spid="44"/>
                                        </p:tgtEl>
                                      </p:cBhvr>
                                    </p:animEffect>
                                  </p:childTnLst>
                                </p:cTn>
                              </p:par>
                              <p:par>
                                <p:cTn id="11" presetID="10" presetClass="entr" presetSubtype="0" fill="hold" grpId="1" nodeType="withEffect">
                                  <p:stCondLst>
                                    <p:cond delay="0"/>
                                  </p:stCondLst>
                                  <p:childTnLst>
                                    <p:set>
                                      <p:cBhvr>
                                        <p:cTn id="12" dur="1" fill="hold">
                                          <p:stCondLst>
                                            <p:cond delay="0"/>
                                          </p:stCondLst>
                                        </p:cTn>
                                        <p:tgtEl>
                                          <p:spTgt spid="46"/>
                                        </p:tgtEl>
                                        <p:attrNameLst>
                                          <p:attrName>style.visibility</p:attrName>
                                        </p:attrNameLst>
                                      </p:cBhvr>
                                      <p:to>
                                        <p:strVal val="visible"/>
                                      </p:to>
                                    </p:set>
                                    <p:animEffect transition="in" filter="fade">
                                      <p:cBhvr>
                                        <p:cTn id="13" dur="500"/>
                                        <p:tgtEl>
                                          <p:spTgt spid="46"/>
                                        </p:tgtEl>
                                      </p:cBhvr>
                                    </p:animEffect>
                                  </p:childTnLst>
                                </p:cTn>
                              </p:par>
                              <p:par>
                                <p:cTn id="14" presetID="8" presetClass="emph" presetSubtype="0" decel="62500" fill="hold" grpId="0" nodeType="withEffect">
                                  <p:stCondLst>
                                    <p:cond delay="0"/>
                                  </p:stCondLst>
                                  <p:childTnLst>
                                    <p:animRot by="21600000">
                                      <p:cBhvr>
                                        <p:cTn id="15" dur="4000" fill="hold"/>
                                        <p:tgtEl>
                                          <p:spTgt spid="45"/>
                                        </p:tgtEl>
                                        <p:attrNameLst>
                                          <p:attrName>r</p:attrName>
                                        </p:attrNameLst>
                                      </p:cBhvr>
                                    </p:animRot>
                                  </p:childTnLst>
                                </p:cTn>
                              </p:par>
                              <p:par>
                                <p:cTn id="16" presetID="8" presetClass="emph" presetSubtype="0" decel="62500" fill="hold" grpId="0" nodeType="withEffect">
                                  <p:stCondLst>
                                    <p:cond delay="0"/>
                                  </p:stCondLst>
                                  <p:childTnLst>
                                    <p:animRot by="-12660000">
                                      <p:cBhvr>
                                        <p:cTn id="17" dur="4000" fill="hold"/>
                                        <p:tgtEl>
                                          <p:spTgt spid="44"/>
                                        </p:tgtEl>
                                        <p:attrNameLst>
                                          <p:attrName>r</p:attrName>
                                        </p:attrNameLst>
                                      </p:cBhvr>
                                    </p:animRot>
                                  </p:childTnLst>
                                </p:cTn>
                              </p:par>
                              <p:par>
                                <p:cTn id="18" presetID="8" presetClass="emph" presetSubtype="0" decel="62500" fill="hold" grpId="0" nodeType="withEffect">
                                  <p:stCondLst>
                                    <p:cond delay="0"/>
                                  </p:stCondLst>
                                  <p:childTnLst>
                                    <p:animRot by="21600000">
                                      <p:cBhvr>
                                        <p:cTn id="19" dur="4000" fill="hold"/>
                                        <p:tgtEl>
                                          <p:spTgt spid="46"/>
                                        </p:tgtEl>
                                        <p:attrNameLst>
                                          <p:attrName>r</p:attrName>
                                        </p:attrNameLst>
                                      </p:cBhvr>
                                    </p:animRot>
                                  </p:childTnLst>
                                </p:cTn>
                              </p:par>
                              <p:par>
                                <p:cTn id="20" presetID="10" presetClass="entr" presetSubtype="0" fill="hold" grpId="1" nodeType="withEffect">
                                  <p:stCondLst>
                                    <p:cond delay="0"/>
                                  </p:stCondLst>
                                  <p:childTnLst>
                                    <p:set>
                                      <p:cBhvr>
                                        <p:cTn id="21" dur="1" fill="hold">
                                          <p:stCondLst>
                                            <p:cond delay="0"/>
                                          </p:stCondLst>
                                        </p:cTn>
                                        <p:tgtEl>
                                          <p:spTgt spid="49"/>
                                        </p:tgtEl>
                                        <p:attrNameLst>
                                          <p:attrName>style.visibility</p:attrName>
                                        </p:attrNameLst>
                                      </p:cBhvr>
                                      <p:to>
                                        <p:strVal val="visible"/>
                                      </p:to>
                                    </p:set>
                                    <p:animEffect transition="in" filter="fade">
                                      <p:cBhvr>
                                        <p:cTn id="22" dur="500"/>
                                        <p:tgtEl>
                                          <p:spTgt spid="49"/>
                                        </p:tgtEl>
                                      </p:cBhvr>
                                    </p:animEffect>
                                  </p:childTnLst>
                                </p:cTn>
                              </p:par>
                              <p:par>
                                <p:cTn id="23" presetID="10" presetClass="entr" presetSubtype="0" fill="hold" grpId="1" nodeType="withEffect">
                                  <p:stCondLst>
                                    <p:cond delay="0"/>
                                  </p:stCondLst>
                                  <p:childTnLst>
                                    <p:set>
                                      <p:cBhvr>
                                        <p:cTn id="24" dur="1" fill="hold">
                                          <p:stCondLst>
                                            <p:cond delay="0"/>
                                          </p:stCondLst>
                                        </p:cTn>
                                        <p:tgtEl>
                                          <p:spTgt spid="48"/>
                                        </p:tgtEl>
                                        <p:attrNameLst>
                                          <p:attrName>style.visibility</p:attrName>
                                        </p:attrNameLst>
                                      </p:cBhvr>
                                      <p:to>
                                        <p:strVal val="visible"/>
                                      </p:to>
                                    </p:set>
                                    <p:animEffect transition="in" filter="fade">
                                      <p:cBhvr>
                                        <p:cTn id="25" dur="500"/>
                                        <p:tgtEl>
                                          <p:spTgt spid="48"/>
                                        </p:tgtEl>
                                      </p:cBhvr>
                                    </p:animEffect>
                                  </p:childTnLst>
                                </p:cTn>
                              </p:par>
                              <p:par>
                                <p:cTn id="26" presetID="10" presetClass="entr" presetSubtype="0" fill="hold" grpId="1" nodeType="withEffect">
                                  <p:stCondLst>
                                    <p:cond delay="0"/>
                                  </p:stCondLst>
                                  <p:childTnLst>
                                    <p:set>
                                      <p:cBhvr>
                                        <p:cTn id="27" dur="1" fill="hold">
                                          <p:stCondLst>
                                            <p:cond delay="0"/>
                                          </p:stCondLst>
                                        </p:cTn>
                                        <p:tgtEl>
                                          <p:spTgt spid="47"/>
                                        </p:tgtEl>
                                        <p:attrNameLst>
                                          <p:attrName>style.visibility</p:attrName>
                                        </p:attrNameLst>
                                      </p:cBhvr>
                                      <p:to>
                                        <p:strVal val="visible"/>
                                      </p:to>
                                    </p:set>
                                    <p:animEffect transition="in" filter="fade">
                                      <p:cBhvr>
                                        <p:cTn id="28" dur="500"/>
                                        <p:tgtEl>
                                          <p:spTgt spid="47"/>
                                        </p:tgtEl>
                                      </p:cBhvr>
                                    </p:animEffect>
                                  </p:childTnLst>
                                </p:cTn>
                              </p:par>
                              <p:par>
                                <p:cTn id="29" presetID="8" presetClass="emph" presetSubtype="0" fill="hold" grpId="0" nodeType="withEffect">
                                  <p:stCondLst>
                                    <p:cond delay="0"/>
                                  </p:stCondLst>
                                  <p:childTnLst>
                                    <p:animRot by="21600000">
                                      <p:cBhvr>
                                        <p:cTn id="30" dur="4000" fill="hold"/>
                                        <p:tgtEl>
                                          <p:spTgt spid="49"/>
                                        </p:tgtEl>
                                        <p:attrNameLst>
                                          <p:attrName>r</p:attrName>
                                        </p:attrNameLst>
                                      </p:cBhvr>
                                    </p:animRot>
                                  </p:childTnLst>
                                </p:cTn>
                              </p:par>
                              <p:par>
                                <p:cTn id="31" presetID="8" presetClass="emph" presetSubtype="0" fill="hold" grpId="0" nodeType="withEffect">
                                  <p:stCondLst>
                                    <p:cond delay="0"/>
                                  </p:stCondLst>
                                  <p:childTnLst>
                                    <p:animRot by="-21600000">
                                      <p:cBhvr>
                                        <p:cTn id="32" dur="4000" fill="hold"/>
                                        <p:tgtEl>
                                          <p:spTgt spid="48"/>
                                        </p:tgtEl>
                                        <p:attrNameLst>
                                          <p:attrName>r</p:attrName>
                                        </p:attrNameLst>
                                      </p:cBhvr>
                                    </p:animRot>
                                  </p:childTnLst>
                                </p:cTn>
                              </p:par>
                              <p:par>
                                <p:cTn id="33" presetID="8" presetClass="emph" presetSubtype="0" fill="hold" grpId="0" nodeType="withEffect">
                                  <p:stCondLst>
                                    <p:cond delay="0"/>
                                  </p:stCondLst>
                                  <p:childTnLst>
                                    <p:animRot by="21600000">
                                      <p:cBhvr>
                                        <p:cTn id="34" dur="4000" fill="hold"/>
                                        <p:tgtEl>
                                          <p:spTgt spid="47"/>
                                        </p:tgtEl>
                                        <p:attrNameLst>
                                          <p:attrName>r</p:attrName>
                                        </p:attrNameLst>
                                      </p:cBhvr>
                                    </p:animRot>
                                  </p:childTnLst>
                                </p:cTn>
                              </p:par>
                              <p:par>
                                <p:cTn id="35" presetID="10" presetClass="entr" presetSubtype="0" fill="hold" grpId="0" nodeType="withEffect" nodePh="1">
                                  <p:stCondLst>
                                    <p:cond delay="500"/>
                                  </p:stCondLst>
                                  <p:endCondLst>
                                    <p:cond evt="begin" delay="0">
                                      <p:tn val="35"/>
                                    </p:cond>
                                  </p:endCondLst>
                                  <p:childTnLst>
                                    <p:set>
                                      <p:cBhvr>
                                        <p:cTn id="36" dur="1" fill="hold">
                                          <p:stCondLst>
                                            <p:cond delay="0"/>
                                          </p:stCondLst>
                                        </p:cTn>
                                        <p:tgtEl>
                                          <p:spTgt spid="31"/>
                                        </p:tgtEl>
                                        <p:attrNameLst>
                                          <p:attrName>style.visibility</p:attrName>
                                        </p:attrNameLst>
                                      </p:cBhvr>
                                      <p:to>
                                        <p:strVal val="visible"/>
                                      </p:to>
                                    </p:set>
                                    <p:animEffect transition="in" filter="fade">
                                      <p:cBhvr>
                                        <p:cTn id="37" dur="500"/>
                                        <p:tgtEl>
                                          <p:spTgt spid="31"/>
                                        </p:tgtEl>
                                      </p:cBhvr>
                                    </p:animEffect>
                                  </p:childTnLst>
                                </p:cTn>
                              </p:par>
                              <p:par>
                                <p:cTn id="38" presetID="10" presetClass="entr" presetSubtype="0" fill="hold" grpId="0" nodeType="withEffect" nodePh="1">
                                  <p:stCondLst>
                                    <p:cond delay="1000"/>
                                  </p:stCondLst>
                                  <p:endCondLst>
                                    <p:cond evt="begin" delay="0">
                                      <p:tn val="38"/>
                                    </p:cond>
                                  </p:endCondLst>
                                  <p:childTnLst>
                                    <p:set>
                                      <p:cBhvr>
                                        <p:cTn id="39" dur="1" fill="hold">
                                          <p:stCondLst>
                                            <p:cond delay="0"/>
                                          </p:stCondLst>
                                        </p:cTn>
                                        <p:tgtEl>
                                          <p:spTgt spid="32"/>
                                        </p:tgtEl>
                                        <p:attrNameLst>
                                          <p:attrName>style.visibility</p:attrName>
                                        </p:attrNameLst>
                                      </p:cBhvr>
                                      <p:to>
                                        <p:strVal val="visible"/>
                                      </p:to>
                                    </p:set>
                                    <p:animEffect transition="in" filter="fade">
                                      <p:cBhvr>
                                        <p:cTn id="40" dur="500"/>
                                        <p:tgtEl>
                                          <p:spTgt spid="32"/>
                                        </p:tgtEl>
                                      </p:cBhvr>
                                    </p:animEffect>
                                  </p:childTnLst>
                                </p:cTn>
                              </p:par>
                              <p:par>
                                <p:cTn id="41" presetID="10" presetClass="entr" presetSubtype="0" fill="hold" grpId="0" nodeType="withEffect" nodePh="1">
                                  <p:stCondLst>
                                    <p:cond delay="1500"/>
                                  </p:stCondLst>
                                  <p:endCondLst>
                                    <p:cond evt="begin" delay="0">
                                      <p:tn val="41"/>
                                    </p:cond>
                                  </p:endCondLst>
                                  <p:childTnLst>
                                    <p:set>
                                      <p:cBhvr>
                                        <p:cTn id="42" dur="1" fill="hold">
                                          <p:stCondLst>
                                            <p:cond delay="0"/>
                                          </p:stCondLst>
                                        </p:cTn>
                                        <p:tgtEl>
                                          <p:spTgt spid="30"/>
                                        </p:tgtEl>
                                        <p:attrNameLst>
                                          <p:attrName>style.visibility</p:attrName>
                                        </p:attrNameLst>
                                      </p:cBhvr>
                                      <p:to>
                                        <p:strVal val="visible"/>
                                      </p:to>
                                    </p:set>
                                    <p:animEffect transition="in" filter="fade">
                                      <p:cBhvr>
                                        <p:cTn id="43" dur="500"/>
                                        <p:tgtEl>
                                          <p:spTgt spid="30"/>
                                        </p:tgtEl>
                                      </p:cBhvr>
                                    </p:animEffect>
                                  </p:childTnLst>
                                </p:cTn>
                              </p:par>
                              <p:par>
                                <p:cTn id="44" presetID="10" presetClass="entr" presetSubtype="0" fill="hold" grpId="0" nodeType="withEffect" nodePh="1">
                                  <p:stCondLst>
                                    <p:cond delay="2000"/>
                                  </p:stCondLst>
                                  <p:endCondLst>
                                    <p:cond evt="begin" delay="0">
                                      <p:tn val="44"/>
                                    </p:cond>
                                  </p:endCondLst>
                                  <p:childTnLst>
                                    <p:set>
                                      <p:cBhvr>
                                        <p:cTn id="45" dur="1" fill="hold">
                                          <p:stCondLst>
                                            <p:cond delay="0"/>
                                          </p:stCondLst>
                                        </p:cTn>
                                        <p:tgtEl>
                                          <p:spTgt spid="29"/>
                                        </p:tgtEl>
                                        <p:attrNameLst>
                                          <p:attrName>style.visibility</p:attrName>
                                        </p:attrNameLst>
                                      </p:cBhvr>
                                      <p:to>
                                        <p:strVal val="visible"/>
                                      </p:to>
                                    </p:set>
                                    <p:animEffect transition="in" filter="fade">
                                      <p:cBhvr>
                                        <p:cTn id="46" dur="500"/>
                                        <p:tgtEl>
                                          <p:spTgt spid="29"/>
                                        </p:tgtEl>
                                      </p:cBhvr>
                                    </p:animEffect>
                                  </p:childTnLst>
                                </p:cTn>
                              </p:par>
                              <p:par>
                                <p:cTn id="47" presetID="10" presetClass="entr" presetSubtype="0" fill="hold" grpId="0" nodeType="withEffect" nodePh="1">
                                  <p:stCondLst>
                                    <p:cond delay="2500"/>
                                  </p:stCondLst>
                                  <p:endCondLst>
                                    <p:cond evt="begin" delay="0">
                                      <p:tn val="47"/>
                                    </p:cond>
                                  </p:endCondLst>
                                  <p:childTnLst>
                                    <p:set>
                                      <p:cBhvr>
                                        <p:cTn id="48" dur="1" fill="hold">
                                          <p:stCondLst>
                                            <p:cond delay="0"/>
                                          </p:stCondLst>
                                        </p:cTn>
                                        <p:tgtEl>
                                          <p:spTgt spid="28"/>
                                        </p:tgtEl>
                                        <p:attrNameLst>
                                          <p:attrName>style.visibility</p:attrName>
                                        </p:attrNameLst>
                                      </p:cBhvr>
                                      <p:to>
                                        <p:strVal val="visible"/>
                                      </p:to>
                                    </p:set>
                                    <p:animEffect transition="in" filter="fade">
                                      <p:cBhvr>
                                        <p:cTn id="49" dur="500"/>
                                        <p:tgtEl>
                                          <p:spTgt spid="28"/>
                                        </p:tgtEl>
                                      </p:cBhvr>
                                    </p:animEffect>
                                  </p:childTnLst>
                                </p:cTn>
                              </p:par>
                              <p:par>
                                <p:cTn id="50" presetID="10" presetClass="entr" presetSubtype="0" fill="hold" grpId="0" nodeType="withEffect">
                                  <p:stCondLst>
                                    <p:cond delay="2500"/>
                                  </p:stCondLst>
                                  <p:childTnLst>
                                    <p:set>
                                      <p:cBhvr>
                                        <p:cTn id="51" dur="1" fill="hold">
                                          <p:stCondLst>
                                            <p:cond delay="0"/>
                                          </p:stCondLst>
                                        </p:cTn>
                                        <p:tgtEl>
                                          <p:spTgt spid="26"/>
                                        </p:tgtEl>
                                        <p:attrNameLst>
                                          <p:attrName>style.visibility</p:attrName>
                                        </p:attrNameLst>
                                      </p:cBhvr>
                                      <p:to>
                                        <p:strVal val="visible"/>
                                      </p:to>
                                    </p:set>
                                    <p:animEffect transition="in" filter="fade">
                                      <p:cBhvr>
                                        <p:cTn id="52" dur="500"/>
                                        <p:tgtEl>
                                          <p:spTgt spid="26"/>
                                        </p:tgtEl>
                                      </p:cBhvr>
                                    </p:animEffect>
                                  </p:childTnLst>
                                </p:cTn>
                              </p:par>
                              <p:par>
                                <p:cTn id="53" presetID="10" presetClass="entr" presetSubtype="0" fill="hold" grpId="0" nodeType="withEffect">
                                  <p:stCondLst>
                                    <p:cond delay="500"/>
                                  </p:stCondLst>
                                  <p:childTnLst>
                                    <p:set>
                                      <p:cBhvr>
                                        <p:cTn id="54" dur="1" fill="hold">
                                          <p:stCondLst>
                                            <p:cond delay="0"/>
                                          </p:stCondLst>
                                        </p:cTn>
                                        <p:tgtEl>
                                          <p:spTgt spid="16"/>
                                        </p:tgtEl>
                                        <p:attrNameLst>
                                          <p:attrName>style.visibility</p:attrName>
                                        </p:attrNameLst>
                                      </p:cBhvr>
                                      <p:to>
                                        <p:strVal val="visible"/>
                                      </p:to>
                                    </p:set>
                                    <p:animEffect transition="in" filter="fade">
                                      <p:cBhvr>
                                        <p:cTn id="55" dur="500"/>
                                        <p:tgtEl>
                                          <p:spTgt spid="16"/>
                                        </p:tgtEl>
                                      </p:cBhvr>
                                    </p:animEffect>
                                  </p:childTnLst>
                                </p:cTn>
                              </p:par>
                              <p:par>
                                <p:cTn id="56" presetID="10" presetClass="entr" presetSubtype="0" fill="hold" grpId="0" nodeType="withEffect">
                                  <p:stCondLst>
                                    <p:cond delay="2000"/>
                                  </p:stCondLst>
                                  <p:childTnLst>
                                    <p:set>
                                      <p:cBhvr>
                                        <p:cTn id="57" dur="1" fill="hold">
                                          <p:stCondLst>
                                            <p:cond delay="0"/>
                                          </p:stCondLst>
                                        </p:cTn>
                                        <p:tgtEl>
                                          <p:spTgt spid="19"/>
                                        </p:tgtEl>
                                        <p:attrNameLst>
                                          <p:attrName>style.visibility</p:attrName>
                                        </p:attrNameLst>
                                      </p:cBhvr>
                                      <p:to>
                                        <p:strVal val="visible"/>
                                      </p:to>
                                    </p:set>
                                    <p:animEffect transition="in" filter="fade">
                                      <p:cBhvr>
                                        <p:cTn id="58" dur="500"/>
                                        <p:tgtEl>
                                          <p:spTgt spid="19"/>
                                        </p:tgtEl>
                                      </p:cBhvr>
                                    </p:animEffect>
                                  </p:childTnLst>
                                </p:cTn>
                              </p:par>
                              <p:par>
                                <p:cTn id="59" presetID="10" presetClass="entr" presetSubtype="0" fill="hold" grpId="0" nodeType="withEffect">
                                  <p:stCondLst>
                                    <p:cond delay="1000"/>
                                  </p:stCondLst>
                                  <p:childTnLst>
                                    <p:set>
                                      <p:cBhvr>
                                        <p:cTn id="60" dur="1" fill="hold">
                                          <p:stCondLst>
                                            <p:cond delay="0"/>
                                          </p:stCondLst>
                                        </p:cTn>
                                        <p:tgtEl>
                                          <p:spTgt spid="17"/>
                                        </p:tgtEl>
                                        <p:attrNameLst>
                                          <p:attrName>style.visibility</p:attrName>
                                        </p:attrNameLst>
                                      </p:cBhvr>
                                      <p:to>
                                        <p:strVal val="visible"/>
                                      </p:to>
                                    </p:set>
                                    <p:animEffect transition="in" filter="fade">
                                      <p:cBhvr>
                                        <p:cTn id="61" dur="500"/>
                                        <p:tgtEl>
                                          <p:spTgt spid="17"/>
                                        </p:tgtEl>
                                      </p:cBhvr>
                                    </p:animEffect>
                                  </p:childTnLst>
                                </p:cTn>
                              </p:par>
                              <p:par>
                                <p:cTn id="62" presetID="10" presetClass="entr" presetSubtype="0" fill="hold" grpId="0" nodeType="withEffect">
                                  <p:stCondLst>
                                    <p:cond delay="150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4" grpId="1" animBg="1"/>
      <p:bldP spid="45" grpId="0" animBg="1"/>
      <p:bldP spid="45" grpId="1" animBg="1"/>
      <p:bldP spid="46" grpId="0" animBg="1"/>
      <p:bldP spid="46" grpId="1" animBg="1"/>
      <p:bldP spid="47" grpId="0" animBg="1"/>
      <p:bldP spid="47" grpId="1" animBg="1"/>
      <p:bldP spid="48" grpId="0" animBg="1"/>
      <p:bldP spid="48" grpId="1" animBg="1"/>
      <p:bldP spid="49" grpId="0" animBg="1"/>
      <p:bldP spid="49" grpId="1" animBg="1"/>
      <p:bldP spid="16" grpId="0" animBg="1">
        <p:tmplLst>
          <p:tmpl>
            <p:tnLst>
              <p:par>
                <p:cTn presetID="10" presetClass="entr" presetSubtype="0" fill="hold" nodeType="withEffect">
                  <p:stCondLst>
                    <p:cond delay="50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P spid="17" grpId="0" animBg="1">
        <p:tmplLst>
          <p:tmpl>
            <p:tnLst>
              <p:par>
                <p:cTn presetID="10" presetClass="entr" presetSubtype="0" fill="hold" nodeType="withEffect">
                  <p:stCondLst>
                    <p:cond delay="100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8" grpId="0" animBg="1">
        <p:tmplLst>
          <p:tmpl>
            <p:tnLst>
              <p:par>
                <p:cTn presetID="10" presetClass="entr" presetSubtype="0" fill="hold" nodeType="withEffect">
                  <p:stCondLst>
                    <p:cond delay="1500"/>
                  </p:stCondLst>
                  <p:childTnLst>
                    <p:set>
                      <p:cBhvr>
                        <p:cTn dur="1" fill="hold">
                          <p:stCondLst>
                            <p:cond delay="0"/>
                          </p:stCondLst>
                        </p:cTn>
                        <p:tgtEl>
                          <p:spTgt spid="18"/>
                        </p:tgtEl>
                        <p:attrNameLst>
                          <p:attrName>style.visibility</p:attrName>
                        </p:attrNameLst>
                      </p:cBhvr>
                      <p:to>
                        <p:strVal val="visible"/>
                      </p:to>
                    </p:set>
                    <p:animEffect transition="in" filter="fade">
                      <p:cBhvr>
                        <p:cTn dur="500"/>
                        <p:tgtEl>
                          <p:spTgt spid="18"/>
                        </p:tgtEl>
                      </p:cBhvr>
                    </p:animEffect>
                  </p:childTnLst>
                </p:cTn>
              </p:par>
            </p:tnLst>
          </p:tmpl>
        </p:tmplLst>
      </p:bldP>
      <p:bldP spid="19" grpId="0" animBg="1">
        <p:tmplLst>
          <p:tmpl>
            <p:tnLst>
              <p:par>
                <p:cTn presetID="10" presetClass="entr" presetSubtype="0" fill="hold" nodeType="withEffect">
                  <p:stCondLst>
                    <p:cond delay="200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6" grpId="0" animBg="1">
        <p:tmplLst>
          <p:tmpl>
            <p:tnLst>
              <p:par>
                <p:cTn presetID="10" presetClass="entr" presetSubtype="0" fill="hold" nodeType="withEffect">
                  <p:stCondLst>
                    <p:cond delay="2500"/>
                  </p:stCondLst>
                  <p:childTnLst>
                    <p:set>
                      <p:cBhvr>
                        <p:cTn dur="1" fill="hold">
                          <p:stCondLst>
                            <p:cond delay="0"/>
                          </p:stCondLst>
                        </p:cTn>
                        <p:tgtEl>
                          <p:spTgt spid="26"/>
                        </p:tgtEl>
                        <p:attrNameLst>
                          <p:attrName>style.visibility</p:attrName>
                        </p:attrNameLst>
                      </p:cBhvr>
                      <p:to>
                        <p:strVal val="visible"/>
                      </p:to>
                    </p:set>
                    <p:animEffect transition="in" filter="fade">
                      <p:cBhvr>
                        <p:cTn dur="500"/>
                        <p:tgtEl>
                          <p:spTgt spid="26"/>
                        </p:tgtEl>
                      </p:cBhvr>
                    </p:animEffect>
                  </p:childTnLst>
                </p:cTn>
              </p:par>
            </p:tnLst>
          </p:tmpl>
        </p:tmplLst>
      </p:bldP>
      <p:bldP spid="28" grpId="0">
        <p:tmplLst>
          <p:tmpl>
            <p:tnLst>
              <p:par>
                <p:cTn presetID="10" presetClass="entr" presetSubtype="0" fill="hold" nodeType="withEffect" nodePh="1">
                  <p:stCondLst>
                    <p:cond delay="2500"/>
                  </p:stCondLst>
                  <p:endCondLst>
                    <p:cond delay="0"/>
                  </p:endCondLst>
                  <p:childTnLst>
                    <p:set>
                      <p:cBhvr>
                        <p:cTn dur="1" fill="hold">
                          <p:stCondLst>
                            <p:cond delay="0"/>
                          </p:stCondLst>
                        </p:cTn>
                        <p:tgtEl>
                          <p:spTgt spid="28"/>
                        </p:tgtEl>
                        <p:attrNameLst>
                          <p:attrName>style.visibility</p:attrName>
                        </p:attrNameLst>
                      </p:cBhvr>
                      <p:to>
                        <p:strVal val="visible"/>
                      </p:to>
                    </p:set>
                    <p:animEffect transition="in" filter="fade">
                      <p:cBhvr>
                        <p:cTn dur="500"/>
                        <p:tgtEl>
                          <p:spTgt spid="28"/>
                        </p:tgtEl>
                      </p:cBhvr>
                    </p:animEffect>
                  </p:childTnLst>
                </p:cTn>
              </p:par>
            </p:tnLst>
          </p:tmpl>
        </p:tmplLst>
      </p:bldP>
      <p:bldP spid="29" grpId="0">
        <p:tmplLst>
          <p:tmpl>
            <p:tnLst>
              <p:par>
                <p:cTn presetID="10" presetClass="entr" presetSubtype="0" fill="hold" nodeType="withEffect" nodePh="1">
                  <p:stCondLst>
                    <p:cond delay="2000"/>
                  </p:stCondLst>
                  <p:endCondLst>
                    <p:cond delay="0"/>
                  </p:endCondLst>
                  <p:childTnLst>
                    <p:set>
                      <p:cBhvr>
                        <p:cTn dur="1" fill="hold">
                          <p:stCondLst>
                            <p:cond delay="0"/>
                          </p:stCondLst>
                        </p:cTn>
                        <p:tgtEl>
                          <p:spTgt spid="29"/>
                        </p:tgtEl>
                        <p:attrNameLst>
                          <p:attrName>style.visibility</p:attrName>
                        </p:attrNameLst>
                      </p:cBhvr>
                      <p:to>
                        <p:strVal val="visible"/>
                      </p:to>
                    </p:set>
                    <p:animEffect transition="in" filter="fade">
                      <p:cBhvr>
                        <p:cTn dur="500"/>
                        <p:tgtEl>
                          <p:spTgt spid="29"/>
                        </p:tgtEl>
                      </p:cBhvr>
                    </p:animEffect>
                  </p:childTnLst>
                </p:cTn>
              </p:par>
            </p:tnLst>
          </p:tmpl>
        </p:tmplLst>
      </p:bldP>
      <p:bldP spid="30" grpId="0">
        <p:tmplLst>
          <p:tmpl>
            <p:tnLst>
              <p:par>
                <p:cTn presetID="10" presetClass="entr" presetSubtype="0" fill="hold" nodeType="withEffect" nodePh="1">
                  <p:stCondLst>
                    <p:cond delay="1500"/>
                  </p:stCondLst>
                  <p:endCondLst>
                    <p:cond delay="0"/>
                  </p:endCondLst>
                  <p:childTnLst>
                    <p:set>
                      <p:cBhvr>
                        <p:cTn dur="1" fill="hold">
                          <p:stCondLst>
                            <p:cond delay="0"/>
                          </p:stCondLst>
                        </p:cTn>
                        <p:tgtEl>
                          <p:spTgt spid="30"/>
                        </p:tgtEl>
                        <p:attrNameLst>
                          <p:attrName>style.visibility</p:attrName>
                        </p:attrNameLst>
                      </p:cBhvr>
                      <p:to>
                        <p:strVal val="visible"/>
                      </p:to>
                    </p:set>
                    <p:animEffect transition="in" filter="fade">
                      <p:cBhvr>
                        <p:cTn dur="500"/>
                        <p:tgtEl>
                          <p:spTgt spid="30"/>
                        </p:tgtEl>
                      </p:cBhvr>
                    </p:animEffect>
                  </p:childTnLst>
                </p:cTn>
              </p:par>
            </p:tnLst>
          </p:tmpl>
        </p:tmplLst>
      </p:bldP>
      <p:bldP spid="31" grpId="0">
        <p:tmplLst>
          <p:tmpl>
            <p:tnLst>
              <p:par>
                <p:cTn presetID="10" presetClass="entr" presetSubtype="0" fill="hold" nodeType="withEffect" nodePh="1">
                  <p:stCondLst>
                    <p:cond delay="500"/>
                  </p:stCondLst>
                  <p:endCondLst>
                    <p:cond delay="0"/>
                  </p:endCondLst>
                  <p:childTnLst>
                    <p:set>
                      <p:cBhvr>
                        <p:cTn dur="1" fill="hold">
                          <p:stCondLst>
                            <p:cond delay="0"/>
                          </p:stCondLst>
                        </p:cTn>
                        <p:tgtEl>
                          <p:spTgt spid="31"/>
                        </p:tgtEl>
                        <p:attrNameLst>
                          <p:attrName>style.visibility</p:attrName>
                        </p:attrNameLst>
                      </p:cBhvr>
                      <p:to>
                        <p:strVal val="visible"/>
                      </p:to>
                    </p:set>
                    <p:animEffect transition="in" filter="fade">
                      <p:cBhvr>
                        <p:cTn dur="500"/>
                        <p:tgtEl>
                          <p:spTgt spid="31"/>
                        </p:tgtEl>
                      </p:cBhvr>
                    </p:animEffect>
                  </p:childTnLst>
                </p:cTn>
              </p:par>
            </p:tnLst>
          </p:tmpl>
        </p:tmplLst>
      </p:bldP>
      <p:bldP spid="32" grpId="0">
        <p:tmplLst>
          <p:tmpl>
            <p:tnLst>
              <p:par>
                <p:cTn presetID="10" presetClass="entr" presetSubtype="0" fill="hold" nodeType="withEffect" nodePh="1">
                  <p:stCondLst>
                    <p:cond delay="1000"/>
                  </p:stCondLst>
                  <p:endCondLst>
                    <p:cond delay="0"/>
                  </p:endCondLst>
                  <p:childTnLst>
                    <p:set>
                      <p:cBhvr>
                        <p:cTn dur="1" fill="hold">
                          <p:stCondLst>
                            <p:cond delay="0"/>
                          </p:stCondLst>
                        </p:cTn>
                        <p:tgtEl>
                          <p:spTgt spid="32"/>
                        </p:tgtEl>
                        <p:attrNameLst>
                          <p:attrName>style.visibility</p:attrName>
                        </p:attrNameLst>
                      </p:cBhvr>
                      <p:to>
                        <p:strVal val="visible"/>
                      </p:to>
                    </p:set>
                    <p:animEffect transition="in" filter="fade">
                      <p:cBhvr>
                        <p:cTn dur="500"/>
                        <p:tgtEl>
                          <p:spTgt spid="32"/>
                        </p:tgtEl>
                      </p:cBhvr>
                    </p:animEffect>
                  </p:childTnLst>
                </p:cTn>
              </p:par>
            </p:tnLst>
          </p:tmpl>
        </p:tmplLst>
      </p:bldP>
    </p:bld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content &amp; image">
    <p:spTree>
      <p:nvGrpSpPr>
        <p:cNvPr id="1" name=""/>
        <p:cNvGrpSpPr/>
        <p:nvPr/>
      </p:nvGrpSpPr>
      <p:grpSpPr>
        <a:xfrm>
          <a:off x="0" y="0"/>
          <a:ext cx="0" cy="0"/>
          <a:chOff x="0" y="0"/>
          <a:chExt cx="0" cy="0"/>
        </a:xfrm>
      </p:grpSpPr>
      <p:sp>
        <p:nvSpPr>
          <p:cNvPr id="13"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4"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6"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17" name="Rectangle 16"/>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
        <p:nvSpPr>
          <p:cNvPr id="18"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3" name="Content Placeholder 2"/>
          <p:cNvSpPr>
            <a:spLocks noGrp="1"/>
          </p:cNvSpPr>
          <p:nvPr>
            <p:ph idx="1" hasCustomPrompt="1"/>
          </p:nvPr>
        </p:nvSpPr>
        <p:spPr>
          <a:xfrm>
            <a:off x="363166" y="1600202"/>
            <a:ext cx="5556725" cy="4325076"/>
          </a:xfrm>
        </p:spPr>
        <p:txBody>
          <a:bodyPr/>
          <a:lstStyle/>
          <a:p>
            <a:pPr lvl="0"/>
            <a:r>
              <a:rPr lang="en-GB" err="1"/>
              <a:t>Modifiez</a:t>
            </a:r>
            <a:r>
              <a:rPr lang="en-GB"/>
              <a:t> les styles du </a:t>
            </a:r>
            <a:r>
              <a:rPr lang="en-GB" err="1"/>
              <a:t>texte</a:t>
            </a:r>
            <a:r>
              <a:rPr lang="en-GB"/>
              <a:t> du masque</a:t>
            </a:r>
          </a:p>
          <a:p>
            <a:pPr lvl="1"/>
            <a:r>
              <a:rPr lang="en-GB" err="1"/>
              <a:t>Deuxième</a:t>
            </a:r>
            <a:r>
              <a:rPr lang="en-GB"/>
              <a:t> </a:t>
            </a:r>
            <a:r>
              <a:rPr lang="en-GB" err="1"/>
              <a:t>niveau</a:t>
            </a:r>
            <a:endParaRPr lang="en-GB"/>
          </a:p>
          <a:p>
            <a:pPr lvl="2"/>
            <a:r>
              <a:rPr lang="en-GB" err="1"/>
              <a:t>Troisième</a:t>
            </a:r>
            <a:r>
              <a:rPr lang="en-GB"/>
              <a:t> </a:t>
            </a:r>
            <a:r>
              <a:rPr lang="en-GB" err="1"/>
              <a:t>niveau</a:t>
            </a:r>
            <a:endParaRPr lang="en-GB"/>
          </a:p>
          <a:p>
            <a:pPr lvl="3"/>
            <a:r>
              <a:rPr lang="en-GB" err="1"/>
              <a:t>Quatrième</a:t>
            </a:r>
            <a:r>
              <a:rPr lang="en-GB"/>
              <a:t> </a:t>
            </a:r>
            <a:r>
              <a:rPr lang="en-GB" err="1"/>
              <a:t>niveau</a:t>
            </a:r>
            <a:endParaRPr lang="en-GB"/>
          </a:p>
        </p:txBody>
      </p:sp>
      <p:sp>
        <p:nvSpPr>
          <p:cNvPr id="4" name="Titre 3"/>
          <p:cNvSpPr>
            <a:spLocks noGrp="1"/>
          </p:cNvSpPr>
          <p:nvPr>
            <p:ph type="title"/>
          </p:nvPr>
        </p:nvSpPr>
        <p:spPr/>
        <p:txBody>
          <a:bodyPr/>
          <a:lstStyle>
            <a:lvl1pPr>
              <a:defRPr>
                <a:solidFill>
                  <a:schemeClr val="accent1"/>
                </a:solidFill>
              </a:defRPr>
            </a:lvl1pPr>
          </a:lstStyle>
          <a:p>
            <a:r>
              <a:rPr lang="en-GB"/>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sp>
        <p:nvSpPr>
          <p:cNvPr id="15" name="Picture Placeholder 6"/>
          <p:cNvSpPr>
            <a:spLocks noGrp="1"/>
          </p:cNvSpPr>
          <p:nvPr>
            <p:ph type="pic" sz="quarter" idx="10"/>
          </p:nvPr>
        </p:nvSpPr>
        <p:spPr>
          <a:xfrm>
            <a:off x="6286364" y="1600202"/>
            <a:ext cx="5556725" cy="4325076"/>
          </a:xfrm>
          <a:prstGeom prst="roundRect">
            <a:avLst>
              <a:gd name="adj" fmla="val 14526"/>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GB" sz="2400">
                <a:solidFill>
                  <a:schemeClr val="lt1"/>
                </a:solidFill>
                <a:latin typeface="+mn-lt"/>
              </a:defRPr>
            </a:lvl1pPr>
          </a:lstStyle>
          <a:p>
            <a:pPr marL="0" lvl="0" algn="ctr"/>
            <a:endParaRPr lang="en-GB"/>
          </a:p>
        </p:txBody>
      </p:sp>
    </p:spTree>
    <p:extLst>
      <p:ext uri="{BB962C8B-B14F-4D97-AF65-F5344CB8AC3E}">
        <p14:creationId xmlns:p14="http://schemas.microsoft.com/office/powerpoint/2010/main" val="365431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2"/>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36086247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_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4" name="Titre 3"/>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57" name="Espace réservé pour une image  56"/>
          <p:cNvSpPr>
            <a:spLocks noGrp="1"/>
          </p:cNvSpPr>
          <p:nvPr>
            <p:ph type="pic" sz="quarter" idx="10"/>
          </p:nvPr>
        </p:nvSpPr>
        <p:spPr>
          <a:xfrm>
            <a:off x="1761067" y="1198443"/>
            <a:ext cx="8669867" cy="4346255"/>
          </a:xfrm>
          <a:custGeom>
            <a:avLst/>
            <a:gdLst>
              <a:gd name="connsiteX0" fmla="*/ 6107487 w 6502400"/>
              <a:gd name="connsiteY0" fmla="*/ 3159716 h 3259691"/>
              <a:gd name="connsiteX1" fmla="*/ 6160585 w 6502400"/>
              <a:gd name="connsiteY1" fmla="*/ 3170436 h 3259691"/>
              <a:gd name="connsiteX2" fmla="*/ 6107488 w 6502400"/>
              <a:gd name="connsiteY2" fmla="*/ 3159716 h 3259691"/>
              <a:gd name="connsiteX3" fmla="*/ 152362 w 6502400"/>
              <a:gd name="connsiteY3" fmla="*/ 2752632 h 3259691"/>
              <a:gd name="connsiteX4" fmla="*/ 140361 w 6502400"/>
              <a:gd name="connsiteY4" fmla="*/ 2760723 h 3259691"/>
              <a:gd name="connsiteX5" fmla="*/ 55105 w 6502400"/>
              <a:gd name="connsiteY5" fmla="*/ 2777935 h 3259691"/>
              <a:gd name="connsiteX6" fmla="*/ 55105 w 6502400"/>
              <a:gd name="connsiteY6" fmla="*/ 2777935 h 3259691"/>
              <a:gd name="connsiteX7" fmla="*/ 99246 w 6502400"/>
              <a:gd name="connsiteY7" fmla="*/ 2773485 h 3259691"/>
              <a:gd name="connsiteX8" fmla="*/ 192667 w 6502400"/>
              <a:gd name="connsiteY8" fmla="*/ 2725457 h 3259691"/>
              <a:gd name="connsiteX9" fmla="*/ 168679 w 6502400"/>
              <a:gd name="connsiteY9" fmla="*/ 2746225 h 3259691"/>
              <a:gd name="connsiteX10" fmla="*/ 152362 w 6502400"/>
              <a:gd name="connsiteY10" fmla="*/ 2752632 h 3259691"/>
              <a:gd name="connsiteX11" fmla="*/ 215354 w 6502400"/>
              <a:gd name="connsiteY11" fmla="*/ 2705816 h 3259691"/>
              <a:gd name="connsiteX12" fmla="*/ 209982 w 6502400"/>
              <a:gd name="connsiteY12" fmla="*/ 2713783 h 3259691"/>
              <a:gd name="connsiteX13" fmla="*/ 192667 w 6502400"/>
              <a:gd name="connsiteY13" fmla="*/ 2725457 h 3259691"/>
              <a:gd name="connsiteX14" fmla="*/ 227647 w 6502400"/>
              <a:gd name="connsiteY14" fmla="*/ 2687582 h 3259691"/>
              <a:gd name="connsiteX15" fmla="*/ 229221 w 6502400"/>
              <a:gd name="connsiteY15" fmla="*/ 2689333 h 3259691"/>
              <a:gd name="connsiteX16" fmla="*/ 224118 w 6502400"/>
              <a:gd name="connsiteY16" fmla="*/ 2698229 h 3259691"/>
              <a:gd name="connsiteX17" fmla="*/ 215354 w 6502400"/>
              <a:gd name="connsiteY17" fmla="*/ 2705816 h 3259691"/>
              <a:gd name="connsiteX18" fmla="*/ 473157 w 6502400"/>
              <a:gd name="connsiteY18" fmla="*/ 0 h 3259691"/>
              <a:gd name="connsiteX19" fmla="*/ 6029243 w 6502400"/>
              <a:gd name="connsiteY19" fmla="*/ 0 h 3259691"/>
              <a:gd name="connsiteX20" fmla="*/ 6502400 w 6502400"/>
              <a:gd name="connsiteY20" fmla="*/ 473157 h 3259691"/>
              <a:gd name="connsiteX21" fmla="*/ 6502400 w 6502400"/>
              <a:gd name="connsiteY21" fmla="*/ 2784153 h 3259691"/>
              <a:gd name="connsiteX22" fmla="*/ 6492787 w 6502400"/>
              <a:gd name="connsiteY22" fmla="*/ 2879511 h 3259691"/>
              <a:gd name="connsiteX23" fmla="*/ 6471027 w 6502400"/>
              <a:gd name="connsiteY23" fmla="*/ 2949612 h 3259691"/>
              <a:gd name="connsiteX24" fmla="*/ 6289795 w 6502400"/>
              <a:gd name="connsiteY24" fmla="*/ 2997917 h 3259691"/>
              <a:gd name="connsiteX25" fmla="*/ 6289716 w 6502400"/>
              <a:gd name="connsiteY25" fmla="*/ 2997951 h 3259691"/>
              <a:gd name="connsiteX26" fmla="*/ 6296998 w 6502400"/>
              <a:gd name="connsiteY26" fmla="*/ 3034023 h 3259691"/>
              <a:gd name="connsiteX27" fmla="*/ 6160585 w 6502400"/>
              <a:gd name="connsiteY27" fmla="*/ 2897610 h 3259691"/>
              <a:gd name="connsiteX28" fmla="*/ 6024172 w 6502400"/>
              <a:gd name="connsiteY28" fmla="*/ 3034023 h 3259691"/>
              <a:gd name="connsiteX29" fmla="*/ 6034892 w 6502400"/>
              <a:gd name="connsiteY29" fmla="*/ 3087121 h 3259691"/>
              <a:gd name="connsiteX30" fmla="*/ 6054023 w 6502400"/>
              <a:gd name="connsiteY30" fmla="*/ 3115496 h 3259691"/>
              <a:gd name="connsiteX31" fmla="*/ 6045354 w 6502400"/>
              <a:gd name="connsiteY31" fmla="*/ 3102639 h 3259691"/>
              <a:gd name="connsiteX32" fmla="*/ 6044375 w 6502400"/>
              <a:gd name="connsiteY32" fmla="*/ 3103058 h 3259691"/>
              <a:gd name="connsiteX33" fmla="*/ 5794026 w 6502400"/>
              <a:gd name="connsiteY33" fmla="*/ 3259691 h 3259691"/>
              <a:gd name="connsiteX34" fmla="*/ 739866 w 6502400"/>
              <a:gd name="connsiteY34" fmla="*/ 3257310 h 3259691"/>
              <a:gd name="connsiteX35" fmla="*/ 229221 w 6502400"/>
              <a:gd name="connsiteY35" fmla="*/ 2689333 h 3259691"/>
              <a:gd name="connsiteX36" fmla="*/ 260843 w 6502400"/>
              <a:gd name="connsiteY36" fmla="*/ 2634216 h 3259691"/>
              <a:gd name="connsiteX37" fmla="*/ 274133 w 6502400"/>
              <a:gd name="connsiteY37" fmla="*/ 2558906 h 3259691"/>
              <a:gd name="connsiteX38" fmla="*/ 55104 w 6502400"/>
              <a:gd name="connsiteY38" fmla="*/ 2339877 h 3259691"/>
              <a:gd name="connsiteX39" fmla="*/ 10962 w 6502400"/>
              <a:gd name="connsiteY39" fmla="*/ 2344327 h 3259691"/>
              <a:gd name="connsiteX40" fmla="*/ 0 w 6502400"/>
              <a:gd name="connsiteY40" fmla="*/ 2347730 h 3259691"/>
              <a:gd name="connsiteX41" fmla="*/ 0 w 6502400"/>
              <a:gd name="connsiteY41" fmla="*/ 473157 h 3259691"/>
              <a:gd name="connsiteX42" fmla="*/ 473157 w 6502400"/>
              <a:gd name="connsiteY42" fmla="*/ 0 h 3259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6502400" h="3259691">
                <a:moveTo>
                  <a:pt x="6107487" y="3159716"/>
                </a:moveTo>
                <a:lnTo>
                  <a:pt x="6160585" y="3170436"/>
                </a:lnTo>
                <a:cubicBezTo>
                  <a:pt x="6141751" y="3170436"/>
                  <a:pt x="6123808" y="3166619"/>
                  <a:pt x="6107488" y="3159716"/>
                </a:cubicBezTo>
                <a:close/>
                <a:moveTo>
                  <a:pt x="152362" y="2752632"/>
                </a:moveTo>
                <a:lnTo>
                  <a:pt x="140361" y="2760723"/>
                </a:lnTo>
                <a:cubicBezTo>
                  <a:pt x="114157" y="2771806"/>
                  <a:pt x="85347" y="2777935"/>
                  <a:pt x="55105" y="2777935"/>
                </a:cubicBezTo>
                <a:lnTo>
                  <a:pt x="55105" y="2777935"/>
                </a:lnTo>
                <a:lnTo>
                  <a:pt x="99246" y="2773485"/>
                </a:lnTo>
                <a:close/>
                <a:moveTo>
                  <a:pt x="192667" y="2725457"/>
                </a:moveTo>
                <a:lnTo>
                  <a:pt x="168679" y="2746225"/>
                </a:lnTo>
                <a:lnTo>
                  <a:pt x="152362" y="2752632"/>
                </a:lnTo>
                <a:close/>
                <a:moveTo>
                  <a:pt x="215354" y="2705816"/>
                </a:moveTo>
                <a:lnTo>
                  <a:pt x="209982" y="2713783"/>
                </a:lnTo>
                <a:lnTo>
                  <a:pt x="192667" y="2725457"/>
                </a:lnTo>
                <a:close/>
                <a:moveTo>
                  <a:pt x="227647" y="2687582"/>
                </a:moveTo>
                <a:lnTo>
                  <a:pt x="229221" y="2689333"/>
                </a:lnTo>
                <a:lnTo>
                  <a:pt x="224118" y="2698229"/>
                </a:lnTo>
                <a:lnTo>
                  <a:pt x="215354" y="2705816"/>
                </a:lnTo>
                <a:close/>
                <a:moveTo>
                  <a:pt x="473157" y="0"/>
                </a:moveTo>
                <a:lnTo>
                  <a:pt x="6029243" y="0"/>
                </a:lnTo>
                <a:cubicBezTo>
                  <a:pt x="6290560" y="0"/>
                  <a:pt x="6502400" y="211840"/>
                  <a:pt x="6502400" y="473157"/>
                </a:cubicBezTo>
                <a:lnTo>
                  <a:pt x="6502400" y="2784153"/>
                </a:lnTo>
                <a:cubicBezTo>
                  <a:pt x="6502400" y="2816818"/>
                  <a:pt x="6499090" y="2848709"/>
                  <a:pt x="6492787" y="2879511"/>
                </a:cubicBezTo>
                <a:lnTo>
                  <a:pt x="6471027" y="2949612"/>
                </a:lnTo>
                <a:lnTo>
                  <a:pt x="6289795" y="2997917"/>
                </a:lnTo>
                <a:lnTo>
                  <a:pt x="6289716" y="2997951"/>
                </a:lnTo>
                <a:lnTo>
                  <a:pt x="6296998" y="3034023"/>
                </a:lnTo>
                <a:cubicBezTo>
                  <a:pt x="6296998" y="2958684"/>
                  <a:pt x="6235924" y="2897610"/>
                  <a:pt x="6160585" y="2897610"/>
                </a:cubicBezTo>
                <a:cubicBezTo>
                  <a:pt x="6085246" y="2897610"/>
                  <a:pt x="6024172" y="2958684"/>
                  <a:pt x="6024172" y="3034023"/>
                </a:cubicBezTo>
                <a:cubicBezTo>
                  <a:pt x="6024172" y="3052858"/>
                  <a:pt x="6027989" y="3070801"/>
                  <a:pt x="6034892" y="3087121"/>
                </a:cubicBezTo>
                <a:lnTo>
                  <a:pt x="6054023" y="3115496"/>
                </a:lnTo>
                <a:lnTo>
                  <a:pt x="6045354" y="3102639"/>
                </a:lnTo>
                <a:lnTo>
                  <a:pt x="6044375" y="3103058"/>
                </a:lnTo>
                <a:lnTo>
                  <a:pt x="5794026" y="3259691"/>
                </a:lnTo>
                <a:lnTo>
                  <a:pt x="739866" y="3257310"/>
                </a:lnTo>
                <a:lnTo>
                  <a:pt x="229221" y="2689333"/>
                </a:lnTo>
                <a:lnTo>
                  <a:pt x="260843" y="2634216"/>
                </a:lnTo>
                <a:cubicBezTo>
                  <a:pt x="269441" y="2610733"/>
                  <a:pt x="274133" y="2585367"/>
                  <a:pt x="274133" y="2558906"/>
                </a:cubicBezTo>
                <a:cubicBezTo>
                  <a:pt x="274133" y="2437940"/>
                  <a:pt x="176070" y="2339877"/>
                  <a:pt x="55104" y="2339877"/>
                </a:cubicBezTo>
                <a:cubicBezTo>
                  <a:pt x="39984" y="2339877"/>
                  <a:pt x="25221" y="2341409"/>
                  <a:pt x="10962" y="2344327"/>
                </a:cubicBezTo>
                <a:lnTo>
                  <a:pt x="0" y="2347730"/>
                </a:lnTo>
                <a:lnTo>
                  <a:pt x="0" y="473157"/>
                </a:lnTo>
                <a:cubicBezTo>
                  <a:pt x="0" y="211840"/>
                  <a:pt x="211840" y="0"/>
                  <a:pt x="473157" y="0"/>
                </a:cubicBez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GB" sz="2400">
                <a:solidFill>
                  <a:schemeClr val="lt1"/>
                </a:solidFill>
                <a:latin typeface="+mn-lt"/>
              </a:defRPr>
            </a:lvl1pPr>
          </a:lstStyle>
          <a:p>
            <a:pPr marL="0" lvl="0" algn="ctr"/>
            <a:endParaRPr lang="en-GB" dirty="0"/>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pic>
        <p:nvPicPr>
          <p:cNvPr id="104" name="Image 103"/>
          <p:cNvPicPr>
            <a:picLocks noChangeAspect="1"/>
          </p:cNvPicPr>
          <p:nvPr userDrawn="1"/>
        </p:nvPicPr>
        <p:blipFill>
          <a:blip r:embed="rId3"/>
          <a:srcRect/>
          <a:stretch>
            <a:fillRect/>
          </a:stretch>
        </p:blipFill>
        <p:spPr>
          <a:xfrm>
            <a:off x="-467455" y="-397260"/>
            <a:ext cx="3194581" cy="3194581"/>
          </a:xfrm>
          <a:custGeom>
            <a:avLst/>
            <a:gdLst>
              <a:gd name="connsiteX0" fmla="*/ 0 w 2395936"/>
              <a:gd name="connsiteY0" fmla="*/ 0 h 2395936"/>
              <a:gd name="connsiteX1" fmla="*/ 2395936 w 2395936"/>
              <a:gd name="connsiteY1" fmla="*/ 0 h 2395936"/>
              <a:gd name="connsiteX2" fmla="*/ 2395936 w 2395936"/>
              <a:gd name="connsiteY2" fmla="*/ 1196777 h 2395936"/>
              <a:gd name="connsiteX3" fmla="*/ 2133017 w 2395936"/>
              <a:gd name="connsiteY3" fmla="*/ 1196777 h 2395936"/>
              <a:gd name="connsiteX4" fmla="*/ 1671391 w 2395936"/>
              <a:gd name="connsiteY4" fmla="*/ 1658403 h 2395936"/>
              <a:gd name="connsiteX5" fmla="*/ 1671391 w 2395936"/>
              <a:gd name="connsiteY5" fmla="*/ 2395936 h 2395936"/>
              <a:gd name="connsiteX6" fmla="*/ 0 w 2395936"/>
              <a:gd name="connsiteY6" fmla="*/ 2395936 h 2395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5936" h="2395936">
                <a:moveTo>
                  <a:pt x="0" y="0"/>
                </a:moveTo>
                <a:lnTo>
                  <a:pt x="2395936" y="0"/>
                </a:lnTo>
                <a:lnTo>
                  <a:pt x="2395936" y="1196777"/>
                </a:lnTo>
                <a:lnTo>
                  <a:pt x="2133017" y="1196777"/>
                </a:lnTo>
                <a:cubicBezTo>
                  <a:pt x="1878068" y="1196777"/>
                  <a:pt x="1671391" y="1403454"/>
                  <a:pt x="1671391" y="1658403"/>
                </a:cubicBezTo>
                <a:lnTo>
                  <a:pt x="1671391" y="2395936"/>
                </a:lnTo>
                <a:lnTo>
                  <a:pt x="0" y="2395936"/>
                </a:lnTo>
                <a:close/>
              </a:path>
            </a:pathLst>
          </a:custGeom>
        </p:spPr>
      </p:pic>
      <p:grpSp>
        <p:nvGrpSpPr>
          <p:cNvPr id="58" name="Groupe 57"/>
          <p:cNvGrpSpPr/>
          <p:nvPr userDrawn="1"/>
        </p:nvGrpSpPr>
        <p:grpSpPr>
          <a:xfrm>
            <a:off x="-278372" y="4318279"/>
            <a:ext cx="12653659" cy="1237084"/>
            <a:chOff x="-208779" y="3238709"/>
            <a:chExt cx="9490244" cy="927813"/>
          </a:xfrm>
        </p:grpSpPr>
        <p:grpSp>
          <p:nvGrpSpPr>
            <p:cNvPr id="59" name="Groupe 58"/>
            <p:cNvGrpSpPr/>
            <p:nvPr/>
          </p:nvGrpSpPr>
          <p:grpSpPr>
            <a:xfrm>
              <a:off x="-208779" y="3720857"/>
              <a:ext cx="366612" cy="366612"/>
              <a:chOff x="1611689" y="1398034"/>
              <a:chExt cx="2388572" cy="2388572"/>
            </a:xfrm>
          </p:grpSpPr>
          <p:sp>
            <p:nvSpPr>
              <p:cNvPr id="88" name="Ellipse 87"/>
              <p:cNvSpPr/>
              <p:nvPr/>
            </p:nvSpPr>
            <p:spPr>
              <a:xfrm>
                <a:off x="1611689" y="1398034"/>
                <a:ext cx="2388572" cy="238857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89"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90"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1"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2"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3"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4"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0" name="Groupe 59"/>
            <p:cNvGrpSpPr/>
            <p:nvPr/>
          </p:nvGrpSpPr>
          <p:grpSpPr>
            <a:xfrm>
              <a:off x="155575" y="3238709"/>
              <a:ext cx="9125890" cy="830559"/>
              <a:chOff x="155575" y="3238709"/>
              <a:chExt cx="9125890" cy="830559"/>
            </a:xfrm>
          </p:grpSpPr>
          <p:grpSp>
            <p:nvGrpSpPr>
              <p:cNvPr id="62" name="Groupe 61"/>
              <p:cNvGrpSpPr/>
              <p:nvPr/>
            </p:nvGrpSpPr>
            <p:grpSpPr>
              <a:xfrm>
                <a:off x="1156875" y="3238709"/>
                <a:ext cx="438058" cy="438058"/>
                <a:chOff x="1611689" y="1398034"/>
                <a:chExt cx="2388572" cy="2388572"/>
              </a:xfrm>
            </p:grpSpPr>
            <p:sp>
              <p:nvSpPr>
                <p:cNvPr id="81" name="Ellipse 80"/>
                <p:cNvSpPr/>
                <p:nvPr/>
              </p:nvSpPr>
              <p:spPr>
                <a:xfrm>
                  <a:off x="1611689" y="1398034"/>
                  <a:ext cx="2388572" cy="2388572"/>
                </a:xfrm>
                <a:prstGeom prst="ellipse">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82"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83"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4"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5"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6"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7"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3" name="Groupe 62"/>
              <p:cNvGrpSpPr/>
              <p:nvPr/>
            </p:nvGrpSpPr>
            <p:grpSpPr>
              <a:xfrm>
                <a:off x="7344972" y="3796442"/>
                <a:ext cx="272826" cy="272826"/>
                <a:chOff x="1611689" y="1398034"/>
                <a:chExt cx="2388572" cy="2388572"/>
              </a:xfrm>
            </p:grpSpPr>
            <p:sp>
              <p:nvSpPr>
                <p:cNvPr id="74" name="Ellipse 73"/>
                <p:cNvSpPr/>
                <p:nvPr/>
              </p:nvSpPr>
              <p:spPr>
                <a:xfrm>
                  <a:off x="1611689" y="1398034"/>
                  <a:ext cx="2388572" cy="2388572"/>
                </a:xfrm>
                <a:prstGeom prst="ellipse">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75"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76"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7"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8"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9"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0"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4" name="Groupe 63"/>
              <p:cNvGrpSpPr/>
              <p:nvPr/>
            </p:nvGrpSpPr>
            <p:grpSpPr>
              <a:xfrm>
                <a:off x="8850665" y="3296625"/>
                <a:ext cx="430800" cy="430800"/>
                <a:chOff x="1611689" y="1398034"/>
                <a:chExt cx="2388572" cy="2388572"/>
              </a:xfrm>
            </p:grpSpPr>
            <p:sp>
              <p:nvSpPr>
                <p:cNvPr id="67" name="Ellipse 66"/>
                <p:cNvSpPr/>
                <p:nvPr/>
              </p:nvSpPr>
              <p:spPr>
                <a:xfrm>
                  <a:off x="1611689" y="1398034"/>
                  <a:ext cx="2388572" cy="2388572"/>
                </a:xfrm>
                <a:prstGeom prst="ellipse">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68"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69"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0"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1"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2"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3"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cxnSp>
            <p:nvCxnSpPr>
              <p:cNvPr id="65" name="Connecteur droit 64"/>
              <p:cNvCxnSpPr/>
              <p:nvPr/>
            </p:nvCxnSpPr>
            <p:spPr>
              <a:xfrm flipV="1">
                <a:off x="155575" y="3524250"/>
                <a:ext cx="1009650" cy="339727"/>
              </a:xfrm>
              <a:prstGeom prst="line">
                <a:avLst/>
              </a:pr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66" name="Connecteur droit 65"/>
              <p:cNvCxnSpPr/>
              <p:nvPr/>
            </p:nvCxnSpPr>
            <p:spPr>
              <a:xfrm flipH="1">
                <a:off x="7616537" y="3562350"/>
                <a:ext cx="1241713" cy="349225"/>
              </a:xfrm>
              <a:prstGeom prst="line">
                <a:avLst/>
              </a:pr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cxnSp>
        </p:grpSp>
        <p:sp>
          <p:nvSpPr>
            <p:cNvPr id="61" name="Forme libre : forme 60"/>
            <p:cNvSpPr/>
            <p:nvPr/>
          </p:nvSpPr>
          <p:spPr>
            <a:xfrm>
              <a:off x="1549400" y="3588672"/>
              <a:ext cx="5816600" cy="577850"/>
            </a:xfrm>
            <a:custGeom>
              <a:avLst/>
              <a:gdLst>
                <a:gd name="connsiteX0" fmla="*/ 0 w 5816600"/>
                <a:gd name="connsiteY0" fmla="*/ 0 h 577850"/>
                <a:gd name="connsiteX1" fmla="*/ 520700 w 5816600"/>
                <a:gd name="connsiteY1" fmla="*/ 577850 h 577850"/>
                <a:gd name="connsiteX2" fmla="*/ 5556250 w 5816600"/>
                <a:gd name="connsiteY2" fmla="*/ 577850 h 577850"/>
                <a:gd name="connsiteX3" fmla="*/ 5816600 w 5816600"/>
                <a:gd name="connsiteY3" fmla="*/ 425450 h 577850"/>
              </a:gdLst>
              <a:ahLst/>
              <a:cxnLst>
                <a:cxn ang="0">
                  <a:pos x="connsiteX0" y="connsiteY0"/>
                </a:cxn>
                <a:cxn ang="0">
                  <a:pos x="connsiteX1" y="connsiteY1"/>
                </a:cxn>
                <a:cxn ang="0">
                  <a:pos x="connsiteX2" y="connsiteY2"/>
                </a:cxn>
                <a:cxn ang="0">
                  <a:pos x="connsiteX3" y="connsiteY3"/>
                </a:cxn>
              </a:cxnLst>
              <a:rect l="l" t="t" r="r" b="b"/>
              <a:pathLst>
                <a:path w="5816600" h="577850">
                  <a:moveTo>
                    <a:pt x="0" y="0"/>
                  </a:moveTo>
                  <a:lnTo>
                    <a:pt x="520700" y="577850"/>
                  </a:lnTo>
                  <a:lnTo>
                    <a:pt x="5556250" y="577850"/>
                  </a:lnTo>
                  <a:lnTo>
                    <a:pt x="5816600" y="425450"/>
                  </a:lnTo>
                </a:path>
              </a:pathLst>
            </a:cu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grpSp>
      <p:sp>
        <p:nvSpPr>
          <p:cNvPr id="5" name="Espace réservé du texte 4"/>
          <p:cNvSpPr>
            <a:spLocks noGrp="1"/>
          </p:cNvSpPr>
          <p:nvPr>
            <p:ph type="body" sz="quarter" idx="11" hasCustomPrompt="1"/>
          </p:nvPr>
        </p:nvSpPr>
        <p:spPr>
          <a:xfrm>
            <a:off x="2800216" y="5106329"/>
            <a:ext cx="6591600" cy="807879"/>
          </a:xfrm>
          <a:prstGeom prst="roundRect">
            <a:avLst>
              <a:gd name="adj" fmla="val 50000"/>
            </a:avLst>
          </a:prstGeom>
          <a:gradFill>
            <a:gsLst>
              <a:gs pos="53000">
                <a:schemeClr val="tx2">
                  <a:lumMod val="75000"/>
                  <a:lumOff val="25000"/>
                </a:schemeClr>
              </a:gs>
              <a:gs pos="100000">
                <a:schemeClr val="accent1"/>
              </a:gs>
              <a:gs pos="0">
                <a:srgbClr val="4891A0"/>
              </a:gs>
            </a:gsLst>
            <a:path path="circle">
              <a:fillToRect l="100000" t="100000"/>
            </a:path>
          </a:gradFill>
        </p:spPr>
        <p:txBody>
          <a:bodyPr wrap="none" lIns="72000" tIns="0" rIns="72000" bIns="0" anchor="ctr">
            <a:spAutoFit/>
          </a:bodyPr>
          <a:lstStyle>
            <a:lvl1pPr marL="0" indent="0" algn="ctr">
              <a:buNone/>
              <a:defRPr sz="3733" baseline="0">
                <a:solidFill>
                  <a:schemeClr val="bg1"/>
                </a:solidFill>
              </a:defRPr>
            </a:lvl1pPr>
            <a:lvl2pPr marL="133347" indent="0">
              <a:buFont typeface="Arial" panose="020B0604020202020204" pitchFamily="34" charset="0"/>
              <a:buNone/>
              <a:defRPr/>
            </a:lvl2pPr>
            <a:lvl3pPr marL="478355" indent="0">
              <a:buNone/>
              <a:defRPr/>
            </a:lvl3pPr>
            <a:lvl4pPr marL="831830" indent="0">
              <a:buNone/>
              <a:defRPr/>
            </a:lvl4pPr>
            <a:lvl5pPr marL="1195887" indent="0">
              <a:buNone/>
              <a:defRPr/>
            </a:lvl5pPr>
          </a:lstStyle>
          <a:p>
            <a:pPr lvl="0"/>
            <a:r>
              <a:rPr lang="fr-FR" dirty="0"/>
              <a:t>Click pour rajouter du texte</a:t>
            </a:r>
          </a:p>
        </p:txBody>
      </p:sp>
      <p:sp>
        <p:nvSpPr>
          <p:cNvPr id="3" name="Espace réservé du pied de page 2"/>
          <p:cNvSpPr>
            <a:spLocks noGrp="1"/>
          </p:cNvSpPr>
          <p:nvPr>
            <p:ph type="ftr" sz="quarter" idx="12"/>
          </p:nvPr>
        </p:nvSpPr>
        <p:spPr/>
        <p:txBody>
          <a:bodyPr/>
          <a:lstStyle/>
          <a:p>
            <a:r>
              <a:rPr lang="fr-FR"/>
              <a:t>| Titre de la présentation</a:t>
            </a:r>
            <a:endParaRPr lang="fr-FR" dirty="0"/>
          </a:p>
        </p:txBody>
      </p:sp>
    </p:spTree>
    <p:extLst>
      <p:ext uri="{BB962C8B-B14F-4D97-AF65-F5344CB8AC3E}">
        <p14:creationId xmlns:p14="http://schemas.microsoft.com/office/powerpoint/2010/main" val="33037013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17"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8"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9"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20" name="Rectangle 19"/>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21"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4" name="Titre 3"/>
          <p:cNvSpPr>
            <a:spLocks noGrp="1"/>
          </p:cNvSpPr>
          <p:nvPr>
            <p:ph type="title"/>
          </p:nvPr>
        </p:nvSpPr>
        <p:spPr/>
        <p:txBody>
          <a:bodyPr/>
          <a:lstStyle>
            <a:lvl1pPr>
              <a:defRPr>
                <a:solidFill>
                  <a:schemeClr val="accent1"/>
                </a:solidFill>
              </a:defRPr>
            </a:lvl1pPr>
          </a:lstStyle>
          <a:p>
            <a:r>
              <a:rPr lang="en-GB" dirty="0"/>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287391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11"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Tree>
    <p:extLst>
      <p:ext uri="{BB962C8B-B14F-4D97-AF65-F5344CB8AC3E}">
        <p14:creationId xmlns:p14="http://schemas.microsoft.com/office/powerpoint/2010/main" val="1500533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11"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a:t>| Improving industrial performance</a:t>
            </a:r>
            <a:endParaRPr lang="fr-FR" dirty="0"/>
          </a:p>
        </p:txBody>
      </p:sp>
      <p:pic>
        <p:nvPicPr>
          <p:cNvPr id="4" name="Picture 3"/>
          <p:cNvPicPr>
            <a:picLocks noChangeAspect="1"/>
          </p:cNvPicPr>
          <p:nvPr userDrawn="1"/>
        </p:nvPicPr>
        <p:blipFill>
          <a:blip r:embed="rId2"/>
          <a:stretch>
            <a:fillRect/>
          </a:stretch>
        </p:blipFill>
        <p:spPr>
          <a:xfrm>
            <a:off x="0" y="-440012"/>
            <a:ext cx="12192000" cy="8132064"/>
          </a:xfrm>
          <a:prstGeom prst="rect">
            <a:avLst/>
          </a:prstGeom>
        </p:spPr>
      </p:pic>
    </p:spTree>
    <p:extLst>
      <p:ext uri="{BB962C8B-B14F-4D97-AF65-F5344CB8AC3E}">
        <p14:creationId xmlns:p14="http://schemas.microsoft.com/office/powerpoint/2010/main" val="4037481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74640" y="1562102"/>
            <a:ext cx="11653523" cy="2127164"/>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05" indent="0">
              <a:buNone/>
              <a:defRPr/>
            </a:lvl3pPr>
            <a:lvl4pPr marL="448010" indent="0">
              <a:buNone/>
              <a:defRPr/>
            </a:lvl4pPr>
            <a:lvl5pPr marL="67201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76403325"/>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1907511032"/>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Rectangle 2"/>
          <p:cNvSpPr/>
          <p:nvPr userDrawn="1"/>
        </p:nvSpPr>
        <p:spPr bwMode="auto">
          <a:xfrm>
            <a:off x="508551" y="3575431"/>
            <a:ext cx="11192219" cy="3076192"/>
          </a:xfrm>
          <a:prstGeom prst="rect">
            <a:avLst/>
          </a:prstGeom>
          <a:solidFill>
            <a:schemeClr val="tx2"/>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0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2297803" y="1796853"/>
            <a:ext cx="9402967" cy="1737875"/>
          </a:xfrm>
          <a:prstGeom prst="rect">
            <a:avLst/>
          </a:prstGeom>
          <a:solidFill>
            <a:schemeClr val="tx2"/>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0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508551" y="1832856"/>
            <a:ext cx="1789252" cy="1586325"/>
          </a:xfrm>
          <a:prstGeom prst="rect">
            <a:avLst/>
          </a:prstGeom>
          <a:solidFill>
            <a:schemeClr val="accent1">
              <a:lumMod val="7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02"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white"/>
              </a:solidFill>
              <a:effectLst/>
              <a:uLnTx/>
              <a:uFillTx/>
              <a:latin typeface="Segoe UI"/>
              <a:ea typeface="+mn-ea"/>
              <a:cs typeface="+mn-cs"/>
            </a:endParaRPr>
          </a:p>
        </p:txBody>
      </p:sp>
      <p:cxnSp>
        <p:nvCxnSpPr>
          <p:cNvPr id="59" name="Straight Connector 58"/>
          <p:cNvCxnSpPr/>
          <p:nvPr userDrawn="1"/>
        </p:nvCxnSpPr>
        <p:spPr>
          <a:xfrm>
            <a:off x="5309465" y="1996632"/>
            <a:ext cx="0" cy="1313987"/>
          </a:xfrm>
          <a:prstGeom prst="line">
            <a:avLst/>
          </a:prstGeom>
          <a:ln w="6350">
            <a:gradFill>
              <a:gsLst>
                <a:gs pos="0">
                  <a:srgbClr val="002050">
                    <a:alpha val="59000"/>
                  </a:srgbClr>
                </a:gs>
                <a:gs pos="100000">
                  <a:srgbClr val="002050"/>
                </a:gs>
              </a:gsLst>
              <a:lin ang="5400000" scaled="1"/>
            </a:gradFill>
          </a:ln>
        </p:spPr>
        <p:style>
          <a:lnRef idx="1">
            <a:schemeClr val="accent1"/>
          </a:lnRef>
          <a:fillRef idx="0">
            <a:schemeClr val="accent1"/>
          </a:fillRef>
          <a:effectRef idx="0">
            <a:schemeClr val="accent1"/>
          </a:effectRef>
          <a:fontRef idx="minor">
            <a:schemeClr val="tx1"/>
          </a:fontRef>
        </p:style>
      </p:cxnSp>
      <p:sp>
        <p:nvSpPr>
          <p:cNvPr id="60" name="Isosceles Triangle 59"/>
          <p:cNvSpPr/>
          <p:nvPr userDrawn="1"/>
        </p:nvSpPr>
        <p:spPr bwMode="auto">
          <a:xfrm rot="5400000">
            <a:off x="-128132" y="2476621"/>
            <a:ext cx="1701872" cy="428508"/>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0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828502" y="2104244"/>
            <a:ext cx="1149351" cy="1098634"/>
          </a:xfrm>
        </p:spPr>
        <p:txBody>
          <a:bodyPr/>
          <a:lstStyle>
            <a:lvl1pPr marL="0" indent="0" algn="ctr">
              <a:buNone/>
              <a:defRPr sz="6599"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2476502" y="2225484"/>
            <a:ext cx="2659303" cy="886397"/>
          </a:xfrm>
        </p:spPr>
        <p:txBody>
          <a:bodyPr lIns="0" tIns="0" rIns="0" bIns="0" anchor="ctr"/>
          <a:lstStyle>
            <a:lvl1pPr marL="0" indent="0">
              <a:buNone/>
              <a:defRPr sz="3200">
                <a:solidFill>
                  <a:schemeClr val="bg1"/>
                </a:solidFill>
              </a:defRPr>
            </a:lvl1pPr>
            <a:lvl2pPr marL="336008" indent="0">
              <a:buNone/>
              <a:defRPr/>
            </a:lvl2pPr>
            <a:lvl3pPr marL="560013" indent="0">
              <a:buNone/>
              <a:defRPr/>
            </a:lvl3pPr>
            <a:lvl4pPr marL="784016" indent="0">
              <a:buNone/>
              <a:defRPr/>
            </a:lvl4pPr>
            <a:lvl5pPr marL="1008021" indent="0">
              <a:buNone/>
              <a:defRPr/>
            </a:lvl5pPr>
          </a:lstStyle>
          <a:p>
            <a:pPr lvl="0"/>
            <a:r>
              <a:rPr lang="en-US" dirty="0"/>
              <a:t>Edit Master text styles</a:t>
            </a:r>
          </a:p>
        </p:txBody>
      </p:sp>
      <p:sp>
        <p:nvSpPr>
          <p:cNvPr id="68" name="Text Placeholder 66"/>
          <p:cNvSpPr>
            <a:spLocks noGrp="1"/>
          </p:cNvSpPr>
          <p:nvPr>
            <p:ph type="body" sz="quarter" idx="12"/>
          </p:nvPr>
        </p:nvSpPr>
        <p:spPr>
          <a:xfrm>
            <a:off x="5455755" y="2530185"/>
            <a:ext cx="5996440" cy="276999"/>
          </a:xfrm>
        </p:spPr>
        <p:txBody>
          <a:bodyPr lIns="0" tIns="0" rIns="0" bIns="0" anchor="ctr"/>
          <a:lstStyle>
            <a:lvl1pPr marL="0" indent="0">
              <a:buNone/>
              <a:defRPr sz="2000">
                <a:solidFill>
                  <a:schemeClr val="bg1"/>
                </a:solidFill>
                <a:latin typeface="+mn-lt"/>
              </a:defRPr>
            </a:lvl1pPr>
            <a:lvl2pPr marL="336008" indent="0">
              <a:buNone/>
              <a:defRPr/>
            </a:lvl2pPr>
            <a:lvl3pPr marL="560013" indent="0">
              <a:buNone/>
              <a:defRPr/>
            </a:lvl3pPr>
            <a:lvl4pPr marL="784016" indent="0">
              <a:buNone/>
              <a:defRPr/>
            </a:lvl4pPr>
            <a:lvl5pPr marL="1008021" indent="0">
              <a:buNone/>
              <a:defRPr/>
            </a:lvl5pPr>
          </a:lstStyle>
          <a:p>
            <a:pPr lvl="0"/>
            <a:r>
              <a:rPr lang="en-US" dirty="0"/>
              <a:t>Edit Master text styles</a:t>
            </a:r>
          </a:p>
        </p:txBody>
      </p:sp>
      <p:sp>
        <p:nvSpPr>
          <p:cNvPr id="69" name="Text Placeholder 7"/>
          <p:cNvSpPr>
            <a:spLocks noGrp="1"/>
          </p:cNvSpPr>
          <p:nvPr>
            <p:ph type="body" sz="quarter" idx="13"/>
          </p:nvPr>
        </p:nvSpPr>
        <p:spPr>
          <a:xfrm>
            <a:off x="274640" y="1052514"/>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Tree>
    <p:extLst>
      <p:ext uri="{BB962C8B-B14F-4D97-AF65-F5344CB8AC3E}">
        <p14:creationId xmlns:p14="http://schemas.microsoft.com/office/powerpoint/2010/main" val="4219724612"/>
      </p:ext>
    </p:extLst>
  </p:cSld>
  <p:clrMapOvr>
    <a:masterClrMapping/>
  </p:clrMapOvr>
  <p:transition>
    <p:fade/>
  </p:transition>
  <p:extLst mod="1">
    <p:ext uri="{DCECCB84-F9BA-43D5-87BE-67443E8EF086}">
      <p15:sldGuideLst xmlns:p15="http://schemas.microsoft.com/office/powerpoint/2012/main">
        <p15:guide id="1" orient="horz" pos="1104">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5_Title &amp; Non-bulleted text">
    <p:spTree>
      <p:nvGrpSpPr>
        <p:cNvPr id="1" name=""/>
        <p:cNvGrpSpPr/>
        <p:nvPr/>
      </p:nvGrpSpPr>
      <p:grpSpPr>
        <a:xfrm>
          <a:off x="0" y="0"/>
          <a:ext cx="0" cy="0"/>
          <a:chOff x="0" y="0"/>
          <a:chExt cx="0" cy="0"/>
        </a:xfrm>
      </p:grpSpPr>
      <p:sp>
        <p:nvSpPr>
          <p:cNvPr id="3" name="Rectangle 2"/>
          <p:cNvSpPr/>
          <p:nvPr userDrawn="1"/>
        </p:nvSpPr>
        <p:spPr bwMode="auto">
          <a:xfrm>
            <a:off x="0" y="3575431"/>
            <a:ext cx="12192000" cy="3282571"/>
          </a:xfrm>
          <a:prstGeom prst="rect">
            <a:avLst/>
          </a:prstGeom>
          <a:solidFill>
            <a:schemeClr val="tx1">
              <a:lumMod val="95000"/>
            </a:schemeClr>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0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1805328" y="1796853"/>
            <a:ext cx="10386672" cy="1737875"/>
          </a:xfrm>
          <a:prstGeom prst="rect">
            <a:avLst/>
          </a:prstGeom>
          <a:solidFill>
            <a:schemeClr val="tx1">
              <a:lumMod val="9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0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8039" y="1796852"/>
            <a:ext cx="1789252" cy="1737875"/>
          </a:xfrm>
          <a:prstGeom prst="rect">
            <a:avLst/>
          </a:prstGeom>
          <a:solidFill>
            <a:schemeClr val="bg2"/>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02"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60" name="Isosceles Triangle 59"/>
          <p:cNvSpPr/>
          <p:nvPr userDrawn="1"/>
        </p:nvSpPr>
        <p:spPr bwMode="auto">
          <a:xfrm rot="5400000">
            <a:off x="-631959" y="2473079"/>
            <a:ext cx="1694788" cy="428508"/>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0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441218" y="2175269"/>
            <a:ext cx="1149351" cy="1098634"/>
          </a:xfrm>
        </p:spPr>
        <p:txBody>
          <a:bodyPr/>
          <a:lstStyle>
            <a:lvl1pPr marL="0" indent="0" algn="ctr">
              <a:buNone/>
              <a:defRPr sz="6599"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1938928" y="1953670"/>
            <a:ext cx="9513267" cy="443199"/>
          </a:xfrm>
        </p:spPr>
        <p:txBody>
          <a:bodyPr lIns="0" tIns="0" rIns="0" bIns="0" anchor="ctr"/>
          <a:lstStyle>
            <a:lvl1pPr marL="0" indent="0">
              <a:buNone/>
              <a:defRPr sz="3200">
                <a:solidFill>
                  <a:schemeClr val="bg1"/>
                </a:solidFill>
              </a:defRPr>
            </a:lvl1pPr>
            <a:lvl2pPr marL="336008" indent="0">
              <a:buNone/>
              <a:defRPr/>
            </a:lvl2pPr>
            <a:lvl3pPr marL="560013" indent="0">
              <a:buNone/>
              <a:defRPr/>
            </a:lvl3pPr>
            <a:lvl4pPr marL="784016" indent="0">
              <a:buNone/>
              <a:defRPr/>
            </a:lvl4pPr>
            <a:lvl5pPr marL="1008021" indent="0">
              <a:buNone/>
              <a:defRPr/>
            </a:lvl5pPr>
          </a:lstStyle>
          <a:p>
            <a:pPr lvl="0"/>
            <a:r>
              <a:rPr lang="en-US" dirty="0"/>
              <a:t>Edit Master text styles</a:t>
            </a:r>
          </a:p>
        </p:txBody>
      </p:sp>
      <p:sp>
        <p:nvSpPr>
          <p:cNvPr id="68" name="Text Placeholder 66"/>
          <p:cNvSpPr>
            <a:spLocks noGrp="1"/>
          </p:cNvSpPr>
          <p:nvPr>
            <p:ph type="body" sz="quarter" idx="12"/>
          </p:nvPr>
        </p:nvSpPr>
        <p:spPr>
          <a:xfrm>
            <a:off x="1938928" y="2530185"/>
            <a:ext cx="9513267" cy="276999"/>
          </a:xfrm>
        </p:spPr>
        <p:txBody>
          <a:bodyPr lIns="0" tIns="0" rIns="0" bIns="0" anchor="t" anchorCtr="0"/>
          <a:lstStyle>
            <a:lvl1pPr marL="0" indent="0">
              <a:buNone/>
              <a:defRPr sz="2000">
                <a:solidFill>
                  <a:schemeClr val="bg1"/>
                </a:solidFill>
                <a:latin typeface="+mn-lt"/>
              </a:defRPr>
            </a:lvl1pPr>
            <a:lvl2pPr marL="336008" indent="0">
              <a:buNone/>
              <a:defRPr/>
            </a:lvl2pPr>
            <a:lvl3pPr marL="560013" indent="0">
              <a:buNone/>
              <a:defRPr/>
            </a:lvl3pPr>
            <a:lvl4pPr marL="784016" indent="0">
              <a:buNone/>
              <a:defRPr/>
            </a:lvl4pPr>
            <a:lvl5pPr marL="1008021" indent="0">
              <a:buNone/>
              <a:defRPr/>
            </a:lvl5pPr>
          </a:lstStyle>
          <a:p>
            <a:pPr lvl="0"/>
            <a:r>
              <a:rPr lang="en-US" dirty="0"/>
              <a:t>Edit Master text styles</a:t>
            </a:r>
          </a:p>
        </p:txBody>
      </p:sp>
      <p:sp>
        <p:nvSpPr>
          <p:cNvPr id="4" name="Title 3"/>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724963494"/>
      </p:ext>
    </p:extLst>
  </p:cSld>
  <p:clrMapOvr>
    <a:masterClrMapping/>
  </p:clrMapOvr>
  <p:transition>
    <p:fade/>
  </p:transition>
  <p:extLst mod="1">
    <p:ext uri="{DCECCB84-F9BA-43D5-87BE-67443E8EF086}">
      <p15:sldGuideLst xmlns:p15="http://schemas.microsoft.com/office/powerpoint/2012/main">
        <p15:guide id="1" orient="horz" pos="1104">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ark Band sing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3654502095"/>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Blue background">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4" name="Titre 3"/>
          <p:cNvSpPr>
            <a:spLocks noGrp="1"/>
          </p:cNvSpPr>
          <p:nvPr>
            <p:ph type="title"/>
          </p:nvPr>
        </p:nvSpPr>
        <p:spPr/>
        <p:txBody>
          <a:bodyPr/>
          <a:lstStyle>
            <a:lvl1pPr>
              <a:defRPr>
                <a:solidFill>
                  <a:schemeClr val="bg1"/>
                </a:solidFill>
              </a:defRPr>
            </a:lvl1pPr>
          </a:lstStyle>
          <a:p>
            <a:r>
              <a:rPr lang="en-GB" err="1"/>
              <a:t>Modifiez</a:t>
            </a:r>
            <a:r>
              <a:rPr lang="en-GB"/>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2" name="Espace réservé du contenu 2"/>
          <p:cNvSpPr>
            <a:spLocks noGrp="1"/>
          </p:cNvSpPr>
          <p:nvPr>
            <p:ph idx="1" hasCustomPrompt="1"/>
          </p:nvPr>
        </p:nvSpPr>
        <p:spPr>
          <a:xfrm>
            <a:off x="363166" y="1600202"/>
            <a:ext cx="11465668" cy="432507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err="1"/>
              <a:t>Modifiez</a:t>
            </a:r>
            <a:r>
              <a:rPr lang="en-GB"/>
              <a:t> les styles du </a:t>
            </a:r>
            <a:r>
              <a:rPr lang="en-GB" err="1"/>
              <a:t>texte</a:t>
            </a:r>
            <a:r>
              <a:rPr lang="en-GB"/>
              <a:t> du masque</a:t>
            </a:r>
          </a:p>
          <a:p>
            <a:pPr lvl="1"/>
            <a:r>
              <a:rPr lang="en-GB" err="1"/>
              <a:t>Deuxième</a:t>
            </a:r>
            <a:r>
              <a:rPr lang="en-GB"/>
              <a:t> </a:t>
            </a:r>
            <a:r>
              <a:rPr lang="en-GB" err="1"/>
              <a:t>niveau</a:t>
            </a:r>
            <a:endParaRPr lang="en-GB"/>
          </a:p>
          <a:p>
            <a:pPr lvl="2"/>
            <a:r>
              <a:rPr lang="en-GB" err="1"/>
              <a:t>Troisième</a:t>
            </a:r>
            <a:r>
              <a:rPr lang="en-GB"/>
              <a:t> </a:t>
            </a:r>
            <a:r>
              <a:rPr lang="en-GB" err="1"/>
              <a:t>niveau</a:t>
            </a:r>
            <a:endParaRPr lang="en-GB"/>
          </a:p>
          <a:p>
            <a:pPr lvl="3"/>
            <a:r>
              <a:rPr lang="en-GB" err="1"/>
              <a:t>Quatrième</a:t>
            </a:r>
            <a:r>
              <a:rPr lang="en-GB"/>
              <a:t> </a:t>
            </a:r>
            <a:r>
              <a:rPr lang="en-GB" err="1"/>
              <a:t>niveau</a:t>
            </a:r>
            <a:endParaRPr lang="en-GB"/>
          </a:p>
        </p:txBody>
      </p:sp>
      <p:sp>
        <p:nvSpPr>
          <p:cNvPr id="13"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4" name="Rectangle 13"/>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pic>
        <p:nvPicPr>
          <p:cNvPr id="16" name="Image 6" descr="Log_AXIANS_CRVB.jpg">
            <a:extLst>
              <a:ext uri="{FF2B5EF4-FFF2-40B4-BE49-F238E27FC236}">
                <a16:creationId xmlns:a16="http://schemas.microsoft.com/office/drawing/2014/main" id="{5980A5BA-309E-4C55-AC8E-1054624991D1}"/>
              </a:ext>
            </a:extLst>
          </p:cNvPr>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186311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Dark Band -side conten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3514057"/>
            <a:ext cx="4572000" cy="880819"/>
          </a:xfrm>
        </p:spPr>
        <p:txBody>
          <a:bodyPr vert="horz" wrap="square" lIns="146304" tIns="91440" rIns="146304" bIns="91440" rtlCol="0" anchor="ctr">
            <a:spAutoFit/>
          </a:bodyPr>
          <a:lstStyle>
            <a:lvl1pPr marL="457101" indent="-457101">
              <a:spcBef>
                <a:spcPts val="2400"/>
              </a:spcBef>
              <a:buClr>
                <a:srgbClr val="B4A0FF"/>
              </a:buClr>
              <a:buFont typeface="Webdings" panose="05030102010509060703" pitchFamily="18" charset="2"/>
              <a:buChar char="4"/>
              <a:defRPr lang="en-US" sz="2856" kern="1200" spc="0" baseline="0" dirty="0" smtClean="0">
                <a:solidFill>
                  <a:schemeClr val="tx1"/>
                </a:solidFill>
                <a:latin typeface="Segoe UI Light"/>
                <a:ea typeface="+mn-ea"/>
                <a:cs typeface="+mn-cs"/>
              </a:defRPr>
            </a:lvl1pPr>
            <a:lvl2pPr marL="685651" indent="0">
              <a:defRPr lang="en-US" sz="1800" smtClean="0">
                <a:solidFill>
                  <a:schemeClr val="tx1"/>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
        <p:nvSpPr>
          <p:cNvPr id="5" name="Text Placeholder 7"/>
          <p:cNvSpPr>
            <a:spLocks noGrp="1"/>
          </p:cNvSpPr>
          <p:nvPr>
            <p:ph type="body" sz="quarter" idx="11"/>
          </p:nvPr>
        </p:nvSpPr>
        <p:spPr>
          <a:xfrm>
            <a:off x="274640" y="1052514"/>
            <a:ext cx="11704637" cy="572464"/>
          </a:xfrm>
        </p:spPr>
        <p:txBody>
          <a:bodyPr vert="horz" wrap="square" lIns="146304" tIns="91440" rIns="146304" bIns="91440" rtlCol="0">
            <a:spAutoFit/>
          </a:bodyPr>
          <a:lstStyle>
            <a:lvl1pPr>
              <a:defRPr lang="en-US" sz="2800" dirty="0" smtClean="0">
                <a:solidFill>
                  <a:srgbClr val="0070C0"/>
                </a:solidFill>
              </a:defRPr>
            </a:lvl1pPr>
          </a:lstStyle>
          <a:p>
            <a:pPr marL="0" lvl="0" indent="0">
              <a:buNone/>
            </a:pPr>
            <a:r>
              <a:rPr lang="en-US" dirty="0"/>
              <a:t>Click to edit Master text styles</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29531209"/>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4" name="Text Placeholder 3"/>
          <p:cNvSpPr>
            <a:spLocks noGrp="1"/>
          </p:cNvSpPr>
          <p:nvPr>
            <p:ph type="body" sz="quarter" idx="10"/>
          </p:nvPr>
        </p:nvSpPr>
        <p:spPr>
          <a:xfrm>
            <a:off x="274639" y="3042119"/>
            <a:ext cx="4572000" cy="880819"/>
          </a:xfrm>
        </p:spPr>
        <p:txBody>
          <a:bodyPr vert="horz" wrap="square" lIns="146304" tIns="91440" rIns="146304" bIns="91440" rtlCol="0" anchor="ctr">
            <a:spAutoFit/>
          </a:bodyPr>
          <a:lstStyle>
            <a:lvl1pPr marL="457101" indent="-457101">
              <a:spcBef>
                <a:spcPts val="2400"/>
              </a:spcBef>
              <a:buClr>
                <a:srgbClr val="B4A0FF"/>
              </a:buClr>
              <a:buFont typeface="Webdings" panose="05030102010509060703" pitchFamily="18" charset="2"/>
              <a:buChar char="4"/>
              <a:defRPr lang="en-US" sz="2856" kern="1200" spc="0" baseline="0" dirty="0" smtClean="0">
                <a:solidFill>
                  <a:prstClr val="white"/>
                </a:solidFill>
                <a:latin typeface="Segoe UI Light"/>
                <a:ea typeface="+mn-ea"/>
                <a:cs typeface="+mn-cs"/>
              </a:defRPr>
            </a:lvl1pPr>
            <a:lvl2pPr marL="685651" indent="0">
              <a:defRPr lang="en-US" sz="1800" smtClean="0">
                <a:solidFill>
                  <a:schemeClr val="bg1">
                    <a:lumMod val="85000"/>
                  </a:schemeClr>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Tree>
    <p:extLst>
      <p:ext uri="{BB962C8B-B14F-4D97-AF65-F5344CB8AC3E}">
        <p14:creationId xmlns:p14="http://schemas.microsoft.com/office/powerpoint/2010/main" val="293477509"/>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457200" y="1757363"/>
            <a:ext cx="5650637" cy="2049195"/>
          </a:xfrm>
        </p:spPr>
        <p:txBody>
          <a:bodyPr/>
          <a:lstStyle>
            <a:lvl1pPr marL="0" indent="0">
              <a:spcBef>
                <a:spcPts val="2400"/>
              </a:spcBef>
              <a:buNone/>
              <a:defRPr>
                <a:solidFill>
                  <a:schemeClr val="tx1"/>
                </a:solidFill>
              </a:defRPr>
            </a:lvl1pPr>
            <a:lvl2pPr marL="0" indent="0">
              <a:buClr>
                <a:schemeClr val="accent5"/>
              </a:buClr>
              <a:buFont typeface="Segoe UI" panose="020B0502040204020203" pitchFamily="34" charset="0"/>
              <a:buNone/>
              <a:defRPr sz="2000">
                <a:solidFill>
                  <a:schemeClr val="tx1"/>
                </a:solidFill>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1"/>
          </p:nvPr>
        </p:nvSpPr>
        <p:spPr>
          <a:xfrm>
            <a:off x="6394231" y="1757363"/>
            <a:ext cx="5530851" cy="1979068"/>
          </a:xfrm>
        </p:spPr>
        <p:txBody>
          <a:bodyPr/>
          <a:lstStyle>
            <a:lvl1pPr marL="0" indent="0">
              <a:spcBef>
                <a:spcPts val="2400"/>
              </a:spcBef>
              <a:buFont typeface="Arial" panose="020B0604020202020204" pitchFamily="34" charset="0"/>
              <a:buNone/>
              <a:defRPr lang="en-US" sz="3919" kern="1200" spc="0" baseline="0" dirty="0" smtClean="0">
                <a:solidFill>
                  <a:schemeClr val="tx1"/>
                </a:solidFill>
                <a:latin typeface="+mj-lt"/>
                <a:ea typeface="+mn-ea"/>
                <a:cs typeface="+mn-cs"/>
              </a:defRPr>
            </a:lvl1pPr>
            <a:lvl2pPr marL="0" indent="0">
              <a:buClr>
                <a:schemeClr val="accent5"/>
              </a:buClr>
              <a:buFont typeface="Segoe UI" panose="020B0502040204020203" pitchFamily="34" charset="0"/>
              <a:buNone/>
              <a:defRPr lang="en-US" sz="2000" kern="1200" spc="0" baseline="0" dirty="0" smtClean="0">
                <a:solidFill>
                  <a:schemeClr val="tx1"/>
                </a:solidFill>
                <a:latin typeface="+mn-lt"/>
                <a:ea typeface="+mn-ea"/>
                <a:cs typeface="+mn-cs"/>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marL="571376" marR="0" lvl="0" indent="-571376" algn="l" defTabSz="913993" rtl="0" eaLnBrk="1" fontAlgn="auto" latinLnBrk="0" hangingPunct="1">
              <a:lnSpc>
                <a:spcPct val="90000"/>
              </a:lnSpc>
              <a:spcBef>
                <a:spcPts val="2400"/>
              </a:spcBef>
              <a:spcAft>
                <a:spcPts val="0"/>
              </a:spcAft>
              <a:buClrTx/>
              <a:buSzPct val="90000"/>
              <a:tabLst/>
            </a:pPr>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58544063"/>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ark band + sub ">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7"/>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40" y="1052514"/>
            <a:ext cx="11704637" cy="572464"/>
          </a:xfrm>
        </p:spPr>
        <p:txBody>
          <a:bodyPr vert="horz" wrap="square" lIns="146304" tIns="91440" rIns="146304" bIns="91440" rtlCol="0">
            <a:spAutoFit/>
          </a:bodyPr>
          <a:lstStyle>
            <a:lvl1pPr marL="0" indent="0">
              <a:buNone/>
              <a:defRPr lang="en-US" sz="2800" dirty="0" smtClean="0">
                <a:solidFill>
                  <a:srgbClr val="0070C0"/>
                </a:solidFill>
              </a:defRPr>
            </a:lvl1pPr>
          </a:lstStyle>
          <a:p>
            <a:pPr marL="336006" lvl="0" indent="-336006"/>
            <a:r>
              <a:rPr lang="en-US" dirty="0"/>
              <a:t>Click to edit Master text styles</a:t>
            </a:r>
          </a:p>
        </p:txBody>
      </p:sp>
    </p:spTree>
    <p:extLst>
      <p:ext uri="{BB962C8B-B14F-4D97-AF65-F5344CB8AC3E}">
        <p14:creationId xmlns:p14="http://schemas.microsoft.com/office/powerpoint/2010/main" val="2299104637"/>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_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7"/>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40" y="1052514"/>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9" y="2125663"/>
            <a:ext cx="11704637" cy="1875727"/>
          </a:xfrm>
        </p:spPr>
        <p:txBody>
          <a:bodyPr/>
          <a:lstStyle>
            <a:lvl1pPr marL="0" indent="0">
              <a:buFontTx/>
              <a:buNone/>
              <a:defRPr sz="3600">
                <a:solidFill>
                  <a:srgbClr val="00BCF2"/>
                </a:solidFill>
              </a:defRPr>
            </a:lvl1pPr>
            <a:lvl2pPr marL="0" indent="0">
              <a:spcAft>
                <a:spcPts val="600"/>
              </a:spcAft>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4166302"/>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7"/>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40" y="1052514"/>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9" y="2125664"/>
            <a:ext cx="5486400" cy="2374325"/>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65251411"/>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DARK BAND - side text">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7"/>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40" y="1052514"/>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9" y="2125664"/>
            <a:ext cx="5486400" cy="2374325"/>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3"/>
          <p:cNvSpPr>
            <a:spLocks noGrp="1"/>
          </p:cNvSpPr>
          <p:nvPr>
            <p:ph type="body" sz="quarter" idx="12"/>
          </p:nvPr>
        </p:nvSpPr>
        <p:spPr>
          <a:xfrm>
            <a:off x="6258187" y="2125664"/>
            <a:ext cx="5486400" cy="2374325"/>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33323324"/>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1" y="1562102"/>
            <a:ext cx="11653523" cy="2127164"/>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05" indent="0">
              <a:buNone/>
              <a:defRPr/>
            </a:lvl3pPr>
            <a:lvl4pPr marL="448010" indent="0">
              <a:buNone/>
              <a:defRPr/>
            </a:lvl4pPr>
            <a:lvl5pPr marL="67201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22029683"/>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09936" y="1562102"/>
            <a:ext cx="11653523" cy="2181452"/>
          </a:xfrm>
        </p:spPr>
        <p:txBody>
          <a:bodyPr>
            <a:spAutoFit/>
          </a:bodyPr>
          <a:lstStyle>
            <a:lvl1pPr>
              <a:defRPr sz="391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62461142"/>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562102"/>
            <a:ext cx="11653523" cy="2181452"/>
          </a:xfrm>
        </p:spPr>
        <p:txBody>
          <a:bodyPr>
            <a:spAutoFit/>
          </a:bodyPr>
          <a:lstStyle>
            <a:lvl1pPr>
              <a:defRPr sz="391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53137761"/>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Infographic">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4" name="Titre 3"/>
          <p:cNvSpPr>
            <a:spLocks noGrp="1"/>
          </p:cNvSpPr>
          <p:nvPr>
            <p:ph type="title"/>
          </p:nvPr>
        </p:nvSpPr>
        <p:spPr/>
        <p:txBody>
          <a:bodyPr/>
          <a:lstStyle>
            <a:lvl1pPr>
              <a:defRPr>
                <a:solidFill>
                  <a:schemeClr val="bg1"/>
                </a:solidFill>
              </a:defRPr>
            </a:lvl1pPr>
          </a:lstStyle>
          <a:p>
            <a:r>
              <a:rPr lang="en-GB" err="1"/>
              <a:t>Modifiez</a:t>
            </a:r>
            <a:r>
              <a:rPr lang="en-GB"/>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3"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4" name="Rectangle 13"/>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cxnSp>
        <p:nvCxnSpPr>
          <p:cNvPr id="42" name="Connecteur droit 41"/>
          <p:cNvCxnSpPr/>
          <p:nvPr/>
        </p:nvCxnSpPr>
        <p:spPr>
          <a:xfrm flipV="1">
            <a:off x="6607132" y="2956097"/>
            <a:ext cx="451565" cy="187894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43" name="Connecteur droit 42"/>
          <p:cNvCxnSpPr/>
          <p:nvPr/>
        </p:nvCxnSpPr>
        <p:spPr>
          <a:xfrm flipV="1">
            <a:off x="7363676" y="2773681"/>
            <a:ext cx="1374235" cy="213608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44" name="Connecteur droit 43"/>
          <p:cNvCxnSpPr/>
          <p:nvPr/>
        </p:nvCxnSpPr>
        <p:spPr>
          <a:xfrm flipV="1">
            <a:off x="8188961" y="4535620"/>
            <a:ext cx="514476" cy="381821"/>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45" name="Groupe 44"/>
          <p:cNvGrpSpPr/>
          <p:nvPr/>
        </p:nvGrpSpPr>
        <p:grpSpPr>
          <a:xfrm>
            <a:off x="6851684" y="2303473"/>
            <a:ext cx="611509" cy="611507"/>
            <a:chOff x="129161" y="1153251"/>
            <a:chExt cx="458632" cy="458630"/>
          </a:xfrm>
        </p:grpSpPr>
        <p:grpSp>
          <p:nvGrpSpPr>
            <p:cNvPr id="58" name="Groupe 57"/>
            <p:cNvGrpSpPr/>
            <p:nvPr/>
          </p:nvGrpSpPr>
          <p:grpSpPr>
            <a:xfrm>
              <a:off x="129161" y="1153251"/>
              <a:ext cx="458632" cy="458630"/>
              <a:chOff x="2984203" y="2099374"/>
              <a:chExt cx="313070" cy="313070"/>
            </a:xfrm>
          </p:grpSpPr>
          <p:sp>
            <p:nvSpPr>
              <p:cNvPr id="60" name="Ellipse 59"/>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61" name="Ellipse 60"/>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62" name="Ellipse 61"/>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9"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46" name="Groupe 45"/>
          <p:cNvGrpSpPr/>
          <p:nvPr/>
        </p:nvGrpSpPr>
        <p:grpSpPr>
          <a:xfrm>
            <a:off x="8617758" y="2162173"/>
            <a:ext cx="611509" cy="611507"/>
            <a:chOff x="129161" y="1153251"/>
            <a:chExt cx="458632" cy="458630"/>
          </a:xfrm>
        </p:grpSpPr>
        <p:grpSp>
          <p:nvGrpSpPr>
            <p:cNvPr id="53" name="Groupe 52"/>
            <p:cNvGrpSpPr/>
            <p:nvPr/>
          </p:nvGrpSpPr>
          <p:grpSpPr>
            <a:xfrm>
              <a:off x="129161" y="1153251"/>
              <a:ext cx="458632" cy="458630"/>
              <a:chOff x="2984203" y="2099374"/>
              <a:chExt cx="313070" cy="313070"/>
            </a:xfrm>
          </p:grpSpPr>
          <p:sp>
            <p:nvSpPr>
              <p:cNvPr id="55" name="Ellipse 54"/>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6" name="Ellipse 55"/>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7" name="Ellipse 56"/>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4"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47" name="Groupe 46"/>
          <p:cNvGrpSpPr/>
          <p:nvPr/>
        </p:nvGrpSpPr>
        <p:grpSpPr>
          <a:xfrm>
            <a:off x="8694859" y="4034813"/>
            <a:ext cx="611509" cy="611507"/>
            <a:chOff x="129161" y="1153251"/>
            <a:chExt cx="458632" cy="458630"/>
          </a:xfrm>
        </p:grpSpPr>
        <p:grpSp>
          <p:nvGrpSpPr>
            <p:cNvPr id="48" name="Groupe 47"/>
            <p:cNvGrpSpPr/>
            <p:nvPr/>
          </p:nvGrpSpPr>
          <p:grpSpPr>
            <a:xfrm>
              <a:off x="129161" y="1153251"/>
              <a:ext cx="458632" cy="458630"/>
              <a:chOff x="2984203" y="2099374"/>
              <a:chExt cx="313070" cy="313070"/>
            </a:xfrm>
          </p:grpSpPr>
          <p:sp>
            <p:nvSpPr>
              <p:cNvPr id="50" name="Ellipse 49"/>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1" name="Ellipse 50"/>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2" name="Ellipse 51"/>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49"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cxnSp>
        <p:nvCxnSpPr>
          <p:cNvPr id="20" name="Connecteur droit 19"/>
          <p:cNvCxnSpPr/>
          <p:nvPr/>
        </p:nvCxnSpPr>
        <p:spPr>
          <a:xfrm flipH="1" flipV="1">
            <a:off x="5221770" y="3792119"/>
            <a:ext cx="250645" cy="1042925"/>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2" name="Connecteur droit 21"/>
          <p:cNvCxnSpPr/>
          <p:nvPr/>
        </p:nvCxnSpPr>
        <p:spPr>
          <a:xfrm flipH="1" flipV="1">
            <a:off x="3341636" y="2773681"/>
            <a:ext cx="1374235" cy="213608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3" name="Connecteur droit 22"/>
          <p:cNvCxnSpPr/>
          <p:nvPr/>
        </p:nvCxnSpPr>
        <p:spPr>
          <a:xfrm flipH="1" flipV="1">
            <a:off x="3376111" y="4535620"/>
            <a:ext cx="514476" cy="381821"/>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24" name="Groupe 23"/>
          <p:cNvGrpSpPr/>
          <p:nvPr/>
        </p:nvGrpSpPr>
        <p:grpSpPr>
          <a:xfrm flipH="1">
            <a:off x="4823371" y="3159646"/>
            <a:ext cx="611509" cy="611507"/>
            <a:chOff x="129161" y="1153251"/>
            <a:chExt cx="458632" cy="458630"/>
          </a:xfrm>
        </p:grpSpPr>
        <p:grpSp>
          <p:nvGrpSpPr>
            <p:cNvPr id="37" name="Groupe 36"/>
            <p:cNvGrpSpPr/>
            <p:nvPr/>
          </p:nvGrpSpPr>
          <p:grpSpPr>
            <a:xfrm>
              <a:off x="129161" y="1153251"/>
              <a:ext cx="458632" cy="458630"/>
              <a:chOff x="2984203" y="2099374"/>
              <a:chExt cx="313070" cy="313070"/>
            </a:xfrm>
          </p:grpSpPr>
          <p:sp>
            <p:nvSpPr>
              <p:cNvPr id="39" name="Ellipse 38"/>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40" name="Ellipse 39"/>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41" name="Ellipse 40"/>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38"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25" name="Groupe 24"/>
          <p:cNvGrpSpPr/>
          <p:nvPr/>
        </p:nvGrpSpPr>
        <p:grpSpPr>
          <a:xfrm flipH="1">
            <a:off x="2850280" y="2162173"/>
            <a:ext cx="611509" cy="611507"/>
            <a:chOff x="129161" y="1153251"/>
            <a:chExt cx="458632" cy="458630"/>
          </a:xfrm>
        </p:grpSpPr>
        <p:grpSp>
          <p:nvGrpSpPr>
            <p:cNvPr id="32" name="Groupe 31"/>
            <p:cNvGrpSpPr/>
            <p:nvPr/>
          </p:nvGrpSpPr>
          <p:grpSpPr>
            <a:xfrm>
              <a:off x="129161" y="1153251"/>
              <a:ext cx="458632" cy="458630"/>
              <a:chOff x="2984203" y="2099374"/>
              <a:chExt cx="313070" cy="313070"/>
            </a:xfrm>
          </p:grpSpPr>
          <p:sp>
            <p:nvSpPr>
              <p:cNvPr id="34" name="Ellipse 33"/>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5" name="Ellipse 34"/>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6" name="Ellipse 35"/>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33"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26" name="Groupe 25"/>
          <p:cNvGrpSpPr/>
          <p:nvPr/>
        </p:nvGrpSpPr>
        <p:grpSpPr>
          <a:xfrm flipH="1">
            <a:off x="2773179" y="4034813"/>
            <a:ext cx="611509" cy="611507"/>
            <a:chOff x="129161" y="1153251"/>
            <a:chExt cx="458632" cy="458630"/>
          </a:xfrm>
        </p:grpSpPr>
        <p:grpSp>
          <p:nvGrpSpPr>
            <p:cNvPr id="27" name="Groupe 26"/>
            <p:cNvGrpSpPr/>
            <p:nvPr/>
          </p:nvGrpSpPr>
          <p:grpSpPr>
            <a:xfrm>
              <a:off x="129161" y="1153251"/>
              <a:ext cx="458632" cy="458630"/>
              <a:chOff x="2984203" y="2099374"/>
              <a:chExt cx="313070" cy="313070"/>
            </a:xfrm>
          </p:grpSpPr>
          <p:sp>
            <p:nvSpPr>
              <p:cNvPr id="29" name="Ellipse 28"/>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0" name="Ellipse 29"/>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1" name="Ellipse 30"/>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28"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 name="Espace réservé du texte 4"/>
          <p:cNvSpPr>
            <a:spLocks noGrp="1"/>
          </p:cNvSpPr>
          <p:nvPr>
            <p:ph type="body" sz="quarter" idx="10" hasCustomPrompt="1"/>
          </p:nvPr>
        </p:nvSpPr>
        <p:spPr>
          <a:xfrm>
            <a:off x="363166" y="4007076"/>
            <a:ext cx="2410013" cy="666977"/>
          </a:xfrm>
        </p:spPr>
        <p:txBody>
          <a:bodyPr wrap="square" lIns="72000" rIns="72000" anchor="ctr">
            <a:spAutoFit/>
          </a:bodyPr>
          <a:lstStyle>
            <a:lvl1pPr marL="0" indent="0" algn="r">
              <a:spcBef>
                <a:spcPts val="0"/>
              </a:spcBef>
              <a:buFontTx/>
              <a:buNone/>
              <a:defRPr sz="1867" b="1">
                <a:solidFill>
                  <a:schemeClr val="bg1"/>
                </a:solidFill>
                <a:latin typeface="+mn-lt"/>
                <a:cs typeface="Segoe UI Light" panose="020B0502040204020203" pitchFamily="34" charset="0"/>
              </a:defRPr>
            </a:lvl1pPr>
          </a:lstStyle>
          <a:p>
            <a:pPr lvl="0"/>
            <a:r>
              <a:rPr lang="fr-FR"/>
              <a:t>Texte</a:t>
            </a:r>
          </a:p>
          <a:p>
            <a:pPr lvl="0"/>
            <a:r>
              <a:rPr lang="fr-FR"/>
              <a:t>Description</a:t>
            </a:r>
          </a:p>
        </p:txBody>
      </p:sp>
      <p:sp>
        <p:nvSpPr>
          <p:cNvPr id="64" name="Espace réservé du texte 4"/>
          <p:cNvSpPr>
            <a:spLocks noGrp="1"/>
          </p:cNvSpPr>
          <p:nvPr>
            <p:ph type="body" sz="quarter" idx="11" hasCustomPrompt="1"/>
          </p:nvPr>
        </p:nvSpPr>
        <p:spPr>
          <a:xfrm>
            <a:off x="9313386" y="4007076"/>
            <a:ext cx="2486412" cy="666977"/>
          </a:xfrm>
        </p:spPr>
        <p:txBody>
          <a:bodyPr wrap="square" lIns="72000" rIns="72000" anchor="ctr">
            <a:spAutoFit/>
          </a:bodyPr>
          <a:lstStyle>
            <a:lvl1pPr marL="0" indent="0" algn="l">
              <a:spcBef>
                <a:spcPts val="0"/>
              </a:spcBef>
              <a:buFontTx/>
              <a:buNone/>
              <a:defRPr sz="1867" b="1">
                <a:solidFill>
                  <a:schemeClr val="bg1"/>
                </a:solidFill>
                <a:latin typeface="+mn-lt"/>
                <a:cs typeface="Segoe UI Light" panose="020B0502040204020203" pitchFamily="34" charset="0"/>
              </a:defRPr>
            </a:lvl1pPr>
          </a:lstStyle>
          <a:p>
            <a:pPr lvl="0"/>
            <a:r>
              <a:rPr lang="fr-FR"/>
              <a:t>Texte</a:t>
            </a:r>
          </a:p>
          <a:p>
            <a:pPr lvl="0"/>
            <a:r>
              <a:rPr lang="fr-FR"/>
              <a:t>Description</a:t>
            </a:r>
          </a:p>
        </p:txBody>
      </p:sp>
      <p:sp>
        <p:nvSpPr>
          <p:cNvPr id="65" name="Espace réservé du texte 4"/>
          <p:cNvSpPr>
            <a:spLocks noGrp="1"/>
          </p:cNvSpPr>
          <p:nvPr>
            <p:ph type="body" sz="quarter" idx="12" hasCustomPrompt="1"/>
          </p:nvPr>
        </p:nvSpPr>
        <p:spPr>
          <a:xfrm>
            <a:off x="9249903" y="2134436"/>
            <a:ext cx="2486412" cy="666977"/>
          </a:xfrm>
        </p:spPr>
        <p:txBody>
          <a:bodyPr wrap="square" lIns="72000" rIns="72000" anchor="ctr">
            <a:spAutoFit/>
          </a:bodyPr>
          <a:lstStyle>
            <a:lvl1pPr marL="0" indent="0" algn="l">
              <a:spcBef>
                <a:spcPts val="0"/>
              </a:spcBef>
              <a:buFontTx/>
              <a:buNone/>
              <a:defRPr sz="1867" b="1">
                <a:solidFill>
                  <a:schemeClr val="bg1"/>
                </a:solidFill>
                <a:latin typeface="+mn-lt"/>
                <a:cs typeface="Segoe UI Light" panose="020B0502040204020203" pitchFamily="34" charset="0"/>
              </a:defRPr>
            </a:lvl1pPr>
          </a:lstStyle>
          <a:p>
            <a:pPr lvl="0"/>
            <a:r>
              <a:rPr lang="fr-FR"/>
              <a:t>Texte</a:t>
            </a:r>
          </a:p>
          <a:p>
            <a:pPr lvl="0"/>
            <a:r>
              <a:rPr lang="fr-FR"/>
              <a:t>Description</a:t>
            </a:r>
          </a:p>
        </p:txBody>
      </p:sp>
      <p:sp>
        <p:nvSpPr>
          <p:cNvPr id="66" name="Espace réservé du texte 4"/>
          <p:cNvSpPr>
            <a:spLocks noGrp="1"/>
          </p:cNvSpPr>
          <p:nvPr>
            <p:ph type="body" sz="quarter" idx="13" hasCustomPrompt="1"/>
          </p:nvPr>
        </p:nvSpPr>
        <p:spPr>
          <a:xfrm>
            <a:off x="5914230" y="1584431"/>
            <a:ext cx="2486412" cy="666977"/>
          </a:xfrm>
        </p:spPr>
        <p:txBody>
          <a:bodyPr wrap="square" lIns="72000" rIns="72000" anchor="b">
            <a:spAutoFit/>
          </a:bodyPr>
          <a:lstStyle>
            <a:lvl1pPr marL="0" indent="0" algn="ctr">
              <a:spcBef>
                <a:spcPts val="0"/>
              </a:spcBef>
              <a:buFontTx/>
              <a:buNone/>
              <a:defRPr sz="1867" b="1">
                <a:solidFill>
                  <a:schemeClr val="bg1"/>
                </a:solidFill>
                <a:latin typeface="+mn-lt"/>
                <a:cs typeface="Segoe UI Light" panose="020B0502040204020203" pitchFamily="34" charset="0"/>
              </a:defRPr>
            </a:lvl1pPr>
          </a:lstStyle>
          <a:p>
            <a:pPr lvl="0"/>
            <a:r>
              <a:rPr lang="fr-FR"/>
              <a:t>Texte</a:t>
            </a:r>
          </a:p>
          <a:p>
            <a:pPr lvl="0"/>
            <a:r>
              <a:rPr lang="fr-FR"/>
              <a:t>Description</a:t>
            </a:r>
          </a:p>
        </p:txBody>
      </p:sp>
      <p:sp>
        <p:nvSpPr>
          <p:cNvPr id="67" name="Espace réservé du texte 4"/>
          <p:cNvSpPr>
            <a:spLocks noGrp="1"/>
          </p:cNvSpPr>
          <p:nvPr>
            <p:ph type="body" sz="quarter" idx="14" hasCustomPrompt="1"/>
          </p:nvPr>
        </p:nvSpPr>
        <p:spPr>
          <a:xfrm>
            <a:off x="3873917" y="2466831"/>
            <a:ext cx="2486412" cy="666977"/>
          </a:xfrm>
        </p:spPr>
        <p:txBody>
          <a:bodyPr wrap="square" lIns="72000" rIns="72000" anchor="b">
            <a:spAutoFit/>
          </a:bodyPr>
          <a:lstStyle>
            <a:lvl1pPr marL="0" indent="0" algn="ctr">
              <a:spcBef>
                <a:spcPts val="0"/>
              </a:spcBef>
              <a:buFontTx/>
              <a:buNone/>
              <a:defRPr sz="1867" b="1">
                <a:solidFill>
                  <a:schemeClr val="bg1"/>
                </a:solidFill>
                <a:latin typeface="+mn-lt"/>
                <a:cs typeface="Segoe UI Light" panose="020B0502040204020203" pitchFamily="34" charset="0"/>
              </a:defRPr>
            </a:lvl1pPr>
          </a:lstStyle>
          <a:p>
            <a:pPr lvl="0"/>
            <a:r>
              <a:rPr lang="fr-FR"/>
              <a:t>Texte</a:t>
            </a:r>
          </a:p>
          <a:p>
            <a:pPr lvl="0"/>
            <a:r>
              <a:rPr lang="fr-FR"/>
              <a:t>Description</a:t>
            </a:r>
          </a:p>
        </p:txBody>
      </p:sp>
      <p:sp>
        <p:nvSpPr>
          <p:cNvPr id="68" name="Espace réservé du texte 4"/>
          <p:cNvSpPr>
            <a:spLocks noGrp="1"/>
          </p:cNvSpPr>
          <p:nvPr>
            <p:ph type="body" sz="quarter" idx="15" hasCustomPrompt="1"/>
          </p:nvPr>
        </p:nvSpPr>
        <p:spPr>
          <a:xfrm>
            <a:off x="423687" y="2141064"/>
            <a:ext cx="2410013" cy="666977"/>
          </a:xfrm>
        </p:spPr>
        <p:txBody>
          <a:bodyPr wrap="square" lIns="72000" rIns="72000" anchor="ctr">
            <a:spAutoFit/>
          </a:bodyPr>
          <a:lstStyle>
            <a:lvl1pPr marL="0" indent="0" algn="r">
              <a:spcBef>
                <a:spcPts val="0"/>
              </a:spcBef>
              <a:buFontTx/>
              <a:buNone/>
              <a:defRPr sz="1867" b="1">
                <a:solidFill>
                  <a:schemeClr val="bg1"/>
                </a:solidFill>
                <a:latin typeface="+mn-lt"/>
                <a:cs typeface="Segoe UI Light" panose="020B0502040204020203" pitchFamily="34" charset="0"/>
              </a:defRPr>
            </a:lvl1pPr>
          </a:lstStyle>
          <a:p>
            <a:pPr lvl="0"/>
            <a:r>
              <a:rPr lang="fr-FR"/>
              <a:t>Texte</a:t>
            </a:r>
          </a:p>
          <a:p>
            <a:pPr lvl="0"/>
            <a:r>
              <a:rPr lang="fr-FR"/>
              <a:t>Description</a:t>
            </a:r>
          </a:p>
        </p:txBody>
      </p:sp>
      <p:grpSp>
        <p:nvGrpSpPr>
          <p:cNvPr id="69" name="Groupe 68"/>
          <p:cNvGrpSpPr/>
          <p:nvPr userDrawn="1"/>
        </p:nvGrpSpPr>
        <p:grpSpPr>
          <a:xfrm>
            <a:off x="3752428" y="4737046"/>
            <a:ext cx="4687147" cy="1004381"/>
            <a:chOff x="2814321" y="3552784"/>
            <a:chExt cx="3515360" cy="753286"/>
          </a:xfrm>
        </p:grpSpPr>
        <p:sp>
          <p:nvSpPr>
            <p:cNvPr id="71" name="Rectangle à coins arrondis 3"/>
            <p:cNvSpPr/>
            <p:nvPr/>
          </p:nvSpPr>
          <p:spPr>
            <a:xfrm>
              <a:off x="2814321" y="3552784"/>
              <a:ext cx="3515360" cy="753286"/>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p>
          </p:txBody>
        </p:sp>
        <p:pic>
          <p:nvPicPr>
            <p:cNvPr id="72" name="Image 7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304723" y="3678199"/>
              <a:ext cx="2530712" cy="462756"/>
            </a:xfrm>
            <a:prstGeom prst="rect">
              <a:avLst/>
            </a:prstGeom>
          </p:spPr>
        </p:pic>
      </p:grpSp>
      <p:pic>
        <p:nvPicPr>
          <p:cNvPr id="73" name="Image 6" descr="Log_AXIANS_CRVB.jpg">
            <a:extLst>
              <a:ext uri="{FF2B5EF4-FFF2-40B4-BE49-F238E27FC236}">
                <a16:creationId xmlns:a16="http://schemas.microsoft.com/office/drawing/2014/main" id="{54644375-FC21-4952-8EE6-C569E3B3479A}"/>
              </a:ext>
            </a:extLst>
          </p:cNvPr>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2619981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9"/>
                                        </p:tgtEl>
                                        <p:attrNameLst>
                                          <p:attrName>style.visibility</p:attrName>
                                        </p:attrNameLst>
                                      </p:cBhvr>
                                      <p:to>
                                        <p:strVal val="visible"/>
                                      </p:to>
                                    </p:set>
                                    <p:animEffect transition="in" filter="fade">
                                      <p:cBhvr>
                                        <p:cTn id="7" dur="500"/>
                                        <p:tgtEl>
                                          <p:spTgt spid="69"/>
                                        </p:tgtEl>
                                      </p:cBhvr>
                                    </p:animEffect>
                                  </p:childTnLst>
                                </p:cTn>
                              </p:par>
                              <p:par>
                                <p:cTn id="8" presetID="6" presetClass="emph" presetSubtype="0" fill="hold" nodeType="withEffect">
                                  <p:stCondLst>
                                    <p:cond delay="0"/>
                                  </p:stCondLst>
                                  <p:childTnLst>
                                    <p:animScale>
                                      <p:cBhvr>
                                        <p:cTn id="9" dur="10" fill="hold"/>
                                        <p:tgtEl>
                                          <p:spTgt spid="69"/>
                                        </p:tgtEl>
                                      </p:cBhvr>
                                      <p:by x="50000" y="50000"/>
                                    </p:animScale>
                                  </p:childTnLst>
                                </p:cTn>
                              </p:par>
                              <p:par>
                                <p:cTn id="10" presetID="6" presetClass="emph" presetSubtype="0" decel="100000" fill="hold" nodeType="withEffect">
                                  <p:stCondLst>
                                    <p:cond delay="0"/>
                                  </p:stCondLst>
                                  <p:childTnLst>
                                    <p:animScale>
                                      <p:cBhvr>
                                        <p:cTn id="11" dur="1000" fill="hold"/>
                                        <p:tgtEl>
                                          <p:spTgt spid="69"/>
                                        </p:tgtEl>
                                      </p:cBhvr>
                                      <p:by x="200000" y="200000"/>
                                    </p:animScale>
                                  </p:childTnLst>
                                </p:cTn>
                              </p:par>
                              <p:par>
                                <p:cTn id="12" presetID="22" presetClass="entr" presetSubtype="4" fill="hold" nodeType="withEffect">
                                  <p:stCondLst>
                                    <p:cond delay="500"/>
                                  </p:stCondLst>
                                  <p:childTnLst>
                                    <p:set>
                                      <p:cBhvr>
                                        <p:cTn id="13" dur="1" fill="hold">
                                          <p:stCondLst>
                                            <p:cond delay="0"/>
                                          </p:stCondLst>
                                        </p:cTn>
                                        <p:tgtEl>
                                          <p:spTgt spid="23"/>
                                        </p:tgtEl>
                                        <p:attrNameLst>
                                          <p:attrName>style.visibility</p:attrName>
                                        </p:attrNameLst>
                                      </p:cBhvr>
                                      <p:to>
                                        <p:strVal val="visible"/>
                                      </p:to>
                                    </p:set>
                                    <p:animEffect transition="in" filter="wipe(down)">
                                      <p:cBhvr>
                                        <p:cTn id="14" dur="500"/>
                                        <p:tgtEl>
                                          <p:spTgt spid="23"/>
                                        </p:tgtEl>
                                      </p:cBhvr>
                                    </p:animEffect>
                                  </p:childTnLst>
                                </p:cTn>
                              </p:par>
                              <p:par>
                                <p:cTn id="15" presetID="22" presetClass="entr" presetSubtype="4" fill="hold" nodeType="withEffect">
                                  <p:stCondLst>
                                    <p:cond delay="600"/>
                                  </p:stCondLst>
                                  <p:childTnLst>
                                    <p:set>
                                      <p:cBhvr>
                                        <p:cTn id="16" dur="1" fill="hold">
                                          <p:stCondLst>
                                            <p:cond delay="0"/>
                                          </p:stCondLst>
                                        </p:cTn>
                                        <p:tgtEl>
                                          <p:spTgt spid="22"/>
                                        </p:tgtEl>
                                        <p:attrNameLst>
                                          <p:attrName>style.visibility</p:attrName>
                                        </p:attrNameLst>
                                      </p:cBhvr>
                                      <p:to>
                                        <p:strVal val="visible"/>
                                      </p:to>
                                    </p:set>
                                    <p:animEffect transition="in" filter="wipe(down)">
                                      <p:cBhvr>
                                        <p:cTn id="17" dur="500"/>
                                        <p:tgtEl>
                                          <p:spTgt spid="22"/>
                                        </p:tgtEl>
                                      </p:cBhvr>
                                    </p:animEffect>
                                  </p:childTnLst>
                                </p:cTn>
                              </p:par>
                              <p:par>
                                <p:cTn id="18" presetID="22" presetClass="entr" presetSubtype="4" fill="hold" nodeType="withEffect">
                                  <p:stCondLst>
                                    <p:cond delay="700"/>
                                  </p:stCondLst>
                                  <p:childTnLst>
                                    <p:set>
                                      <p:cBhvr>
                                        <p:cTn id="19" dur="1" fill="hold">
                                          <p:stCondLst>
                                            <p:cond delay="0"/>
                                          </p:stCondLst>
                                        </p:cTn>
                                        <p:tgtEl>
                                          <p:spTgt spid="20"/>
                                        </p:tgtEl>
                                        <p:attrNameLst>
                                          <p:attrName>style.visibility</p:attrName>
                                        </p:attrNameLst>
                                      </p:cBhvr>
                                      <p:to>
                                        <p:strVal val="visible"/>
                                      </p:to>
                                    </p:set>
                                    <p:animEffect transition="in" filter="wipe(down)">
                                      <p:cBhvr>
                                        <p:cTn id="20" dur="500"/>
                                        <p:tgtEl>
                                          <p:spTgt spid="20"/>
                                        </p:tgtEl>
                                      </p:cBhvr>
                                    </p:animEffect>
                                  </p:childTnLst>
                                </p:cTn>
                              </p:par>
                              <p:par>
                                <p:cTn id="21" presetID="22" presetClass="entr" presetSubtype="4" fill="hold" nodeType="withEffect">
                                  <p:stCondLst>
                                    <p:cond delay="800"/>
                                  </p:stCondLst>
                                  <p:childTnLst>
                                    <p:set>
                                      <p:cBhvr>
                                        <p:cTn id="22" dur="1" fill="hold">
                                          <p:stCondLst>
                                            <p:cond delay="0"/>
                                          </p:stCondLst>
                                        </p:cTn>
                                        <p:tgtEl>
                                          <p:spTgt spid="42"/>
                                        </p:tgtEl>
                                        <p:attrNameLst>
                                          <p:attrName>style.visibility</p:attrName>
                                        </p:attrNameLst>
                                      </p:cBhvr>
                                      <p:to>
                                        <p:strVal val="visible"/>
                                      </p:to>
                                    </p:set>
                                    <p:animEffect transition="in" filter="wipe(down)">
                                      <p:cBhvr>
                                        <p:cTn id="23" dur="500"/>
                                        <p:tgtEl>
                                          <p:spTgt spid="42"/>
                                        </p:tgtEl>
                                      </p:cBhvr>
                                    </p:animEffect>
                                  </p:childTnLst>
                                </p:cTn>
                              </p:par>
                              <p:par>
                                <p:cTn id="24" presetID="22" presetClass="entr" presetSubtype="4" fill="hold" nodeType="withEffect">
                                  <p:stCondLst>
                                    <p:cond delay="900"/>
                                  </p:stCondLst>
                                  <p:childTnLst>
                                    <p:set>
                                      <p:cBhvr>
                                        <p:cTn id="25" dur="1" fill="hold">
                                          <p:stCondLst>
                                            <p:cond delay="0"/>
                                          </p:stCondLst>
                                        </p:cTn>
                                        <p:tgtEl>
                                          <p:spTgt spid="43"/>
                                        </p:tgtEl>
                                        <p:attrNameLst>
                                          <p:attrName>style.visibility</p:attrName>
                                        </p:attrNameLst>
                                      </p:cBhvr>
                                      <p:to>
                                        <p:strVal val="visible"/>
                                      </p:to>
                                    </p:set>
                                    <p:animEffect transition="in" filter="wipe(down)">
                                      <p:cBhvr>
                                        <p:cTn id="26" dur="500"/>
                                        <p:tgtEl>
                                          <p:spTgt spid="43"/>
                                        </p:tgtEl>
                                      </p:cBhvr>
                                    </p:animEffect>
                                  </p:childTnLst>
                                </p:cTn>
                              </p:par>
                              <p:par>
                                <p:cTn id="27" presetID="22" presetClass="entr" presetSubtype="4" fill="hold" nodeType="withEffect">
                                  <p:stCondLst>
                                    <p:cond delay="1000"/>
                                  </p:stCondLst>
                                  <p:childTnLst>
                                    <p:set>
                                      <p:cBhvr>
                                        <p:cTn id="28" dur="1" fill="hold">
                                          <p:stCondLst>
                                            <p:cond delay="0"/>
                                          </p:stCondLst>
                                        </p:cTn>
                                        <p:tgtEl>
                                          <p:spTgt spid="44"/>
                                        </p:tgtEl>
                                        <p:attrNameLst>
                                          <p:attrName>style.visibility</p:attrName>
                                        </p:attrNameLst>
                                      </p:cBhvr>
                                      <p:to>
                                        <p:strVal val="visible"/>
                                      </p:to>
                                    </p:set>
                                    <p:animEffect transition="in" filter="wipe(down)">
                                      <p:cBhvr>
                                        <p:cTn id="29" dur="500"/>
                                        <p:tgtEl>
                                          <p:spTgt spid="44"/>
                                        </p:tgtEl>
                                      </p:cBhvr>
                                    </p:animEffect>
                                  </p:childTnLst>
                                </p:cTn>
                              </p:par>
                              <p:par>
                                <p:cTn id="30" presetID="53" presetClass="entr" presetSubtype="16" fill="hold" nodeType="withEffect">
                                  <p:stCondLst>
                                    <p:cond delay="750"/>
                                  </p:stCondLst>
                                  <p:childTnLst>
                                    <p:set>
                                      <p:cBhvr>
                                        <p:cTn id="31" dur="1" fill="hold">
                                          <p:stCondLst>
                                            <p:cond delay="0"/>
                                          </p:stCondLst>
                                        </p:cTn>
                                        <p:tgtEl>
                                          <p:spTgt spid="26"/>
                                        </p:tgtEl>
                                        <p:attrNameLst>
                                          <p:attrName>style.visibility</p:attrName>
                                        </p:attrNameLst>
                                      </p:cBhvr>
                                      <p:to>
                                        <p:strVal val="visible"/>
                                      </p:to>
                                    </p:set>
                                    <p:anim calcmode="lin" valueType="num">
                                      <p:cBhvr>
                                        <p:cTn id="32" dur="500" fill="hold"/>
                                        <p:tgtEl>
                                          <p:spTgt spid="26"/>
                                        </p:tgtEl>
                                        <p:attrNameLst>
                                          <p:attrName>ppt_w</p:attrName>
                                        </p:attrNameLst>
                                      </p:cBhvr>
                                      <p:tavLst>
                                        <p:tav tm="0">
                                          <p:val>
                                            <p:fltVal val="0"/>
                                          </p:val>
                                        </p:tav>
                                        <p:tav tm="100000">
                                          <p:val>
                                            <p:strVal val="#ppt_w"/>
                                          </p:val>
                                        </p:tav>
                                      </p:tavLst>
                                    </p:anim>
                                    <p:anim calcmode="lin" valueType="num">
                                      <p:cBhvr>
                                        <p:cTn id="33" dur="500" fill="hold"/>
                                        <p:tgtEl>
                                          <p:spTgt spid="26"/>
                                        </p:tgtEl>
                                        <p:attrNameLst>
                                          <p:attrName>ppt_h</p:attrName>
                                        </p:attrNameLst>
                                      </p:cBhvr>
                                      <p:tavLst>
                                        <p:tav tm="0">
                                          <p:val>
                                            <p:fltVal val="0"/>
                                          </p:val>
                                        </p:tav>
                                        <p:tav tm="100000">
                                          <p:val>
                                            <p:strVal val="#ppt_h"/>
                                          </p:val>
                                        </p:tav>
                                      </p:tavLst>
                                    </p:anim>
                                    <p:animEffect transition="in" filter="fade">
                                      <p:cBhvr>
                                        <p:cTn id="34" dur="500"/>
                                        <p:tgtEl>
                                          <p:spTgt spid="26"/>
                                        </p:tgtEl>
                                      </p:cBhvr>
                                    </p:animEffect>
                                  </p:childTnLst>
                                </p:cTn>
                              </p:par>
                              <p:par>
                                <p:cTn id="35" presetID="53" presetClass="entr" presetSubtype="16" fill="hold" nodeType="withEffect">
                                  <p:stCondLst>
                                    <p:cond delay="850"/>
                                  </p:stCondLst>
                                  <p:childTnLst>
                                    <p:set>
                                      <p:cBhvr>
                                        <p:cTn id="36" dur="1" fill="hold">
                                          <p:stCondLst>
                                            <p:cond delay="0"/>
                                          </p:stCondLst>
                                        </p:cTn>
                                        <p:tgtEl>
                                          <p:spTgt spid="25"/>
                                        </p:tgtEl>
                                        <p:attrNameLst>
                                          <p:attrName>style.visibility</p:attrName>
                                        </p:attrNameLst>
                                      </p:cBhvr>
                                      <p:to>
                                        <p:strVal val="visible"/>
                                      </p:to>
                                    </p:set>
                                    <p:anim calcmode="lin" valueType="num">
                                      <p:cBhvr>
                                        <p:cTn id="37" dur="500" fill="hold"/>
                                        <p:tgtEl>
                                          <p:spTgt spid="25"/>
                                        </p:tgtEl>
                                        <p:attrNameLst>
                                          <p:attrName>ppt_w</p:attrName>
                                        </p:attrNameLst>
                                      </p:cBhvr>
                                      <p:tavLst>
                                        <p:tav tm="0">
                                          <p:val>
                                            <p:fltVal val="0"/>
                                          </p:val>
                                        </p:tav>
                                        <p:tav tm="100000">
                                          <p:val>
                                            <p:strVal val="#ppt_w"/>
                                          </p:val>
                                        </p:tav>
                                      </p:tavLst>
                                    </p:anim>
                                    <p:anim calcmode="lin" valueType="num">
                                      <p:cBhvr>
                                        <p:cTn id="38" dur="500" fill="hold"/>
                                        <p:tgtEl>
                                          <p:spTgt spid="25"/>
                                        </p:tgtEl>
                                        <p:attrNameLst>
                                          <p:attrName>ppt_h</p:attrName>
                                        </p:attrNameLst>
                                      </p:cBhvr>
                                      <p:tavLst>
                                        <p:tav tm="0">
                                          <p:val>
                                            <p:fltVal val="0"/>
                                          </p:val>
                                        </p:tav>
                                        <p:tav tm="100000">
                                          <p:val>
                                            <p:strVal val="#ppt_h"/>
                                          </p:val>
                                        </p:tav>
                                      </p:tavLst>
                                    </p:anim>
                                    <p:animEffect transition="in" filter="fade">
                                      <p:cBhvr>
                                        <p:cTn id="39" dur="500"/>
                                        <p:tgtEl>
                                          <p:spTgt spid="25"/>
                                        </p:tgtEl>
                                      </p:cBhvr>
                                    </p:animEffect>
                                  </p:childTnLst>
                                </p:cTn>
                              </p:par>
                              <p:par>
                                <p:cTn id="40" presetID="53" presetClass="entr" presetSubtype="16" fill="hold" nodeType="withEffect">
                                  <p:stCondLst>
                                    <p:cond delay="950"/>
                                  </p:stCondLst>
                                  <p:childTnLst>
                                    <p:set>
                                      <p:cBhvr>
                                        <p:cTn id="41" dur="1" fill="hold">
                                          <p:stCondLst>
                                            <p:cond delay="0"/>
                                          </p:stCondLst>
                                        </p:cTn>
                                        <p:tgtEl>
                                          <p:spTgt spid="24"/>
                                        </p:tgtEl>
                                        <p:attrNameLst>
                                          <p:attrName>style.visibility</p:attrName>
                                        </p:attrNameLst>
                                      </p:cBhvr>
                                      <p:to>
                                        <p:strVal val="visible"/>
                                      </p:to>
                                    </p:set>
                                    <p:anim calcmode="lin" valueType="num">
                                      <p:cBhvr>
                                        <p:cTn id="42" dur="500" fill="hold"/>
                                        <p:tgtEl>
                                          <p:spTgt spid="24"/>
                                        </p:tgtEl>
                                        <p:attrNameLst>
                                          <p:attrName>ppt_w</p:attrName>
                                        </p:attrNameLst>
                                      </p:cBhvr>
                                      <p:tavLst>
                                        <p:tav tm="0">
                                          <p:val>
                                            <p:fltVal val="0"/>
                                          </p:val>
                                        </p:tav>
                                        <p:tav tm="100000">
                                          <p:val>
                                            <p:strVal val="#ppt_w"/>
                                          </p:val>
                                        </p:tav>
                                      </p:tavLst>
                                    </p:anim>
                                    <p:anim calcmode="lin" valueType="num">
                                      <p:cBhvr>
                                        <p:cTn id="43" dur="500" fill="hold"/>
                                        <p:tgtEl>
                                          <p:spTgt spid="24"/>
                                        </p:tgtEl>
                                        <p:attrNameLst>
                                          <p:attrName>ppt_h</p:attrName>
                                        </p:attrNameLst>
                                      </p:cBhvr>
                                      <p:tavLst>
                                        <p:tav tm="0">
                                          <p:val>
                                            <p:fltVal val="0"/>
                                          </p:val>
                                        </p:tav>
                                        <p:tav tm="100000">
                                          <p:val>
                                            <p:strVal val="#ppt_h"/>
                                          </p:val>
                                        </p:tav>
                                      </p:tavLst>
                                    </p:anim>
                                    <p:animEffect transition="in" filter="fade">
                                      <p:cBhvr>
                                        <p:cTn id="44" dur="500"/>
                                        <p:tgtEl>
                                          <p:spTgt spid="24"/>
                                        </p:tgtEl>
                                      </p:cBhvr>
                                    </p:animEffect>
                                  </p:childTnLst>
                                </p:cTn>
                              </p:par>
                              <p:par>
                                <p:cTn id="45" presetID="53" presetClass="entr" presetSubtype="16" fill="hold" nodeType="withEffect">
                                  <p:stCondLst>
                                    <p:cond delay="1050"/>
                                  </p:stCondLst>
                                  <p:childTnLst>
                                    <p:set>
                                      <p:cBhvr>
                                        <p:cTn id="46" dur="1" fill="hold">
                                          <p:stCondLst>
                                            <p:cond delay="0"/>
                                          </p:stCondLst>
                                        </p:cTn>
                                        <p:tgtEl>
                                          <p:spTgt spid="45"/>
                                        </p:tgtEl>
                                        <p:attrNameLst>
                                          <p:attrName>style.visibility</p:attrName>
                                        </p:attrNameLst>
                                      </p:cBhvr>
                                      <p:to>
                                        <p:strVal val="visible"/>
                                      </p:to>
                                    </p:set>
                                    <p:anim calcmode="lin" valueType="num">
                                      <p:cBhvr>
                                        <p:cTn id="47" dur="500" fill="hold"/>
                                        <p:tgtEl>
                                          <p:spTgt spid="45"/>
                                        </p:tgtEl>
                                        <p:attrNameLst>
                                          <p:attrName>ppt_w</p:attrName>
                                        </p:attrNameLst>
                                      </p:cBhvr>
                                      <p:tavLst>
                                        <p:tav tm="0">
                                          <p:val>
                                            <p:fltVal val="0"/>
                                          </p:val>
                                        </p:tav>
                                        <p:tav tm="100000">
                                          <p:val>
                                            <p:strVal val="#ppt_w"/>
                                          </p:val>
                                        </p:tav>
                                      </p:tavLst>
                                    </p:anim>
                                    <p:anim calcmode="lin" valueType="num">
                                      <p:cBhvr>
                                        <p:cTn id="48" dur="500" fill="hold"/>
                                        <p:tgtEl>
                                          <p:spTgt spid="45"/>
                                        </p:tgtEl>
                                        <p:attrNameLst>
                                          <p:attrName>ppt_h</p:attrName>
                                        </p:attrNameLst>
                                      </p:cBhvr>
                                      <p:tavLst>
                                        <p:tav tm="0">
                                          <p:val>
                                            <p:fltVal val="0"/>
                                          </p:val>
                                        </p:tav>
                                        <p:tav tm="100000">
                                          <p:val>
                                            <p:strVal val="#ppt_h"/>
                                          </p:val>
                                        </p:tav>
                                      </p:tavLst>
                                    </p:anim>
                                    <p:animEffect transition="in" filter="fade">
                                      <p:cBhvr>
                                        <p:cTn id="49" dur="500"/>
                                        <p:tgtEl>
                                          <p:spTgt spid="45"/>
                                        </p:tgtEl>
                                      </p:cBhvr>
                                    </p:animEffect>
                                  </p:childTnLst>
                                </p:cTn>
                              </p:par>
                              <p:par>
                                <p:cTn id="50" presetID="53" presetClass="entr" presetSubtype="16" fill="hold" nodeType="withEffect">
                                  <p:stCondLst>
                                    <p:cond delay="1150"/>
                                  </p:stCondLst>
                                  <p:childTnLst>
                                    <p:set>
                                      <p:cBhvr>
                                        <p:cTn id="51" dur="1" fill="hold">
                                          <p:stCondLst>
                                            <p:cond delay="0"/>
                                          </p:stCondLst>
                                        </p:cTn>
                                        <p:tgtEl>
                                          <p:spTgt spid="46"/>
                                        </p:tgtEl>
                                        <p:attrNameLst>
                                          <p:attrName>style.visibility</p:attrName>
                                        </p:attrNameLst>
                                      </p:cBhvr>
                                      <p:to>
                                        <p:strVal val="visible"/>
                                      </p:to>
                                    </p:set>
                                    <p:anim calcmode="lin" valueType="num">
                                      <p:cBhvr>
                                        <p:cTn id="52" dur="500" fill="hold"/>
                                        <p:tgtEl>
                                          <p:spTgt spid="46"/>
                                        </p:tgtEl>
                                        <p:attrNameLst>
                                          <p:attrName>ppt_w</p:attrName>
                                        </p:attrNameLst>
                                      </p:cBhvr>
                                      <p:tavLst>
                                        <p:tav tm="0">
                                          <p:val>
                                            <p:fltVal val="0"/>
                                          </p:val>
                                        </p:tav>
                                        <p:tav tm="100000">
                                          <p:val>
                                            <p:strVal val="#ppt_w"/>
                                          </p:val>
                                        </p:tav>
                                      </p:tavLst>
                                    </p:anim>
                                    <p:anim calcmode="lin" valueType="num">
                                      <p:cBhvr>
                                        <p:cTn id="53" dur="500" fill="hold"/>
                                        <p:tgtEl>
                                          <p:spTgt spid="46"/>
                                        </p:tgtEl>
                                        <p:attrNameLst>
                                          <p:attrName>ppt_h</p:attrName>
                                        </p:attrNameLst>
                                      </p:cBhvr>
                                      <p:tavLst>
                                        <p:tav tm="0">
                                          <p:val>
                                            <p:fltVal val="0"/>
                                          </p:val>
                                        </p:tav>
                                        <p:tav tm="100000">
                                          <p:val>
                                            <p:strVal val="#ppt_h"/>
                                          </p:val>
                                        </p:tav>
                                      </p:tavLst>
                                    </p:anim>
                                    <p:animEffect transition="in" filter="fade">
                                      <p:cBhvr>
                                        <p:cTn id="54" dur="500"/>
                                        <p:tgtEl>
                                          <p:spTgt spid="46"/>
                                        </p:tgtEl>
                                      </p:cBhvr>
                                    </p:animEffect>
                                  </p:childTnLst>
                                </p:cTn>
                              </p:par>
                              <p:par>
                                <p:cTn id="55" presetID="53" presetClass="entr" presetSubtype="16" fill="hold" nodeType="withEffect">
                                  <p:stCondLst>
                                    <p:cond delay="1250"/>
                                  </p:stCondLst>
                                  <p:childTnLst>
                                    <p:set>
                                      <p:cBhvr>
                                        <p:cTn id="56" dur="1" fill="hold">
                                          <p:stCondLst>
                                            <p:cond delay="0"/>
                                          </p:stCondLst>
                                        </p:cTn>
                                        <p:tgtEl>
                                          <p:spTgt spid="47"/>
                                        </p:tgtEl>
                                        <p:attrNameLst>
                                          <p:attrName>style.visibility</p:attrName>
                                        </p:attrNameLst>
                                      </p:cBhvr>
                                      <p:to>
                                        <p:strVal val="visible"/>
                                      </p:to>
                                    </p:set>
                                    <p:anim calcmode="lin" valueType="num">
                                      <p:cBhvr>
                                        <p:cTn id="57" dur="500" fill="hold"/>
                                        <p:tgtEl>
                                          <p:spTgt spid="47"/>
                                        </p:tgtEl>
                                        <p:attrNameLst>
                                          <p:attrName>ppt_w</p:attrName>
                                        </p:attrNameLst>
                                      </p:cBhvr>
                                      <p:tavLst>
                                        <p:tav tm="0">
                                          <p:val>
                                            <p:fltVal val="0"/>
                                          </p:val>
                                        </p:tav>
                                        <p:tav tm="100000">
                                          <p:val>
                                            <p:strVal val="#ppt_w"/>
                                          </p:val>
                                        </p:tav>
                                      </p:tavLst>
                                    </p:anim>
                                    <p:anim calcmode="lin" valueType="num">
                                      <p:cBhvr>
                                        <p:cTn id="58" dur="500" fill="hold"/>
                                        <p:tgtEl>
                                          <p:spTgt spid="47"/>
                                        </p:tgtEl>
                                        <p:attrNameLst>
                                          <p:attrName>ppt_h</p:attrName>
                                        </p:attrNameLst>
                                      </p:cBhvr>
                                      <p:tavLst>
                                        <p:tav tm="0">
                                          <p:val>
                                            <p:fltVal val="0"/>
                                          </p:val>
                                        </p:tav>
                                        <p:tav tm="100000">
                                          <p:val>
                                            <p:strVal val="#ppt_h"/>
                                          </p:val>
                                        </p:tav>
                                      </p:tavLst>
                                    </p:anim>
                                    <p:animEffect transition="in" filter="fade">
                                      <p:cBhvr>
                                        <p:cTn id="59" dur="500"/>
                                        <p:tgtEl>
                                          <p:spTgt spid="47"/>
                                        </p:tgtEl>
                                      </p:cBhvr>
                                    </p:animEffect>
                                  </p:childTnLst>
                                </p:cTn>
                              </p:par>
                              <p:par>
                                <p:cTn id="60" presetID="10" presetClass="entr" presetSubtype="0" fill="hold" grpId="0" nodeType="withEffect">
                                  <p:stCondLst>
                                    <p:cond delay="1000"/>
                                  </p:stCondLst>
                                  <p:childTnLst>
                                    <p:set>
                                      <p:cBhvr>
                                        <p:cTn id="61" dur="1" fill="hold">
                                          <p:stCondLst>
                                            <p:cond delay="0"/>
                                          </p:stCondLst>
                                        </p:cTn>
                                        <p:tgtEl>
                                          <p:spTgt spid="5"/>
                                        </p:tgtEl>
                                        <p:attrNameLst>
                                          <p:attrName>style.visibility</p:attrName>
                                        </p:attrNameLst>
                                      </p:cBhvr>
                                      <p:to>
                                        <p:strVal val="visible"/>
                                      </p:to>
                                    </p:set>
                                    <p:animEffect transition="in" filter="fade">
                                      <p:cBhvr>
                                        <p:cTn id="62" dur="250"/>
                                        <p:tgtEl>
                                          <p:spTgt spid="5"/>
                                        </p:tgtEl>
                                      </p:cBhvr>
                                    </p:animEffect>
                                  </p:childTnLst>
                                </p:cTn>
                              </p:par>
                              <p:par>
                                <p:cTn id="63" presetID="10" presetClass="entr" presetSubtype="0" fill="hold" grpId="0" nodeType="withEffect">
                                  <p:stCondLst>
                                    <p:cond delay="1100"/>
                                  </p:stCondLst>
                                  <p:childTnLst>
                                    <p:set>
                                      <p:cBhvr>
                                        <p:cTn id="64" dur="1" fill="hold">
                                          <p:stCondLst>
                                            <p:cond delay="0"/>
                                          </p:stCondLst>
                                        </p:cTn>
                                        <p:tgtEl>
                                          <p:spTgt spid="68"/>
                                        </p:tgtEl>
                                        <p:attrNameLst>
                                          <p:attrName>style.visibility</p:attrName>
                                        </p:attrNameLst>
                                      </p:cBhvr>
                                      <p:to>
                                        <p:strVal val="visible"/>
                                      </p:to>
                                    </p:set>
                                    <p:animEffect transition="in" filter="fade">
                                      <p:cBhvr>
                                        <p:cTn id="65" dur="250"/>
                                        <p:tgtEl>
                                          <p:spTgt spid="68"/>
                                        </p:tgtEl>
                                      </p:cBhvr>
                                    </p:animEffect>
                                  </p:childTnLst>
                                </p:cTn>
                              </p:par>
                              <p:par>
                                <p:cTn id="66" presetID="10" presetClass="entr" presetSubtype="0" fill="hold" grpId="0" nodeType="withEffect">
                                  <p:stCondLst>
                                    <p:cond delay="1200"/>
                                  </p:stCondLst>
                                  <p:childTnLst>
                                    <p:set>
                                      <p:cBhvr>
                                        <p:cTn id="67" dur="1" fill="hold">
                                          <p:stCondLst>
                                            <p:cond delay="0"/>
                                          </p:stCondLst>
                                        </p:cTn>
                                        <p:tgtEl>
                                          <p:spTgt spid="67"/>
                                        </p:tgtEl>
                                        <p:attrNameLst>
                                          <p:attrName>style.visibility</p:attrName>
                                        </p:attrNameLst>
                                      </p:cBhvr>
                                      <p:to>
                                        <p:strVal val="visible"/>
                                      </p:to>
                                    </p:set>
                                    <p:animEffect transition="in" filter="fade">
                                      <p:cBhvr>
                                        <p:cTn id="68" dur="250"/>
                                        <p:tgtEl>
                                          <p:spTgt spid="67"/>
                                        </p:tgtEl>
                                      </p:cBhvr>
                                    </p:animEffect>
                                  </p:childTnLst>
                                </p:cTn>
                              </p:par>
                              <p:par>
                                <p:cTn id="69" presetID="10" presetClass="entr" presetSubtype="0" fill="hold" grpId="0" nodeType="withEffect">
                                  <p:stCondLst>
                                    <p:cond delay="1300"/>
                                  </p:stCondLst>
                                  <p:childTnLst>
                                    <p:set>
                                      <p:cBhvr>
                                        <p:cTn id="70" dur="1" fill="hold">
                                          <p:stCondLst>
                                            <p:cond delay="0"/>
                                          </p:stCondLst>
                                        </p:cTn>
                                        <p:tgtEl>
                                          <p:spTgt spid="66"/>
                                        </p:tgtEl>
                                        <p:attrNameLst>
                                          <p:attrName>style.visibility</p:attrName>
                                        </p:attrNameLst>
                                      </p:cBhvr>
                                      <p:to>
                                        <p:strVal val="visible"/>
                                      </p:to>
                                    </p:set>
                                    <p:animEffect transition="in" filter="fade">
                                      <p:cBhvr>
                                        <p:cTn id="71" dur="250"/>
                                        <p:tgtEl>
                                          <p:spTgt spid="66"/>
                                        </p:tgtEl>
                                      </p:cBhvr>
                                    </p:animEffect>
                                  </p:childTnLst>
                                </p:cTn>
                              </p:par>
                              <p:par>
                                <p:cTn id="72" presetID="10" presetClass="entr" presetSubtype="0" fill="hold" grpId="0" nodeType="withEffect">
                                  <p:stCondLst>
                                    <p:cond delay="1400"/>
                                  </p:stCondLst>
                                  <p:childTnLst>
                                    <p:set>
                                      <p:cBhvr>
                                        <p:cTn id="73" dur="1" fill="hold">
                                          <p:stCondLst>
                                            <p:cond delay="0"/>
                                          </p:stCondLst>
                                        </p:cTn>
                                        <p:tgtEl>
                                          <p:spTgt spid="65"/>
                                        </p:tgtEl>
                                        <p:attrNameLst>
                                          <p:attrName>style.visibility</p:attrName>
                                        </p:attrNameLst>
                                      </p:cBhvr>
                                      <p:to>
                                        <p:strVal val="visible"/>
                                      </p:to>
                                    </p:set>
                                    <p:animEffect transition="in" filter="fade">
                                      <p:cBhvr>
                                        <p:cTn id="74" dur="250"/>
                                        <p:tgtEl>
                                          <p:spTgt spid="65"/>
                                        </p:tgtEl>
                                      </p:cBhvr>
                                    </p:animEffect>
                                  </p:childTnLst>
                                </p:cTn>
                              </p:par>
                              <p:par>
                                <p:cTn id="75" presetID="10" presetClass="entr" presetSubtype="0" fill="hold" grpId="0" nodeType="withEffect">
                                  <p:stCondLst>
                                    <p:cond delay="1500"/>
                                  </p:stCondLst>
                                  <p:childTnLst>
                                    <p:set>
                                      <p:cBhvr>
                                        <p:cTn id="76" dur="1" fill="hold">
                                          <p:stCondLst>
                                            <p:cond delay="0"/>
                                          </p:stCondLst>
                                        </p:cTn>
                                        <p:tgtEl>
                                          <p:spTgt spid="64"/>
                                        </p:tgtEl>
                                        <p:attrNameLst>
                                          <p:attrName>style.visibility</p:attrName>
                                        </p:attrNameLst>
                                      </p:cBhvr>
                                      <p:to>
                                        <p:strVal val="visible"/>
                                      </p:to>
                                    </p:set>
                                    <p:animEffect transition="in" filter="fade">
                                      <p:cBhvr>
                                        <p:cTn id="77" dur="250"/>
                                        <p:tgtEl>
                                          <p:spTgt spid="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tmplLst>
          <p:tmpl>
            <p:tnLst>
              <p:par>
                <p:cTn presetID="10" presetClass="entr" presetSubtype="0" fill="hold" nodeType="withEffect">
                  <p:stCondLst>
                    <p:cond delay="1000"/>
                  </p:stCondLst>
                  <p:childTnLst>
                    <p:set>
                      <p:cBhvr>
                        <p:cTn dur="1" fill="hold">
                          <p:stCondLst>
                            <p:cond delay="0"/>
                          </p:stCondLst>
                        </p:cTn>
                        <p:tgtEl>
                          <p:spTgt spid="5"/>
                        </p:tgtEl>
                        <p:attrNameLst>
                          <p:attrName>style.visibility</p:attrName>
                        </p:attrNameLst>
                      </p:cBhvr>
                      <p:to>
                        <p:strVal val="visible"/>
                      </p:to>
                    </p:set>
                    <p:animEffect transition="in" filter="fade">
                      <p:cBhvr>
                        <p:cTn dur="250"/>
                        <p:tgtEl>
                          <p:spTgt spid="5"/>
                        </p:tgtEl>
                      </p:cBhvr>
                    </p:animEffect>
                  </p:childTnLst>
                </p:cTn>
              </p:par>
            </p:tnLst>
          </p:tmpl>
        </p:tmplLst>
      </p:bldP>
      <p:bldP spid="64" grpId="0">
        <p:tmplLst>
          <p:tmpl>
            <p:tnLst>
              <p:par>
                <p:cTn presetID="10" presetClass="entr" presetSubtype="0" fill="hold" nodeType="withEffect">
                  <p:stCondLst>
                    <p:cond delay="1500"/>
                  </p:stCondLst>
                  <p:childTnLst>
                    <p:set>
                      <p:cBhvr>
                        <p:cTn dur="1" fill="hold">
                          <p:stCondLst>
                            <p:cond delay="0"/>
                          </p:stCondLst>
                        </p:cTn>
                        <p:tgtEl>
                          <p:spTgt spid="64"/>
                        </p:tgtEl>
                        <p:attrNameLst>
                          <p:attrName>style.visibility</p:attrName>
                        </p:attrNameLst>
                      </p:cBhvr>
                      <p:to>
                        <p:strVal val="visible"/>
                      </p:to>
                    </p:set>
                    <p:animEffect transition="in" filter="fade">
                      <p:cBhvr>
                        <p:cTn dur="250"/>
                        <p:tgtEl>
                          <p:spTgt spid="64"/>
                        </p:tgtEl>
                      </p:cBhvr>
                    </p:animEffect>
                  </p:childTnLst>
                </p:cTn>
              </p:par>
            </p:tnLst>
          </p:tmpl>
        </p:tmplLst>
      </p:bldP>
      <p:bldP spid="65" grpId="0">
        <p:tmplLst>
          <p:tmpl>
            <p:tnLst>
              <p:par>
                <p:cTn presetID="10" presetClass="entr" presetSubtype="0" fill="hold" nodeType="withEffect">
                  <p:stCondLst>
                    <p:cond delay="1400"/>
                  </p:stCondLst>
                  <p:childTnLst>
                    <p:set>
                      <p:cBhvr>
                        <p:cTn dur="1" fill="hold">
                          <p:stCondLst>
                            <p:cond delay="0"/>
                          </p:stCondLst>
                        </p:cTn>
                        <p:tgtEl>
                          <p:spTgt spid="65"/>
                        </p:tgtEl>
                        <p:attrNameLst>
                          <p:attrName>style.visibility</p:attrName>
                        </p:attrNameLst>
                      </p:cBhvr>
                      <p:to>
                        <p:strVal val="visible"/>
                      </p:to>
                    </p:set>
                    <p:animEffect transition="in" filter="fade">
                      <p:cBhvr>
                        <p:cTn dur="250"/>
                        <p:tgtEl>
                          <p:spTgt spid="65"/>
                        </p:tgtEl>
                      </p:cBhvr>
                    </p:animEffect>
                  </p:childTnLst>
                </p:cTn>
              </p:par>
            </p:tnLst>
          </p:tmpl>
        </p:tmplLst>
      </p:bldP>
      <p:bldP spid="66" grpId="0">
        <p:tmplLst>
          <p:tmpl>
            <p:tnLst>
              <p:par>
                <p:cTn presetID="10" presetClass="entr" presetSubtype="0" fill="hold" nodeType="withEffect">
                  <p:stCondLst>
                    <p:cond delay="1300"/>
                  </p:stCondLst>
                  <p:childTnLst>
                    <p:set>
                      <p:cBhvr>
                        <p:cTn dur="1" fill="hold">
                          <p:stCondLst>
                            <p:cond delay="0"/>
                          </p:stCondLst>
                        </p:cTn>
                        <p:tgtEl>
                          <p:spTgt spid="66"/>
                        </p:tgtEl>
                        <p:attrNameLst>
                          <p:attrName>style.visibility</p:attrName>
                        </p:attrNameLst>
                      </p:cBhvr>
                      <p:to>
                        <p:strVal val="visible"/>
                      </p:to>
                    </p:set>
                    <p:animEffect transition="in" filter="fade">
                      <p:cBhvr>
                        <p:cTn dur="250"/>
                        <p:tgtEl>
                          <p:spTgt spid="66"/>
                        </p:tgtEl>
                      </p:cBhvr>
                    </p:animEffect>
                  </p:childTnLst>
                </p:cTn>
              </p:par>
            </p:tnLst>
          </p:tmpl>
        </p:tmplLst>
      </p:bldP>
      <p:bldP spid="67" grpId="0">
        <p:tmplLst>
          <p:tmpl>
            <p:tnLst>
              <p:par>
                <p:cTn presetID="10" presetClass="entr" presetSubtype="0" fill="hold" nodeType="withEffect">
                  <p:stCondLst>
                    <p:cond delay="1200"/>
                  </p:stCondLst>
                  <p:childTnLst>
                    <p:set>
                      <p:cBhvr>
                        <p:cTn dur="1" fill="hold">
                          <p:stCondLst>
                            <p:cond delay="0"/>
                          </p:stCondLst>
                        </p:cTn>
                        <p:tgtEl>
                          <p:spTgt spid="67"/>
                        </p:tgtEl>
                        <p:attrNameLst>
                          <p:attrName>style.visibility</p:attrName>
                        </p:attrNameLst>
                      </p:cBhvr>
                      <p:to>
                        <p:strVal val="visible"/>
                      </p:to>
                    </p:set>
                    <p:animEffect transition="in" filter="fade">
                      <p:cBhvr>
                        <p:cTn dur="250"/>
                        <p:tgtEl>
                          <p:spTgt spid="67"/>
                        </p:tgtEl>
                      </p:cBhvr>
                    </p:animEffect>
                  </p:childTnLst>
                </p:cTn>
              </p:par>
            </p:tnLst>
          </p:tmpl>
        </p:tmplLst>
      </p:bldP>
      <p:bldP spid="68" grpId="0">
        <p:tmplLst>
          <p:tmpl>
            <p:tnLst>
              <p:par>
                <p:cTn presetID="10" presetClass="entr" presetSubtype="0" fill="hold" nodeType="withEffect">
                  <p:stCondLst>
                    <p:cond delay="1100"/>
                  </p:stCondLst>
                  <p:childTnLst>
                    <p:set>
                      <p:cBhvr>
                        <p:cTn dur="1" fill="hold">
                          <p:stCondLst>
                            <p:cond delay="0"/>
                          </p:stCondLst>
                        </p:cTn>
                        <p:tgtEl>
                          <p:spTgt spid="68"/>
                        </p:tgtEl>
                        <p:attrNameLst>
                          <p:attrName>style.visibility</p:attrName>
                        </p:attrNameLst>
                      </p:cBhvr>
                      <p:to>
                        <p:strVal val="visible"/>
                      </p:to>
                    </p:set>
                    <p:animEffect transition="in" filter="fade">
                      <p:cBhvr>
                        <p:cTn dur="250"/>
                        <p:tgtEl>
                          <p:spTgt spid="68"/>
                        </p:tgtEl>
                      </p:cBhvr>
                    </p:animEffect>
                  </p:childTnLst>
                </p:cTn>
              </p:par>
            </p:tnLst>
          </p:tmpl>
        </p:tmplLst>
      </p:bldP>
    </p:bld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2"/>
            <a:ext cx="5378548" cy="2018501"/>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17" indent="0">
              <a:buNone/>
              <a:tabLst/>
              <a:defRPr sz="1961"/>
            </a:lvl3pPr>
            <a:lvl4pPr marL="451121" indent="0">
              <a:buNone/>
              <a:defRPr/>
            </a:lvl4pPr>
            <a:lvl5pPr marL="672015"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562102"/>
            <a:ext cx="5378548" cy="2018501"/>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17" indent="0">
              <a:buNone/>
              <a:tabLst/>
              <a:defRPr sz="1961"/>
            </a:lvl3pPr>
            <a:lvl4pPr marL="451121" indent="0">
              <a:buNone/>
              <a:defRPr/>
            </a:lvl4pPr>
            <a:lvl5pPr marL="67201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02204766"/>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2"/>
            <a:ext cx="5378548" cy="2018501"/>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17" indent="0">
              <a:buNone/>
              <a:tabLst/>
              <a:defRPr sz="1961"/>
            </a:lvl3pPr>
            <a:lvl4pPr marL="451121" indent="0">
              <a:buNone/>
              <a:defRPr/>
            </a:lvl4pPr>
            <a:lvl5pPr marL="672015"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562102"/>
            <a:ext cx="5378548" cy="2018501"/>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17" indent="0">
              <a:buNone/>
              <a:tabLst/>
              <a:defRPr sz="1961"/>
            </a:lvl3pPr>
            <a:lvl4pPr marL="451121" indent="0">
              <a:buNone/>
              <a:defRPr/>
            </a:lvl4pPr>
            <a:lvl5pPr marL="67201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29227437"/>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1"/>
            <a:ext cx="5378548" cy="2506927"/>
          </a:xfrm>
        </p:spPr>
        <p:txBody>
          <a:bodyPr wrap="square">
            <a:spAutoFit/>
          </a:bodyPr>
          <a:lstStyle>
            <a:lvl1pPr marL="281562" indent="-281562">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490" indent="-228508">
              <a:defRPr sz="2353"/>
            </a:lvl2pPr>
            <a:lvl3pPr marL="685522" indent="-165035">
              <a:tabLst/>
              <a:defRPr sz="1961"/>
            </a:lvl3pPr>
            <a:lvl4pPr marL="863249" indent="-177729">
              <a:defRPr/>
            </a:lvl4pPr>
            <a:lvl5pPr marL="1028282" indent="-165035">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562101"/>
            <a:ext cx="5378548" cy="2506927"/>
          </a:xfrm>
        </p:spPr>
        <p:txBody>
          <a:bodyPr wrap="square">
            <a:spAutoFit/>
          </a:bodyPr>
          <a:lstStyle>
            <a:lvl1pPr marL="281562" indent="-281562">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490" indent="-228508">
              <a:defRPr sz="2353"/>
            </a:lvl2pPr>
            <a:lvl3pPr marL="685522" indent="-165035">
              <a:tabLst/>
              <a:defRPr sz="1961"/>
            </a:lvl3pPr>
            <a:lvl4pPr marL="863249" indent="-177729">
              <a:defRPr/>
            </a:lvl4pPr>
            <a:lvl5pPr marL="1028282" indent="-16503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93449947"/>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269243" y="1576523"/>
            <a:ext cx="5378548" cy="2506927"/>
          </a:xfrm>
        </p:spPr>
        <p:txBody>
          <a:bodyPr wrap="square">
            <a:spAutoFit/>
          </a:bodyPr>
          <a:lstStyle>
            <a:lvl1pPr marL="281562" indent="-281562">
              <a:spcBef>
                <a:spcPts val="1200"/>
              </a:spcBef>
              <a:buClr>
                <a:schemeClr val="tx1"/>
              </a:buClr>
              <a:buFont typeface="Arial" pitchFamily="34" charset="0"/>
              <a:buChar char="•"/>
              <a:defRPr sz="3135"/>
            </a:lvl1pPr>
            <a:lvl2pPr marL="520490" indent="-228508">
              <a:defRPr sz="2353"/>
            </a:lvl2pPr>
            <a:lvl3pPr marL="685522" indent="-165035">
              <a:tabLst/>
              <a:defRPr sz="1961"/>
            </a:lvl3pPr>
            <a:lvl4pPr marL="863249" indent="-177729">
              <a:defRPr/>
            </a:lvl4pPr>
            <a:lvl5pPr marL="1028282" indent="-165035">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576523"/>
            <a:ext cx="5378548" cy="2506927"/>
          </a:xfrm>
        </p:spPr>
        <p:txBody>
          <a:bodyPr wrap="square">
            <a:spAutoFit/>
          </a:bodyPr>
          <a:lstStyle>
            <a:lvl1pPr marL="281562" indent="-281562">
              <a:spcBef>
                <a:spcPts val="1200"/>
              </a:spcBef>
              <a:buClr>
                <a:schemeClr val="tx1"/>
              </a:buClr>
              <a:buFont typeface="Arial" pitchFamily="34" charset="0"/>
              <a:buChar char="•"/>
              <a:defRPr sz="3135"/>
            </a:lvl1pPr>
            <a:lvl2pPr marL="520490" indent="-228508">
              <a:defRPr sz="2353"/>
            </a:lvl2pPr>
            <a:lvl3pPr marL="685522" indent="-165035">
              <a:tabLst/>
              <a:defRPr sz="1961"/>
            </a:lvl3pPr>
            <a:lvl4pPr marL="863249" indent="-177729">
              <a:defRPr/>
            </a:lvl4pPr>
            <a:lvl5pPr marL="1028282" indent="-16503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5922574"/>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39656553"/>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7868" y="2084176"/>
            <a:ext cx="11294896" cy="1161665"/>
          </a:xfrm>
          <a:noFill/>
        </p:spPr>
        <p:txBody>
          <a:bodyPr wrap="square" tIns="91440" bIns="91440" anchor="t" anchorCtr="0">
            <a:spAutoFit/>
          </a:bodyPr>
          <a:lstStyle>
            <a:lvl1pPr>
              <a:defRPr sz="7054" spc="-99" baseline="0">
                <a:solidFill>
                  <a:schemeClr val="tx1"/>
                </a:solidFill>
              </a:defRPr>
            </a:lvl1pPr>
          </a:lstStyle>
          <a:p>
            <a:r>
              <a:rPr lang="en-US" dirty="0"/>
              <a:t>Section title</a:t>
            </a:r>
          </a:p>
        </p:txBody>
      </p:sp>
    </p:spTree>
    <p:extLst>
      <p:ext uri="{BB962C8B-B14F-4D97-AF65-F5344CB8AC3E}">
        <p14:creationId xmlns:p14="http://schemas.microsoft.com/office/powerpoint/2010/main" val="1784741587"/>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6919" y="2084176"/>
            <a:ext cx="11175844" cy="1161665"/>
          </a:xfrm>
          <a:noFill/>
        </p:spPr>
        <p:txBody>
          <a:bodyPr wrap="square" tIns="91440" bIns="91440" anchor="t" anchorCtr="0">
            <a:spAutoFit/>
          </a:bodyPr>
          <a:lstStyle>
            <a:lvl1pPr>
              <a:defRPr sz="7054" spc="-99" baseline="0">
                <a:solidFill>
                  <a:schemeClr val="tx1"/>
                </a:solidFill>
              </a:defRPr>
            </a:lvl1pPr>
          </a:lstStyle>
          <a:p>
            <a:r>
              <a:rPr lang="en-US" dirty="0"/>
              <a:t>Section title</a:t>
            </a:r>
          </a:p>
        </p:txBody>
      </p:sp>
      <p:sp>
        <p:nvSpPr>
          <p:cNvPr id="4" name="Text Placeholder 3"/>
          <p:cNvSpPr>
            <a:spLocks noGrp="1"/>
          </p:cNvSpPr>
          <p:nvPr>
            <p:ph type="body" sz="quarter" idx="10"/>
          </p:nvPr>
        </p:nvSpPr>
        <p:spPr>
          <a:xfrm>
            <a:off x="717510" y="4146553"/>
            <a:ext cx="10487801" cy="914866"/>
          </a:xfrm>
        </p:spPr>
        <p:txBody>
          <a:bodyPr/>
          <a:lstStyle>
            <a:lvl1pPr marL="0" indent="0">
              <a:buNone/>
              <a:defRPr sz="3137"/>
            </a:lvl1pPr>
            <a:lvl2pPr marL="0" indent="0">
              <a:buNone/>
              <a:defRPr sz="1765"/>
            </a:lvl2pPr>
            <a:lvl3pPr marL="0" indent="0">
              <a:buNone/>
              <a:defRPr sz="1568"/>
            </a:lvl3pPr>
            <a:lvl4pPr marL="0" indent="0">
              <a:buNone/>
              <a:defRPr sz="1372"/>
            </a:lvl4pPr>
            <a:lvl5pPr marL="0" indent="0">
              <a:buNone/>
              <a:defRPr sz="1372"/>
            </a:lvl5p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2301644911"/>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Fact Layout- Accent Color 1">
    <p:spTree>
      <p:nvGrpSpPr>
        <p:cNvPr id="1" name=""/>
        <p:cNvGrpSpPr/>
        <p:nvPr/>
      </p:nvGrpSpPr>
      <p:grpSpPr>
        <a:xfrm>
          <a:off x="0" y="0"/>
          <a:ext cx="0" cy="0"/>
          <a:chOff x="0" y="0"/>
          <a:chExt cx="0" cy="0"/>
        </a:xfrm>
      </p:grpSpPr>
      <p:sp>
        <p:nvSpPr>
          <p:cNvPr id="2" name="Title 1"/>
          <p:cNvSpPr>
            <a:spLocks noGrp="1"/>
          </p:cNvSpPr>
          <p:nvPr>
            <p:ph type="title"/>
          </p:nvPr>
        </p:nvSpPr>
        <p:spPr>
          <a:xfrm>
            <a:off x="2062093" y="2084174"/>
            <a:ext cx="8067823" cy="1793105"/>
          </a:xfrm>
          <a:noFill/>
        </p:spPr>
        <p:txBody>
          <a:bodyPr wrap="square" tIns="91440" bIns="91440" anchor="t" anchorCtr="0">
            <a:noAutofit/>
          </a:bodyPr>
          <a:lstStyle>
            <a:lvl1pPr>
              <a:defRPr sz="5880" spc="-99" baseline="0">
                <a:gradFill>
                  <a:gsLst>
                    <a:gs pos="100000">
                      <a:schemeClr val="accent6"/>
                    </a:gs>
                    <a:gs pos="0">
                      <a:schemeClr val="accent6"/>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231442433"/>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083218220"/>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20"/>
            <a:ext cx="11653523" cy="395309"/>
          </a:xfrm>
          <a:prstGeom prst="rect">
            <a:avLst/>
          </a:prstGeom>
          <a:noFill/>
          <a:ln w="12700">
            <a:noFill/>
            <a:miter lim="800000"/>
            <a:headEnd type="none" w="sm" len="sm"/>
            <a:tailEnd type="none" w="sm" len="sm"/>
          </a:ln>
          <a:effectLst/>
        </p:spPr>
        <p:txBody>
          <a:bodyPr vert="horz" wrap="square" lIns="179235" tIns="143387" rIns="179235" bIns="143387" numCol="1" anchor="t" anchorCtr="0" compatLnSpc="1">
            <a:prstTxWarp prst="textNoShape">
              <a:avLst/>
            </a:prstTxWarp>
            <a:spAutoFit/>
          </a:bodyPr>
          <a:lstStyle/>
          <a:p>
            <a:pPr marL="0" marR="0" lvl="0" indent="0" algn="l" defTabSz="913550" rtl="0" eaLnBrk="0" fontAlgn="auto" latinLnBrk="0" hangingPunct="0">
              <a:lnSpc>
                <a:spcPct val="100000"/>
              </a:lnSpc>
              <a:spcBef>
                <a:spcPts val="0"/>
              </a:spcBef>
              <a:spcAft>
                <a:spcPts val="0"/>
              </a:spcAft>
              <a:buClrTx/>
              <a:buSzTx/>
              <a:buFontTx/>
              <a:buNone/>
              <a:tabLst/>
              <a:defRPr/>
            </a:pPr>
            <a:r>
              <a:rPr kumimoji="0" lang="en-US" sz="687" b="0" i="0" u="none" strike="noStrike" kern="1200" cap="none" spc="0" normalizeH="0" baseline="0" noProof="0" dirty="0">
                <a:ln>
                  <a:noFill/>
                </a:ln>
                <a:solidFill>
                  <a:schemeClr val="tx1"/>
                </a:solidFill>
                <a:effectLst/>
                <a:uLnTx/>
                <a:uFillTx/>
                <a:latin typeface="Segoe UI"/>
                <a:ea typeface="+mn-ea"/>
                <a:cs typeface="Segoe UI" pitchFamily="34" charset="0"/>
              </a:rPr>
              <a:t>© 2015 Microsoft Corporation. All rights reserved. </a:t>
            </a:r>
          </a:p>
        </p:txBody>
      </p:sp>
      <p:grpSp>
        <p:nvGrpSpPr>
          <p:cNvPr id="5" name="Group 4"/>
          <p:cNvGrpSpPr>
            <a:grpSpLocks noChangeAspect="1"/>
          </p:cNvGrpSpPr>
          <p:nvPr userDrawn="1"/>
        </p:nvGrpSpPr>
        <p:grpSpPr bwMode="black">
          <a:xfrm>
            <a:off x="450205" y="3083653"/>
            <a:ext cx="3048099" cy="654483"/>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901224600"/>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HIghlights">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44" name="Freeform 13"/>
          <p:cNvSpPr>
            <a:spLocks noEditPoints="1"/>
          </p:cNvSpPr>
          <p:nvPr userDrawn="1"/>
        </p:nvSpPr>
        <p:spPr bwMode="auto">
          <a:xfrm rot="21197796">
            <a:off x="3634317" y="977902"/>
            <a:ext cx="4921251" cy="4904317"/>
          </a:xfrm>
          <a:custGeom>
            <a:avLst/>
            <a:gdLst>
              <a:gd name="T0" fmla="*/ 2825 w 3041"/>
              <a:gd name="T1" fmla="*/ 1515 h 3029"/>
              <a:gd name="T2" fmla="*/ 2999 w 3041"/>
              <a:gd name="T3" fmla="*/ 1056 h 3029"/>
              <a:gd name="T4" fmla="*/ 2998 w 3041"/>
              <a:gd name="T5" fmla="*/ 1054 h 3029"/>
              <a:gd name="T6" fmla="*/ 2891 w 3041"/>
              <a:gd name="T7" fmla="*/ 780 h 3029"/>
              <a:gd name="T8" fmla="*/ 2891 w 3041"/>
              <a:gd name="T9" fmla="*/ 778 h 3029"/>
              <a:gd name="T10" fmla="*/ 2430 w 3041"/>
              <a:gd name="T11" fmla="*/ 582 h 3029"/>
              <a:gd name="T12" fmla="*/ 2441 w 3041"/>
              <a:gd name="T13" fmla="*/ 294 h 3029"/>
              <a:gd name="T14" fmla="*/ 2173 w 3041"/>
              <a:gd name="T15" fmla="*/ 388 h 3029"/>
              <a:gd name="T16" fmla="*/ 1876 w 3041"/>
              <a:gd name="T17" fmla="*/ 25 h 3029"/>
              <a:gd name="T18" fmla="*/ 1527 w 3041"/>
              <a:gd name="T19" fmla="*/ 0 h 3029"/>
              <a:gd name="T20" fmla="*/ 1178 w 3041"/>
              <a:gd name="T21" fmla="*/ 264 h 3029"/>
              <a:gd name="T22" fmla="*/ 933 w 3041"/>
              <a:gd name="T23" fmla="*/ 111 h 3029"/>
              <a:gd name="T24" fmla="*/ 864 w 3041"/>
              <a:gd name="T25" fmla="*/ 399 h 3029"/>
              <a:gd name="T26" fmla="*/ 414 w 3041"/>
              <a:gd name="T27" fmla="*/ 467 h 3029"/>
              <a:gd name="T28" fmla="*/ 212 w 3041"/>
              <a:gd name="T29" fmla="*/ 743 h 3029"/>
              <a:gd name="T30" fmla="*/ 268 w 3041"/>
              <a:gd name="T31" fmla="*/ 1198 h 3029"/>
              <a:gd name="T32" fmla="*/ 14 w 3041"/>
              <a:gd name="T33" fmla="*/ 1332 h 3029"/>
              <a:gd name="T34" fmla="*/ 229 w 3041"/>
              <a:gd name="T35" fmla="*/ 1520 h 3029"/>
              <a:gd name="T36" fmla="*/ 61 w 3041"/>
              <a:gd name="T37" fmla="*/ 1959 h 3029"/>
              <a:gd name="T38" fmla="*/ 190 w 3041"/>
              <a:gd name="T39" fmla="*/ 2263 h 3029"/>
              <a:gd name="T40" fmla="*/ 621 w 3041"/>
              <a:gd name="T41" fmla="*/ 2444 h 3029"/>
              <a:gd name="T42" fmla="*/ 610 w 3041"/>
              <a:gd name="T43" fmla="*/ 2732 h 3029"/>
              <a:gd name="T44" fmla="*/ 886 w 3041"/>
              <a:gd name="T45" fmla="*/ 2644 h 3029"/>
              <a:gd name="T46" fmla="*/ 1176 w 3041"/>
              <a:gd name="T47" fmla="*/ 3002 h 3029"/>
              <a:gd name="T48" fmla="*/ 1527 w 3041"/>
              <a:gd name="T49" fmla="*/ 3029 h 3029"/>
              <a:gd name="T50" fmla="*/ 1527 w 3041"/>
              <a:gd name="T51" fmla="*/ 2813 h 3029"/>
              <a:gd name="T52" fmla="*/ 1986 w 3041"/>
              <a:gd name="T53" fmla="*/ 2986 h 3029"/>
              <a:gd name="T54" fmla="*/ 2262 w 3041"/>
              <a:gd name="T55" fmla="*/ 2879 h 3029"/>
              <a:gd name="T56" fmla="*/ 2459 w 3041"/>
              <a:gd name="T57" fmla="*/ 2418 h 3029"/>
              <a:gd name="T58" fmla="*/ 2747 w 3041"/>
              <a:gd name="T59" fmla="*/ 2430 h 3029"/>
              <a:gd name="T60" fmla="*/ 2653 w 3041"/>
              <a:gd name="T61" fmla="*/ 2161 h 3029"/>
              <a:gd name="T62" fmla="*/ 3017 w 3041"/>
              <a:gd name="T63" fmla="*/ 1865 h 3029"/>
              <a:gd name="T64" fmla="*/ 3041 w 3041"/>
              <a:gd name="T65" fmla="*/ 1516 h 3029"/>
              <a:gd name="T66" fmla="*/ 1962 w 3041"/>
              <a:gd name="T67" fmla="*/ 2545 h 3029"/>
              <a:gd name="T68" fmla="*/ 1092 w 3041"/>
              <a:gd name="T69" fmla="*/ 2545 h 3029"/>
              <a:gd name="T70" fmla="*/ 497 w 3041"/>
              <a:gd name="T71" fmla="*/ 1950 h 3029"/>
              <a:gd name="T72" fmla="*/ 497 w 3041"/>
              <a:gd name="T73" fmla="*/ 1080 h 3029"/>
              <a:gd name="T74" fmla="*/ 1092 w 3041"/>
              <a:gd name="T75" fmla="*/ 485 h 3029"/>
              <a:gd name="T76" fmla="*/ 1962 w 3041"/>
              <a:gd name="T77" fmla="*/ 485 h 3029"/>
              <a:gd name="T78" fmla="*/ 2557 w 3041"/>
              <a:gd name="T79" fmla="*/ 1080 h 3029"/>
              <a:gd name="T80" fmla="*/ 2557 w 3041"/>
              <a:gd name="T81" fmla="*/ 1950 h 3029"/>
              <a:gd name="T82" fmla="*/ 1962 w 3041"/>
              <a:gd name="T83" fmla="*/ 2545 h 3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41" h="3029">
                <a:moveTo>
                  <a:pt x="2825" y="1516"/>
                </a:moveTo>
                <a:cubicBezTo>
                  <a:pt x="2825" y="1515"/>
                  <a:pt x="2825" y="1515"/>
                  <a:pt x="2825" y="1515"/>
                </a:cubicBezTo>
                <a:cubicBezTo>
                  <a:pt x="2825" y="1394"/>
                  <a:pt x="2809" y="1277"/>
                  <a:pt x="2778" y="1167"/>
                </a:cubicBezTo>
                <a:cubicBezTo>
                  <a:pt x="2999" y="1056"/>
                  <a:pt x="2999" y="1056"/>
                  <a:pt x="2999" y="1056"/>
                </a:cubicBezTo>
                <a:cubicBezTo>
                  <a:pt x="2998" y="1054"/>
                  <a:pt x="2998" y="1054"/>
                  <a:pt x="2998" y="1054"/>
                </a:cubicBezTo>
                <a:cubicBezTo>
                  <a:pt x="2998" y="1054"/>
                  <a:pt x="2998" y="1054"/>
                  <a:pt x="2998" y="1054"/>
                </a:cubicBezTo>
                <a:cubicBezTo>
                  <a:pt x="2932" y="922"/>
                  <a:pt x="2932" y="922"/>
                  <a:pt x="2932" y="922"/>
                </a:cubicBezTo>
                <a:cubicBezTo>
                  <a:pt x="2891" y="780"/>
                  <a:pt x="2891" y="780"/>
                  <a:pt x="2891" y="780"/>
                </a:cubicBezTo>
                <a:cubicBezTo>
                  <a:pt x="2891" y="780"/>
                  <a:pt x="2891" y="780"/>
                  <a:pt x="2891" y="780"/>
                </a:cubicBezTo>
                <a:cubicBezTo>
                  <a:pt x="2891" y="778"/>
                  <a:pt x="2891" y="778"/>
                  <a:pt x="2891" y="778"/>
                </a:cubicBezTo>
                <a:cubicBezTo>
                  <a:pt x="2642" y="849"/>
                  <a:pt x="2642" y="849"/>
                  <a:pt x="2642" y="849"/>
                </a:cubicBezTo>
                <a:cubicBezTo>
                  <a:pt x="2583" y="751"/>
                  <a:pt x="2512" y="661"/>
                  <a:pt x="2430" y="582"/>
                </a:cubicBezTo>
                <a:cubicBezTo>
                  <a:pt x="2574" y="401"/>
                  <a:pt x="2574" y="401"/>
                  <a:pt x="2574" y="401"/>
                </a:cubicBezTo>
                <a:cubicBezTo>
                  <a:pt x="2441" y="294"/>
                  <a:pt x="2441" y="294"/>
                  <a:pt x="2441" y="294"/>
                </a:cubicBezTo>
                <a:cubicBezTo>
                  <a:pt x="2298" y="199"/>
                  <a:pt x="2298" y="199"/>
                  <a:pt x="2298" y="199"/>
                </a:cubicBezTo>
                <a:cubicBezTo>
                  <a:pt x="2173" y="388"/>
                  <a:pt x="2173" y="388"/>
                  <a:pt x="2173" y="388"/>
                </a:cubicBezTo>
                <a:cubicBezTo>
                  <a:pt x="2071" y="330"/>
                  <a:pt x="1960" y="285"/>
                  <a:pt x="1843" y="256"/>
                </a:cubicBezTo>
                <a:cubicBezTo>
                  <a:pt x="1876" y="25"/>
                  <a:pt x="1876" y="25"/>
                  <a:pt x="1876" y="25"/>
                </a:cubicBezTo>
                <a:cubicBezTo>
                  <a:pt x="1702" y="0"/>
                  <a:pt x="1702" y="0"/>
                  <a:pt x="1702" y="0"/>
                </a:cubicBezTo>
                <a:cubicBezTo>
                  <a:pt x="1527" y="0"/>
                  <a:pt x="1527" y="0"/>
                  <a:pt x="1527" y="0"/>
                </a:cubicBezTo>
                <a:cubicBezTo>
                  <a:pt x="1527" y="217"/>
                  <a:pt x="1527" y="217"/>
                  <a:pt x="1527" y="217"/>
                </a:cubicBezTo>
                <a:cubicBezTo>
                  <a:pt x="1406" y="217"/>
                  <a:pt x="1289" y="233"/>
                  <a:pt x="1178" y="264"/>
                </a:cubicBezTo>
                <a:cubicBezTo>
                  <a:pt x="1067" y="44"/>
                  <a:pt x="1067" y="44"/>
                  <a:pt x="1067" y="44"/>
                </a:cubicBezTo>
                <a:cubicBezTo>
                  <a:pt x="933" y="111"/>
                  <a:pt x="933" y="111"/>
                  <a:pt x="933" y="111"/>
                </a:cubicBezTo>
                <a:cubicBezTo>
                  <a:pt x="789" y="155"/>
                  <a:pt x="789" y="155"/>
                  <a:pt x="789" y="155"/>
                </a:cubicBezTo>
                <a:cubicBezTo>
                  <a:pt x="864" y="399"/>
                  <a:pt x="864" y="399"/>
                  <a:pt x="864" y="399"/>
                </a:cubicBezTo>
                <a:cubicBezTo>
                  <a:pt x="765" y="458"/>
                  <a:pt x="674" y="530"/>
                  <a:pt x="595" y="612"/>
                </a:cubicBezTo>
                <a:cubicBezTo>
                  <a:pt x="414" y="467"/>
                  <a:pt x="414" y="467"/>
                  <a:pt x="414" y="467"/>
                </a:cubicBezTo>
                <a:cubicBezTo>
                  <a:pt x="307" y="601"/>
                  <a:pt x="307" y="601"/>
                  <a:pt x="307" y="601"/>
                </a:cubicBezTo>
                <a:cubicBezTo>
                  <a:pt x="212" y="743"/>
                  <a:pt x="212" y="743"/>
                  <a:pt x="212" y="743"/>
                </a:cubicBezTo>
                <a:cubicBezTo>
                  <a:pt x="401" y="869"/>
                  <a:pt x="401" y="869"/>
                  <a:pt x="401" y="869"/>
                </a:cubicBezTo>
                <a:cubicBezTo>
                  <a:pt x="342" y="971"/>
                  <a:pt x="297" y="1081"/>
                  <a:pt x="268" y="1198"/>
                </a:cubicBezTo>
                <a:cubicBezTo>
                  <a:pt x="38" y="1165"/>
                  <a:pt x="38" y="1165"/>
                  <a:pt x="38" y="1165"/>
                </a:cubicBezTo>
                <a:cubicBezTo>
                  <a:pt x="14" y="1332"/>
                  <a:pt x="14" y="1332"/>
                  <a:pt x="14" y="1332"/>
                </a:cubicBezTo>
                <a:cubicBezTo>
                  <a:pt x="0" y="1501"/>
                  <a:pt x="0" y="1501"/>
                  <a:pt x="0" y="1501"/>
                </a:cubicBezTo>
                <a:cubicBezTo>
                  <a:pt x="229" y="1520"/>
                  <a:pt x="229" y="1520"/>
                  <a:pt x="229" y="1520"/>
                </a:cubicBezTo>
                <a:cubicBezTo>
                  <a:pt x="230" y="1641"/>
                  <a:pt x="247" y="1758"/>
                  <a:pt x="278" y="1869"/>
                </a:cubicBezTo>
                <a:cubicBezTo>
                  <a:pt x="61" y="1959"/>
                  <a:pt x="61" y="1959"/>
                  <a:pt x="61" y="1959"/>
                </a:cubicBezTo>
                <a:cubicBezTo>
                  <a:pt x="124" y="2111"/>
                  <a:pt x="124" y="2111"/>
                  <a:pt x="124" y="2111"/>
                </a:cubicBezTo>
                <a:cubicBezTo>
                  <a:pt x="190" y="2263"/>
                  <a:pt x="190" y="2263"/>
                  <a:pt x="190" y="2263"/>
                </a:cubicBezTo>
                <a:cubicBezTo>
                  <a:pt x="407" y="2170"/>
                  <a:pt x="407" y="2170"/>
                  <a:pt x="407" y="2170"/>
                </a:cubicBezTo>
                <a:cubicBezTo>
                  <a:pt x="466" y="2271"/>
                  <a:pt x="538" y="2363"/>
                  <a:pt x="621" y="2444"/>
                </a:cubicBezTo>
                <a:cubicBezTo>
                  <a:pt x="480" y="2638"/>
                  <a:pt x="480" y="2638"/>
                  <a:pt x="480" y="2638"/>
                </a:cubicBezTo>
                <a:cubicBezTo>
                  <a:pt x="610" y="2732"/>
                  <a:pt x="610" y="2732"/>
                  <a:pt x="610" y="2732"/>
                </a:cubicBezTo>
                <a:cubicBezTo>
                  <a:pt x="735" y="2833"/>
                  <a:pt x="735" y="2833"/>
                  <a:pt x="735" y="2833"/>
                </a:cubicBezTo>
                <a:cubicBezTo>
                  <a:pt x="886" y="2644"/>
                  <a:pt x="886" y="2644"/>
                  <a:pt x="886" y="2644"/>
                </a:cubicBezTo>
                <a:cubicBezTo>
                  <a:pt x="987" y="2701"/>
                  <a:pt x="1096" y="2745"/>
                  <a:pt x="1211" y="2774"/>
                </a:cubicBezTo>
                <a:cubicBezTo>
                  <a:pt x="1176" y="3002"/>
                  <a:pt x="1176" y="3002"/>
                  <a:pt x="1176" y="3002"/>
                </a:cubicBezTo>
                <a:cubicBezTo>
                  <a:pt x="1350" y="3029"/>
                  <a:pt x="1350" y="3029"/>
                  <a:pt x="1350" y="3029"/>
                </a:cubicBezTo>
                <a:cubicBezTo>
                  <a:pt x="1527" y="3029"/>
                  <a:pt x="1527" y="3029"/>
                  <a:pt x="1527" y="3029"/>
                </a:cubicBezTo>
                <a:cubicBezTo>
                  <a:pt x="1527" y="2813"/>
                  <a:pt x="1527" y="2813"/>
                  <a:pt x="1527" y="2813"/>
                </a:cubicBezTo>
                <a:cubicBezTo>
                  <a:pt x="1527" y="2813"/>
                  <a:pt x="1527" y="2813"/>
                  <a:pt x="1527" y="2813"/>
                </a:cubicBezTo>
                <a:cubicBezTo>
                  <a:pt x="1648" y="2813"/>
                  <a:pt x="1765" y="2796"/>
                  <a:pt x="1876" y="2765"/>
                </a:cubicBezTo>
                <a:cubicBezTo>
                  <a:pt x="1986" y="2986"/>
                  <a:pt x="1986" y="2986"/>
                  <a:pt x="1986" y="2986"/>
                </a:cubicBezTo>
                <a:cubicBezTo>
                  <a:pt x="2119" y="2920"/>
                  <a:pt x="2119" y="2920"/>
                  <a:pt x="2119" y="2920"/>
                </a:cubicBezTo>
                <a:cubicBezTo>
                  <a:pt x="2262" y="2879"/>
                  <a:pt x="2262" y="2879"/>
                  <a:pt x="2262" y="2879"/>
                </a:cubicBezTo>
                <a:cubicBezTo>
                  <a:pt x="2191" y="2630"/>
                  <a:pt x="2191" y="2630"/>
                  <a:pt x="2191" y="2630"/>
                </a:cubicBezTo>
                <a:cubicBezTo>
                  <a:pt x="2290" y="2571"/>
                  <a:pt x="2380" y="2500"/>
                  <a:pt x="2459" y="2418"/>
                </a:cubicBezTo>
                <a:cubicBezTo>
                  <a:pt x="2640" y="2563"/>
                  <a:pt x="2640" y="2563"/>
                  <a:pt x="2640" y="2563"/>
                </a:cubicBezTo>
                <a:cubicBezTo>
                  <a:pt x="2747" y="2430"/>
                  <a:pt x="2747" y="2430"/>
                  <a:pt x="2747" y="2430"/>
                </a:cubicBezTo>
                <a:cubicBezTo>
                  <a:pt x="2842" y="2287"/>
                  <a:pt x="2842" y="2287"/>
                  <a:pt x="2842" y="2287"/>
                </a:cubicBezTo>
                <a:cubicBezTo>
                  <a:pt x="2653" y="2161"/>
                  <a:pt x="2653" y="2161"/>
                  <a:pt x="2653" y="2161"/>
                </a:cubicBezTo>
                <a:cubicBezTo>
                  <a:pt x="2711" y="2060"/>
                  <a:pt x="2757" y="1949"/>
                  <a:pt x="2786" y="1832"/>
                </a:cubicBezTo>
                <a:cubicBezTo>
                  <a:pt x="3017" y="1865"/>
                  <a:pt x="3017" y="1865"/>
                  <a:pt x="3017" y="1865"/>
                </a:cubicBezTo>
                <a:cubicBezTo>
                  <a:pt x="3041" y="1691"/>
                  <a:pt x="3041" y="1691"/>
                  <a:pt x="3041" y="1691"/>
                </a:cubicBezTo>
                <a:cubicBezTo>
                  <a:pt x="3041" y="1516"/>
                  <a:pt x="3041" y="1516"/>
                  <a:pt x="3041" y="1516"/>
                </a:cubicBezTo>
                <a:lnTo>
                  <a:pt x="2825" y="1516"/>
                </a:lnTo>
                <a:close/>
                <a:moveTo>
                  <a:pt x="1962" y="2545"/>
                </a:moveTo>
                <a:cubicBezTo>
                  <a:pt x="1825" y="2603"/>
                  <a:pt x="1678" y="2633"/>
                  <a:pt x="1527" y="2633"/>
                </a:cubicBezTo>
                <a:cubicBezTo>
                  <a:pt x="1376" y="2633"/>
                  <a:pt x="1230" y="2603"/>
                  <a:pt x="1092" y="2545"/>
                </a:cubicBezTo>
                <a:cubicBezTo>
                  <a:pt x="959" y="2489"/>
                  <a:pt x="839" y="2408"/>
                  <a:pt x="737" y="2305"/>
                </a:cubicBezTo>
                <a:cubicBezTo>
                  <a:pt x="634" y="2203"/>
                  <a:pt x="553" y="2083"/>
                  <a:pt x="497" y="1950"/>
                </a:cubicBezTo>
                <a:cubicBezTo>
                  <a:pt x="439" y="1812"/>
                  <a:pt x="409" y="1666"/>
                  <a:pt x="409" y="1515"/>
                </a:cubicBezTo>
                <a:cubicBezTo>
                  <a:pt x="409" y="1364"/>
                  <a:pt x="439" y="1217"/>
                  <a:pt x="497" y="1080"/>
                </a:cubicBezTo>
                <a:cubicBezTo>
                  <a:pt x="553" y="947"/>
                  <a:pt x="634" y="827"/>
                  <a:pt x="737" y="724"/>
                </a:cubicBezTo>
                <a:cubicBezTo>
                  <a:pt x="839" y="621"/>
                  <a:pt x="959" y="541"/>
                  <a:pt x="1092" y="485"/>
                </a:cubicBezTo>
                <a:cubicBezTo>
                  <a:pt x="1230" y="426"/>
                  <a:pt x="1376" y="397"/>
                  <a:pt x="1527" y="397"/>
                </a:cubicBezTo>
                <a:cubicBezTo>
                  <a:pt x="1678" y="397"/>
                  <a:pt x="1825" y="426"/>
                  <a:pt x="1962" y="485"/>
                </a:cubicBezTo>
                <a:cubicBezTo>
                  <a:pt x="2095" y="541"/>
                  <a:pt x="2215" y="621"/>
                  <a:pt x="2318" y="724"/>
                </a:cubicBezTo>
                <a:cubicBezTo>
                  <a:pt x="2420" y="827"/>
                  <a:pt x="2501" y="947"/>
                  <a:pt x="2557" y="1080"/>
                </a:cubicBezTo>
                <a:cubicBezTo>
                  <a:pt x="2616" y="1217"/>
                  <a:pt x="2645" y="1364"/>
                  <a:pt x="2645" y="1515"/>
                </a:cubicBezTo>
                <a:cubicBezTo>
                  <a:pt x="2645" y="1666"/>
                  <a:pt x="2616" y="1812"/>
                  <a:pt x="2557" y="1950"/>
                </a:cubicBezTo>
                <a:cubicBezTo>
                  <a:pt x="2501" y="2083"/>
                  <a:pt x="2420" y="2203"/>
                  <a:pt x="2318" y="2305"/>
                </a:cubicBezTo>
                <a:cubicBezTo>
                  <a:pt x="2215" y="2408"/>
                  <a:pt x="2095" y="2489"/>
                  <a:pt x="1962" y="2545"/>
                </a:cubicBezTo>
                <a:close/>
              </a:path>
            </a:pathLst>
          </a:custGeom>
          <a:gradFill>
            <a:gsLst>
              <a:gs pos="0">
                <a:srgbClr val="032145">
                  <a:lumMod val="25000"/>
                  <a:lumOff val="75000"/>
                </a:srgbClr>
              </a:gs>
              <a:gs pos="100000">
                <a:srgbClr val="032145">
                  <a:alpha val="27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5" name="Freeform 17"/>
          <p:cNvSpPr>
            <a:spLocks noEditPoints="1"/>
          </p:cNvSpPr>
          <p:nvPr userDrawn="1"/>
        </p:nvSpPr>
        <p:spPr bwMode="auto">
          <a:xfrm rot="1144636">
            <a:off x="1274471" y="3042352"/>
            <a:ext cx="2668971" cy="2675569"/>
          </a:xfrm>
          <a:custGeom>
            <a:avLst/>
            <a:gdLst>
              <a:gd name="T0" fmla="*/ 1687 w 1890"/>
              <a:gd name="T1" fmla="*/ 999 h 1892"/>
              <a:gd name="T2" fmla="*/ 1632 w 1890"/>
              <a:gd name="T3" fmla="*/ 675 h 1892"/>
              <a:gd name="T4" fmla="*/ 1809 w 1890"/>
              <a:gd name="T5" fmla="*/ 533 h 1892"/>
              <a:gd name="T6" fmla="*/ 1808 w 1890"/>
              <a:gd name="T7" fmla="*/ 533 h 1892"/>
              <a:gd name="T8" fmla="*/ 1808 w 1890"/>
              <a:gd name="T9" fmla="*/ 533 h 1892"/>
              <a:gd name="T10" fmla="*/ 1713 w 1890"/>
              <a:gd name="T11" fmla="*/ 414 h 1892"/>
              <a:gd name="T12" fmla="*/ 1637 w 1890"/>
              <a:gd name="T13" fmla="*/ 283 h 1892"/>
              <a:gd name="T14" fmla="*/ 1637 w 1890"/>
              <a:gd name="T15" fmla="*/ 283 h 1892"/>
              <a:gd name="T16" fmla="*/ 1637 w 1890"/>
              <a:gd name="T17" fmla="*/ 283 h 1892"/>
              <a:gd name="T18" fmla="*/ 1433 w 1890"/>
              <a:gd name="T19" fmla="*/ 401 h 1892"/>
              <a:gd name="T20" fmla="*/ 1152 w 1890"/>
              <a:gd name="T21" fmla="*/ 249 h 1892"/>
              <a:gd name="T22" fmla="*/ 1152 w 1890"/>
              <a:gd name="T23" fmla="*/ 23 h 1892"/>
              <a:gd name="T24" fmla="*/ 1000 w 1890"/>
              <a:gd name="T25" fmla="*/ 23 h 1892"/>
              <a:gd name="T26" fmla="*/ 851 w 1890"/>
              <a:gd name="T27" fmla="*/ 0 h 1892"/>
              <a:gd name="T28" fmla="*/ 815 w 1890"/>
              <a:gd name="T29" fmla="*/ 234 h 1892"/>
              <a:gd name="T30" fmla="*/ 518 w 1890"/>
              <a:gd name="T31" fmla="*/ 361 h 1892"/>
              <a:gd name="T32" fmla="*/ 357 w 1890"/>
              <a:gd name="T33" fmla="*/ 217 h 1892"/>
              <a:gd name="T34" fmla="*/ 244 w 1890"/>
              <a:gd name="T35" fmla="*/ 342 h 1892"/>
              <a:gd name="T36" fmla="*/ 139 w 1890"/>
              <a:gd name="T37" fmla="*/ 474 h 1892"/>
              <a:gd name="T38" fmla="*/ 303 w 1890"/>
              <a:gd name="T39" fmla="*/ 605 h 1892"/>
              <a:gd name="T40" fmla="*/ 213 w 1890"/>
              <a:gd name="T41" fmla="*/ 924 h 1892"/>
              <a:gd name="T42" fmla="*/ 0 w 1890"/>
              <a:gd name="T43" fmla="*/ 960 h 1892"/>
              <a:gd name="T44" fmla="*/ 27 w 1890"/>
              <a:gd name="T45" fmla="*/ 1125 h 1892"/>
              <a:gd name="T46" fmla="*/ 63 w 1890"/>
              <a:gd name="T47" fmla="*/ 1289 h 1892"/>
              <a:gd name="T48" fmla="*/ 269 w 1890"/>
              <a:gd name="T49" fmla="*/ 1245 h 1892"/>
              <a:gd name="T50" fmla="*/ 424 w 1890"/>
              <a:gd name="T51" fmla="*/ 1477 h 1892"/>
              <a:gd name="T52" fmla="*/ 461 w 1890"/>
              <a:gd name="T53" fmla="*/ 1512 h 1892"/>
              <a:gd name="T54" fmla="*/ 361 w 1890"/>
              <a:gd name="T55" fmla="*/ 1713 h 1892"/>
              <a:gd name="T56" fmla="*/ 505 w 1890"/>
              <a:gd name="T57" fmla="*/ 1785 h 1892"/>
              <a:gd name="T58" fmla="*/ 646 w 1890"/>
              <a:gd name="T59" fmla="*/ 1862 h 1892"/>
              <a:gd name="T60" fmla="*/ 751 w 1890"/>
              <a:gd name="T61" fmla="*/ 1670 h 1892"/>
              <a:gd name="T62" fmla="*/ 950 w 1890"/>
              <a:gd name="T63" fmla="*/ 1698 h 1892"/>
              <a:gd name="T64" fmla="*/ 1075 w 1890"/>
              <a:gd name="T65" fmla="*/ 1687 h 1892"/>
              <a:gd name="T66" fmla="*/ 1178 w 1890"/>
              <a:gd name="T67" fmla="*/ 1892 h 1892"/>
              <a:gd name="T68" fmla="*/ 1314 w 1890"/>
              <a:gd name="T69" fmla="*/ 1824 h 1892"/>
              <a:gd name="T70" fmla="*/ 1459 w 1890"/>
              <a:gd name="T71" fmla="*/ 1776 h 1892"/>
              <a:gd name="T72" fmla="*/ 1385 w 1890"/>
              <a:gd name="T73" fmla="*/ 1556 h 1892"/>
              <a:gd name="T74" fmla="*/ 1468 w 1890"/>
              <a:gd name="T75" fmla="*/ 1485 h 1892"/>
              <a:gd name="T76" fmla="*/ 1600 w 1890"/>
              <a:gd name="T77" fmla="*/ 1310 h 1892"/>
              <a:gd name="T78" fmla="*/ 1799 w 1890"/>
              <a:gd name="T79" fmla="*/ 1376 h 1892"/>
              <a:gd name="T80" fmla="*/ 1853 w 1890"/>
              <a:gd name="T81" fmla="*/ 1212 h 1892"/>
              <a:gd name="T82" fmla="*/ 1890 w 1890"/>
              <a:gd name="T83" fmla="*/ 1042 h 1892"/>
              <a:gd name="T84" fmla="*/ 1687 w 1890"/>
              <a:gd name="T85" fmla="*/ 999 h 1892"/>
              <a:gd name="T86" fmla="*/ 945 w 1890"/>
              <a:gd name="T87" fmla="*/ 1126 h 1892"/>
              <a:gd name="T88" fmla="*/ 765 w 1890"/>
              <a:gd name="T89" fmla="*/ 946 h 1892"/>
              <a:gd name="T90" fmla="*/ 945 w 1890"/>
              <a:gd name="T91" fmla="*/ 766 h 1892"/>
              <a:gd name="T92" fmla="*/ 1125 w 1890"/>
              <a:gd name="T93" fmla="*/ 946 h 1892"/>
              <a:gd name="T94" fmla="*/ 945 w 1890"/>
              <a:gd name="T95" fmla="*/ 1126 h 1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90" h="1892">
                <a:moveTo>
                  <a:pt x="1687" y="999"/>
                </a:moveTo>
                <a:cubicBezTo>
                  <a:pt x="1693" y="889"/>
                  <a:pt x="1675" y="778"/>
                  <a:pt x="1632" y="675"/>
                </a:cubicBezTo>
                <a:cubicBezTo>
                  <a:pt x="1809" y="533"/>
                  <a:pt x="1809" y="533"/>
                  <a:pt x="1809" y="533"/>
                </a:cubicBezTo>
                <a:cubicBezTo>
                  <a:pt x="1808" y="533"/>
                  <a:pt x="1808" y="533"/>
                  <a:pt x="1808" y="533"/>
                </a:cubicBezTo>
                <a:cubicBezTo>
                  <a:pt x="1808" y="533"/>
                  <a:pt x="1808" y="533"/>
                  <a:pt x="1808" y="533"/>
                </a:cubicBezTo>
                <a:cubicBezTo>
                  <a:pt x="1713" y="414"/>
                  <a:pt x="1713" y="414"/>
                  <a:pt x="1713" y="414"/>
                </a:cubicBezTo>
                <a:cubicBezTo>
                  <a:pt x="1637" y="283"/>
                  <a:pt x="1637" y="283"/>
                  <a:pt x="1637" y="283"/>
                </a:cubicBezTo>
                <a:cubicBezTo>
                  <a:pt x="1637" y="283"/>
                  <a:pt x="1637" y="283"/>
                  <a:pt x="1637" y="283"/>
                </a:cubicBezTo>
                <a:cubicBezTo>
                  <a:pt x="1637" y="283"/>
                  <a:pt x="1637" y="283"/>
                  <a:pt x="1637" y="283"/>
                </a:cubicBezTo>
                <a:cubicBezTo>
                  <a:pt x="1433" y="401"/>
                  <a:pt x="1433" y="401"/>
                  <a:pt x="1433" y="401"/>
                </a:cubicBezTo>
                <a:cubicBezTo>
                  <a:pt x="1349" y="329"/>
                  <a:pt x="1253" y="278"/>
                  <a:pt x="1152" y="249"/>
                </a:cubicBezTo>
                <a:cubicBezTo>
                  <a:pt x="1152" y="23"/>
                  <a:pt x="1152" y="23"/>
                  <a:pt x="1152" y="23"/>
                </a:cubicBezTo>
                <a:cubicBezTo>
                  <a:pt x="1000" y="23"/>
                  <a:pt x="1000" y="23"/>
                  <a:pt x="1000" y="23"/>
                </a:cubicBezTo>
                <a:cubicBezTo>
                  <a:pt x="851" y="0"/>
                  <a:pt x="851" y="0"/>
                  <a:pt x="851" y="0"/>
                </a:cubicBezTo>
                <a:cubicBezTo>
                  <a:pt x="815" y="234"/>
                  <a:pt x="815" y="234"/>
                  <a:pt x="815" y="234"/>
                </a:cubicBezTo>
                <a:cubicBezTo>
                  <a:pt x="710" y="253"/>
                  <a:pt x="608" y="296"/>
                  <a:pt x="518" y="361"/>
                </a:cubicBezTo>
                <a:cubicBezTo>
                  <a:pt x="357" y="217"/>
                  <a:pt x="357" y="217"/>
                  <a:pt x="357" y="217"/>
                </a:cubicBezTo>
                <a:cubicBezTo>
                  <a:pt x="244" y="342"/>
                  <a:pt x="244" y="342"/>
                  <a:pt x="244" y="342"/>
                </a:cubicBezTo>
                <a:cubicBezTo>
                  <a:pt x="139" y="474"/>
                  <a:pt x="139" y="474"/>
                  <a:pt x="139" y="474"/>
                </a:cubicBezTo>
                <a:cubicBezTo>
                  <a:pt x="303" y="605"/>
                  <a:pt x="303" y="605"/>
                  <a:pt x="303" y="605"/>
                </a:cubicBezTo>
                <a:cubicBezTo>
                  <a:pt x="248" y="704"/>
                  <a:pt x="218" y="814"/>
                  <a:pt x="213" y="924"/>
                </a:cubicBezTo>
                <a:cubicBezTo>
                  <a:pt x="0" y="960"/>
                  <a:pt x="0" y="960"/>
                  <a:pt x="0" y="960"/>
                </a:cubicBezTo>
                <a:cubicBezTo>
                  <a:pt x="27" y="1125"/>
                  <a:pt x="27" y="1125"/>
                  <a:pt x="27" y="1125"/>
                </a:cubicBezTo>
                <a:cubicBezTo>
                  <a:pt x="63" y="1289"/>
                  <a:pt x="63" y="1289"/>
                  <a:pt x="63" y="1289"/>
                </a:cubicBezTo>
                <a:cubicBezTo>
                  <a:pt x="269" y="1245"/>
                  <a:pt x="269" y="1245"/>
                  <a:pt x="269" y="1245"/>
                </a:cubicBezTo>
                <a:cubicBezTo>
                  <a:pt x="305" y="1329"/>
                  <a:pt x="356" y="1408"/>
                  <a:pt x="424" y="1477"/>
                </a:cubicBezTo>
                <a:cubicBezTo>
                  <a:pt x="436" y="1490"/>
                  <a:pt x="449" y="1501"/>
                  <a:pt x="461" y="1512"/>
                </a:cubicBezTo>
                <a:cubicBezTo>
                  <a:pt x="361" y="1713"/>
                  <a:pt x="361" y="1713"/>
                  <a:pt x="361" y="1713"/>
                </a:cubicBezTo>
                <a:cubicBezTo>
                  <a:pt x="505" y="1785"/>
                  <a:pt x="505" y="1785"/>
                  <a:pt x="505" y="1785"/>
                </a:cubicBezTo>
                <a:cubicBezTo>
                  <a:pt x="646" y="1862"/>
                  <a:pt x="646" y="1862"/>
                  <a:pt x="646" y="1862"/>
                </a:cubicBezTo>
                <a:cubicBezTo>
                  <a:pt x="751" y="1670"/>
                  <a:pt x="751" y="1670"/>
                  <a:pt x="751" y="1670"/>
                </a:cubicBezTo>
                <a:cubicBezTo>
                  <a:pt x="816" y="1688"/>
                  <a:pt x="883" y="1698"/>
                  <a:pt x="950" y="1698"/>
                </a:cubicBezTo>
                <a:cubicBezTo>
                  <a:pt x="992" y="1698"/>
                  <a:pt x="1034" y="1694"/>
                  <a:pt x="1075" y="1687"/>
                </a:cubicBezTo>
                <a:cubicBezTo>
                  <a:pt x="1178" y="1892"/>
                  <a:pt x="1178" y="1892"/>
                  <a:pt x="1178" y="1892"/>
                </a:cubicBezTo>
                <a:cubicBezTo>
                  <a:pt x="1314" y="1824"/>
                  <a:pt x="1314" y="1824"/>
                  <a:pt x="1314" y="1824"/>
                </a:cubicBezTo>
                <a:cubicBezTo>
                  <a:pt x="1459" y="1776"/>
                  <a:pt x="1459" y="1776"/>
                  <a:pt x="1459" y="1776"/>
                </a:cubicBezTo>
                <a:cubicBezTo>
                  <a:pt x="1385" y="1556"/>
                  <a:pt x="1385" y="1556"/>
                  <a:pt x="1385" y="1556"/>
                </a:cubicBezTo>
                <a:cubicBezTo>
                  <a:pt x="1414" y="1535"/>
                  <a:pt x="1442" y="1511"/>
                  <a:pt x="1468" y="1485"/>
                </a:cubicBezTo>
                <a:cubicBezTo>
                  <a:pt x="1522" y="1432"/>
                  <a:pt x="1566" y="1373"/>
                  <a:pt x="1600" y="1310"/>
                </a:cubicBezTo>
                <a:cubicBezTo>
                  <a:pt x="1799" y="1376"/>
                  <a:pt x="1799" y="1376"/>
                  <a:pt x="1799" y="1376"/>
                </a:cubicBezTo>
                <a:cubicBezTo>
                  <a:pt x="1853" y="1212"/>
                  <a:pt x="1853" y="1212"/>
                  <a:pt x="1853" y="1212"/>
                </a:cubicBezTo>
                <a:cubicBezTo>
                  <a:pt x="1890" y="1042"/>
                  <a:pt x="1890" y="1042"/>
                  <a:pt x="1890" y="1042"/>
                </a:cubicBezTo>
                <a:lnTo>
                  <a:pt x="1687" y="999"/>
                </a:lnTo>
                <a:close/>
                <a:moveTo>
                  <a:pt x="945" y="1126"/>
                </a:moveTo>
                <a:cubicBezTo>
                  <a:pt x="845" y="1126"/>
                  <a:pt x="765" y="1045"/>
                  <a:pt x="765" y="946"/>
                </a:cubicBezTo>
                <a:cubicBezTo>
                  <a:pt x="765" y="847"/>
                  <a:pt x="845" y="766"/>
                  <a:pt x="945" y="766"/>
                </a:cubicBezTo>
                <a:cubicBezTo>
                  <a:pt x="1044" y="766"/>
                  <a:pt x="1125" y="847"/>
                  <a:pt x="1125" y="946"/>
                </a:cubicBezTo>
                <a:cubicBezTo>
                  <a:pt x="1125" y="1045"/>
                  <a:pt x="1044" y="1126"/>
                  <a:pt x="945" y="1126"/>
                </a:cubicBezTo>
                <a:close/>
              </a:path>
            </a:pathLst>
          </a:custGeom>
          <a:gradFill>
            <a:gsLst>
              <a:gs pos="0">
                <a:srgbClr val="032145">
                  <a:lumMod val="25000"/>
                  <a:lumOff val="75000"/>
                  <a:alpha val="0"/>
                </a:srgbClr>
              </a:gs>
              <a:gs pos="100000">
                <a:srgbClr val="032145">
                  <a:alpha val="69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6" name="Freeform 17"/>
          <p:cNvSpPr>
            <a:spLocks noEditPoints="1"/>
          </p:cNvSpPr>
          <p:nvPr userDrawn="1"/>
        </p:nvSpPr>
        <p:spPr bwMode="auto">
          <a:xfrm>
            <a:off x="8310319" y="1227001"/>
            <a:ext cx="2668971" cy="2675569"/>
          </a:xfrm>
          <a:custGeom>
            <a:avLst/>
            <a:gdLst>
              <a:gd name="T0" fmla="*/ 1687 w 1890"/>
              <a:gd name="T1" fmla="*/ 999 h 1892"/>
              <a:gd name="T2" fmla="*/ 1632 w 1890"/>
              <a:gd name="T3" fmla="*/ 675 h 1892"/>
              <a:gd name="T4" fmla="*/ 1809 w 1890"/>
              <a:gd name="T5" fmla="*/ 533 h 1892"/>
              <a:gd name="T6" fmla="*/ 1808 w 1890"/>
              <a:gd name="T7" fmla="*/ 533 h 1892"/>
              <a:gd name="T8" fmla="*/ 1808 w 1890"/>
              <a:gd name="T9" fmla="*/ 533 h 1892"/>
              <a:gd name="T10" fmla="*/ 1713 w 1890"/>
              <a:gd name="T11" fmla="*/ 414 h 1892"/>
              <a:gd name="T12" fmla="*/ 1637 w 1890"/>
              <a:gd name="T13" fmla="*/ 283 h 1892"/>
              <a:gd name="T14" fmla="*/ 1637 w 1890"/>
              <a:gd name="T15" fmla="*/ 283 h 1892"/>
              <a:gd name="T16" fmla="*/ 1637 w 1890"/>
              <a:gd name="T17" fmla="*/ 283 h 1892"/>
              <a:gd name="T18" fmla="*/ 1433 w 1890"/>
              <a:gd name="T19" fmla="*/ 401 h 1892"/>
              <a:gd name="T20" fmla="*/ 1152 w 1890"/>
              <a:gd name="T21" fmla="*/ 249 h 1892"/>
              <a:gd name="T22" fmla="*/ 1152 w 1890"/>
              <a:gd name="T23" fmla="*/ 23 h 1892"/>
              <a:gd name="T24" fmla="*/ 1000 w 1890"/>
              <a:gd name="T25" fmla="*/ 23 h 1892"/>
              <a:gd name="T26" fmla="*/ 851 w 1890"/>
              <a:gd name="T27" fmla="*/ 0 h 1892"/>
              <a:gd name="T28" fmla="*/ 815 w 1890"/>
              <a:gd name="T29" fmla="*/ 234 h 1892"/>
              <a:gd name="T30" fmla="*/ 518 w 1890"/>
              <a:gd name="T31" fmla="*/ 361 h 1892"/>
              <a:gd name="T32" fmla="*/ 357 w 1890"/>
              <a:gd name="T33" fmla="*/ 217 h 1892"/>
              <a:gd name="T34" fmla="*/ 244 w 1890"/>
              <a:gd name="T35" fmla="*/ 342 h 1892"/>
              <a:gd name="T36" fmla="*/ 139 w 1890"/>
              <a:gd name="T37" fmla="*/ 474 h 1892"/>
              <a:gd name="T38" fmla="*/ 303 w 1890"/>
              <a:gd name="T39" fmla="*/ 605 h 1892"/>
              <a:gd name="T40" fmla="*/ 213 w 1890"/>
              <a:gd name="T41" fmla="*/ 924 h 1892"/>
              <a:gd name="T42" fmla="*/ 0 w 1890"/>
              <a:gd name="T43" fmla="*/ 960 h 1892"/>
              <a:gd name="T44" fmla="*/ 27 w 1890"/>
              <a:gd name="T45" fmla="*/ 1125 h 1892"/>
              <a:gd name="T46" fmla="*/ 63 w 1890"/>
              <a:gd name="T47" fmla="*/ 1289 h 1892"/>
              <a:gd name="T48" fmla="*/ 269 w 1890"/>
              <a:gd name="T49" fmla="*/ 1245 h 1892"/>
              <a:gd name="T50" fmla="*/ 424 w 1890"/>
              <a:gd name="T51" fmla="*/ 1477 h 1892"/>
              <a:gd name="T52" fmla="*/ 461 w 1890"/>
              <a:gd name="T53" fmla="*/ 1512 h 1892"/>
              <a:gd name="T54" fmla="*/ 361 w 1890"/>
              <a:gd name="T55" fmla="*/ 1713 h 1892"/>
              <a:gd name="T56" fmla="*/ 505 w 1890"/>
              <a:gd name="T57" fmla="*/ 1785 h 1892"/>
              <a:gd name="T58" fmla="*/ 646 w 1890"/>
              <a:gd name="T59" fmla="*/ 1862 h 1892"/>
              <a:gd name="T60" fmla="*/ 751 w 1890"/>
              <a:gd name="T61" fmla="*/ 1670 h 1892"/>
              <a:gd name="T62" fmla="*/ 950 w 1890"/>
              <a:gd name="T63" fmla="*/ 1698 h 1892"/>
              <a:gd name="T64" fmla="*/ 1075 w 1890"/>
              <a:gd name="T65" fmla="*/ 1687 h 1892"/>
              <a:gd name="T66" fmla="*/ 1178 w 1890"/>
              <a:gd name="T67" fmla="*/ 1892 h 1892"/>
              <a:gd name="T68" fmla="*/ 1314 w 1890"/>
              <a:gd name="T69" fmla="*/ 1824 h 1892"/>
              <a:gd name="T70" fmla="*/ 1459 w 1890"/>
              <a:gd name="T71" fmla="*/ 1776 h 1892"/>
              <a:gd name="T72" fmla="*/ 1385 w 1890"/>
              <a:gd name="T73" fmla="*/ 1556 h 1892"/>
              <a:gd name="T74" fmla="*/ 1468 w 1890"/>
              <a:gd name="T75" fmla="*/ 1485 h 1892"/>
              <a:gd name="T76" fmla="*/ 1600 w 1890"/>
              <a:gd name="T77" fmla="*/ 1310 h 1892"/>
              <a:gd name="T78" fmla="*/ 1799 w 1890"/>
              <a:gd name="T79" fmla="*/ 1376 h 1892"/>
              <a:gd name="T80" fmla="*/ 1853 w 1890"/>
              <a:gd name="T81" fmla="*/ 1212 h 1892"/>
              <a:gd name="T82" fmla="*/ 1890 w 1890"/>
              <a:gd name="T83" fmla="*/ 1042 h 1892"/>
              <a:gd name="T84" fmla="*/ 1687 w 1890"/>
              <a:gd name="T85" fmla="*/ 999 h 1892"/>
              <a:gd name="T86" fmla="*/ 945 w 1890"/>
              <a:gd name="T87" fmla="*/ 1126 h 1892"/>
              <a:gd name="T88" fmla="*/ 765 w 1890"/>
              <a:gd name="T89" fmla="*/ 946 h 1892"/>
              <a:gd name="T90" fmla="*/ 945 w 1890"/>
              <a:gd name="T91" fmla="*/ 766 h 1892"/>
              <a:gd name="T92" fmla="*/ 1125 w 1890"/>
              <a:gd name="T93" fmla="*/ 946 h 1892"/>
              <a:gd name="T94" fmla="*/ 945 w 1890"/>
              <a:gd name="T95" fmla="*/ 1126 h 1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90" h="1892">
                <a:moveTo>
                  <a:pt x="1687" y="999"/>
                </a:moveTo>
                <a:cubicBezTo>
                  <a:pt x="1693" y="889"/>
                  <a:pt x="1675" y="778"/>
                  <a:pt x="1632" y="675"/>
                </a:cubicBezTo>
                <a:cubicBezTo>
                  <a:pt x="1809" y="533"/>
                  <a:pt x="1809" y="533"/>
                  <a:pt x="1809" y="533"/>
                </a:cubicBezTo>
                <a:cubicBezTo>
                  <a:pt x="1808" y="533"/>
                  <a:pt x="1808" y="533"/>
                  <a:pt x="1808" y="533"/>
                </a:cubicBezTo>
                <a:cubicBezTo>
                  <a:pt x="1808" y="533"/>
                  <a:pt x="1808" y="533"/>
                  <a:pt x="1808" y="533"/>
                </a:cubicBezTo>
                <a:cubicBezTo>
                  <a:pt x="1713" y="414"/>
                  <a:pt x="1713" y="414"/>
                  <a:pt x="1713" y="414"/>
                </a:cubicBezTo>
                <a:cubicBezTo>
                  <a:pt x="1637" y="283"/>
                  <a:pt x="1637" y="283"/>
                  <a:pt x="1637" y="283"/>
                </a:cubicBezTo>
                <a:cubicBezTo>
                  <a:pt x="1637" y="283"/>
                  <a:pt x="1637" y="283"/>
                  <a:pt x="1637" y="283"/>
                </a:cubicBezTo>
                <a:cubicBezTo>
                  <a:pt x="1637" y="283"/>
                  <a:pt x="1637" y="283"/>
                  <a:pt x="1637" y="283"/>
                </a:cubicBezTo>
                <a:cubicBezTo>
                  <a:pt x="1433" y="401"/>
                  <a:pt x="1433" y="401"/>
                  <a:pt x="1433" y="401"/>
                </a:cubicBezTo>
                <a:cubicBezTo>
                  <a:pt x="1349" y="329"/>
                  <a:pt x="1253" y="278"/>
                  <a:pt x="1152" y="249"/>
                </a:cubicBezTo>
                <a:cubicBezTo>
                  <a:pt x="1152" y="23"/>
                  <a:pt x="1152" y="23"/>
                  <a:pt x="1152" y="23"/>
                </a:cubicBezTo>
                <a:cubicBezTo>
                  <a:pt x="1000" y="23"/>
                  <a:pt x="1000" y="23"/>
                  <a:pt x="1000" y="23"/>
                </a:cubicBezTo>
                <a:cubicBezTo>
                  <a:pt x="851" y="0"/>
                  <a:pt x="851" y="0"/>
                  <a:pt x="851" y="0"/>
                </a:cubicBezTo>
                <a:cubicBezTo>
                  <a:pt x="815" y="234"/>
                  <a:pt x="815" y="234"/>
                  <a:pt x="815" y="234"/>
                </a:cubicBezTo>
                <a:cubicBezTo>
                  <a:pt x="710" y="253"/>
                  <a:pt x="608" y="296"/>
                  <a:pt x="518" y="361"/>
                </a:cubicBezTo>
                <a:cubicBezTo>
                  <a:pt x="357" y="217"/>
                  <a:pt x="357" y="217"/>
                  <a:pt x="357" y="217"/>
                </a:cubicBezTo>
                <a:cubicBezTo>
                  <a:pt x="244" y="342"/>
                  <a:pt x="244" y="342"/>
                  <a:pt x="244" y="342"/>
                </a:cubicBezTo>
                <a:cubicBezTo>
                  <a:pt x="139" y="474"/>
                  <a:pt x="139" y="474"/>
                  <a:pt x="139" y="474"/>
                </a:cubicBezTo>
                <a:cubicBezTo>
                  <a:pt x="303" y="605"/>
                  <a:pt x="303" y="605"/>
                  <a:pt x="303" y="605"/>
                </a:cubicBezTo>
                <a:cubicBezTo>
                  <a:pt x="248" y="704"/>
                  <a:pt x="218" y="814"/>
                  <a:pt x="213" y="924"/>
                </a:cubicBezTo>
                <a:cubicBezTo>
                  <a:pt x="0" y="960"/>
                  <a:pt x="0" y="960"/>
                  <a:pt x="0" y="960"/>
                </a:cubicBezTo>
                <a:cubicBezTo>
                  <a:pt x="27" y="1125"/>
                  <a:pt x="27" y="1125"/>
                  <a:pt x="27" y="1125"/>
                </a:cubicBezTo>
                <a:cubicBezTo>
                  <a:pt x="63" y="1289"/>
                  <a:pt x="63" y="1289"/>
                  <a:pt x="63" y="1289"/>
                </a:cubicBezTo>
                <a:cubicBezTo>
                  <a:pt x="269" y="1245"/>
                  <a:pt x="269" y="1245"/>
                  <a:pt x="269" y="1245"/>
                </a:cubicBezTo>
                <a:cubicBezTo>
                  <a:pt x="305" y="1329"/>
                  <a:pt x="356" y="1408"/>
                  <a:pt x="424" y="1477"/>
                </a:cubicBezTo>
                <a:cubicBezTo>
                  <a:pt x="436" y="1490"/>
                  <a:pt x="449" y="1501"/>
                  <a:pt x="461" y="1512"/>
                </a:cubicBezTo>
                <a:cubicBezTo>
                  <a:pt x="361" y="1713"/>
                  <a:pt x="361" y="1713"/>
                  <a:pt x="361" y="1713"/>
                </a:cubicBezTo>
                <a:cubicBezTo>
                  <a:pt x="505" y="1785"/>
                  <a:pt x="505" y="1785"/>
                  <a:pt x="505" y="1785"/>
                </a:cubicBezTo>
                <a:cubicBezTo>
                  <a:pt x="646" y="1862"/>
                  <a:pt x="646" y="1862"/>
                  <a:pt x="646" y="1862"/>
                </a:cubicBezTo>
                <a:cubicBezTo>
                  <a:pt x="751" y="1670"/>
                  <a:pt x="751" y="1670"/>
                  <a:pt x="751" y="1670"/>
                </a:cubicBezTo>
                <a:cubicBezTo>
                  <a:pt x="816" y="1688"/>
                  <a:pt x="883" y="1698"/>
                  <a:pt x="950" y="1698"/>
                </a:cubicBezTo>
                <a:cubicBezTo>
                  <a:pt x="992" y="1698"/>
                  <a:pt x="1034" y="1694"/>
                  <a:pt x="1075" y="1687"/>
                </a:cubicBezTo>
                <a:cubicBezTo>
                  <a:pt x="1178" y="1892"/>
                  <a:pt x="1178" y="1892"/>
                  <a:pt x="1178" y="1892"/>
                </a:cubicBezTo>
                <a:cubicBezTo>
                  <a:pt x="1314" y="1824"/>
                  <a:pt x="1314" y="1824"/>
                  <a:pt x="1314" y="1824"/>
                </a:cubicBezTo>
                <a:cubicBezTo>
                  <a:pt x="1459" y="1776"/>
                  <a:pt x="1459" y="1776"/>
                  <a:pt x="1459" y="1776"/>
                </a:cubicBezTo>
                <a:cubicBezTo>
                  <a:pt x="1385" y="1556"/>
                  <a:pt x="1385" y="1556"/>
                  <a:pt x="1385" y="1556"/>
                </a:cubicBezTo>
                <a:cubicBezTo>
                  <a:pt x="1414" y="1535"/>
                  <a:pt x="1442" y="1511"/>
                  <a:pt x="1468" y="1485"/>
                </a:cubicBezTo>
                <a:cubicBezTo>
                  <a:pt x="1522" y="1432"/>
                  <a:pt x="1566" y="1373"/>
                  <a:pt x="1600" y="1310"/>
                </a:cubicBezTo>
                <a:cubicBezTo>
                  <a:pt x="1799" y="1376"/>
                  <a:pt x="1799" y="1376"/>
                  <a:pt x="1799" y="1376"/>
                </a:cubicBezTo>
                <a:cubicBezTo>
                  <a:pt x="1853" y="1212"/>
                  <a:pt x="1853" y="1212"/>
                  <a:pt x="1853" y="1212"/>
                </a:cubicBezTo>
                <a:cubicBezTo>
                  <a:pt x="1890" y="1042"/>
                  <a:pt x="1890" y="1042"/>
                  <a:pt x="1890" y="1042"/>
                </a:cubicBezTo>
                <a:lnTo>
                  <a:pt x="1687" y="999"/>
                </a:lnTo>
                <a:close/>
                <a:moveTo>
                  <a:pt x="945" y="1126"/>
                </a:moveTo>
                <a:cubicBezTo>
                  <a:pt x="845" y="1126"/>
                  <a:pt x="765" y="1045"/>
                  <a:pt x="765" y="946"/>
                </a:cubicBezTo>
                <a:cubicBezTo>
                  <a:pt x="765" y="847"/>
                  <a:pt x="845" y="766"/>
                  <a:pt x="945" y="766"/>
                </a:cubicBezTo>
                <a:cubicBezTo>
                  <a:pt x="1044" y="766"/>
                  <a:pt x="1125" y="847"/>
                  <a:pt x="1125" y="946"/>
                </a:cubicBezTo>
                <a:cubicBezTo>
                  <a:pt x="1125" y="1045"/>
                  <a:pt x="1044" y="1126"/>
                  <a:pt x="945" y="1126"/>
                </a:cubicBezTo>
                <a:close/>
              </a:path>
            </a:pathLst>
          </a:custGeom>
          <a:gradFill>
            <a:gsLst>
              <a:gs pos="0">
                <a:srgbClr val="032145">
                  <a:lumMod val="25000"/>
                  <a:lumOff val="75000"/>
                  <a:alpha val="0"/>
                </a:srgbClr>
              </a:gs>
              <a:gs pos="100000">
                <a:srgbClr val="032145">
                  <a:alpha val="69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7" name="Freeform 38"/>
          <p:cNvSpPr>
            <a:spLocks noEditPoints="1"/>
          </p:cNvSpPr>
          <p:nvPr userDrawn="1"/>
        </p:nvSpPr>
        <p:spPr bwMode="auto">
          <a:xfrm>
            <a:off x="4529669" y="1939152"/>
            <a:ext cx="3096684" cy="2982384"/>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8" name="Freeform 39"/>
          <p:cNvSpPr>
            <a:spLocks noEditPoints="1"/>
          </p:cNvSpPr>
          <p:nvPr userDrawn="1"/>
        </p:nvSpPr>
        <p:spPr bwMode="auto">
          <a:xfrm>
            <a:off x="4891617" y="2241837"/>
            <a:ext cx="2372784" cy="2377017"/>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9" name="Freeform 40"/>
          <p:cNvSpPr>
            <a:spLocks noEditPoints="1"/>
          </p:cNvSpPr>
          <p:nvPr userDrawn="1"/>
        </p:nvSpPr>
        <p:spPr bwMode="auto">
          <a:xfrm>
            <a:off x="5164668" y="2521236"/>
            <a:ext cx="1820333" cy="1824567"/>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 name="Rectangle 3"/>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2" name="Titre 1"/>
          <p:cNvSpPr>
            <a:spLocks noGrp="1"/>
          </p:cNvSpPr>
          <p:nvPr>
            <p:ph type="title"/>
          </p:nvPr>
        </p:nvSpPr>
        <p:spPr/>
        <p:txBody>
          <a:bodyPr/>
          <a:lstStyle>
            <a:lvl1pPr>
              <a:defRPr>
                <a:solidFill>
                  <a:schemeClr val="bg1"/>
                </a:solidFill>
              </a:defRPr>
            </a:lvl1pPr>
          </a:lstStyle>
          <a:p>
            <a:r>
              <a:rPr lang="fr-FR"/>
              <a:t>Modifiez le style du titre</a:t>
            </a:r>
            <a:endParaRPr lang="en-GB"/>
          </a:p>
        </p:txBody>
      </p:sp>
      <p:sp>
        <p:nvSpPr>
          <p:cNvPr id="3" name="Espace réservé du numéro de diapositive 2"/>
          <p:cNvSpPr>
            <a:spLocks noGrp="1"/>
          </p:cNvSpPr>
          <p:nvPr>
            <p:ph type="sldNum" sz="quarter" idx="10"/>
          </p:nvPr>
        </p:nvSpPr>
        <p:spPr/>
        <p:txBody>
          <a:bodyPr/>
          <a:lstStyle/>
          <a:p>
            <a:fld id="{88A6B057-71F2-43BA-98BD-164F4E914A39}" type="slidenum">
              <a:rPr lang="en-GB" smtClean="0"/>
              <a:pPr/>
              <a:t>‹#›</a:t>
            </a:fld>
            <a:endParaRPr lang="en-GB"/>
          </a:p>
        </p:txBody>
      </p:sp>
      <p:sp>
        <p:nvSpPr>
          <p:cNvPr id="16" name="Espace réservé du texte 15"/>
          <p:cNvSpPr>
            <a:spLocks noGrp="1" noChangeAspect="1"/>
          </p:cNvSpPr>
          <p:nvPr userDrawn="1">
            <p:ph type="body" sz="quarter" idx="11" hasCustomPrompt="1"/>
          </p:nvPr>
        </p:nvSpPr>
        <p:spPr>
          <a:xfrm>
            <a:off x="6867211" y="1873480"/>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a:t>0</a:t>
            </a:r>
          </a:p>
        </p:txBody>
      </p:sp>
      <p:sp>
        <p:nvSpPr>
          <p:cNvPr id="17" name="Espace réservé du texte 15"/>
          <p:cNvSpPr>
            <a:spLocks noGrp="1" noChangeAspect="1"/>
          </p:cNvSpPr>
          <p:nvPr userDrawn="1">
            <p:ph type="body" sz="quarter" idx="12" hasCustomPrompt="1"/>
          </p:nvPr>
        </p:nvSpPr>
        <p:spPr>
          <a:xfrm>
            <a:off x="7556960" y="3408859"/>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a:t>0</a:t>
            </a:r>
          </a:p>
        </p:txBody>
      </p:sp>
      <p:sp>
        <p:nvSpPr>
          <p:cNvPr id="18" name="Espace réservé du texte 15"/>
          <p:cNvSpPr>
            <a:spLocks noGrp="1" noChangeAspect="1"/>
          </p:cNvSpPr>
          <p:nvPr userDrawn="1">
            <p:ph type="body" sz="quarter" idx="13" hasCustomPrompt="1"/>
          </p:nvPr>
        </p:nvSpPr>
        <p:spPr>
          <a:xfrm>
            <a:off x="5859164" y="4900176"/>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a:t>0</a:t>
            </a:r>
          </a:p>
        </p:txBody>
      </p:sp>
      <p:sp>
        <p:nvSpPr>
          <p:cNvPr id="19" name="Espace réservé du texte 15"/>
          <p:cNvSpPr>
            <a:spLocks noGrp="1" noChangeAspect="1"/>
          </p:cNvSpPr>
          <p:nvPr userDrawn="1">
            <p:ph type="body" sz="quarter" idx="14" hasCustomPrompt="1"/>
          </p:nvPr>
        </p:nvSpPr>
        <p:spPr>
          <a:xfrm>
            <a:off x="4165600" y="3438381"/>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a:t>0</a:t>
            </a:r>
          </a:p>
        </p:txBody>
      </p:sp>
      <p:sp>
        <p:nvSpPr>
          <p:cNvPr id="26" name="Espace réservé du texte 15"/>
          <p:cNvSpPr>
            <a:spLocks noGrp="1" noChangeAspect="1"/>
          </p:cNvSpPr>
          <p:nvPr userDrawn="1">
            <p:ph type="body" sz="quarter" idx="15" hasCustomPrompt="1"/>
          </p:nvPr>
        </p:nvSpPr>
        <p:spPr>
          <a:xfrm>
            <a:off x="4796367" y="1873480"/>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a:t>0</a:t>
            </a:r>
          </a:p>
        </p:txBody>
      </p:sp>
      <p:sp>
        <p:nvSpPr>
          <p:cNvPr id="28" name="Espace réservé du texte 27"/>
          <p:cNvSpPr>
            <a:spLocks noGrp="1"/>
          </p:cNvSpPr>
          <p:nvPr userDrawn="1">
            <p:ph type="body" sz="quarter" idx="16"/>
          </p:nvPr>
        </p:nvSpPr>
        <p:spPr>
          <a:xfrm>
            <a:off x="1307448" y="1742617"/>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a:p>
        </p:txBody>
      </p:sp>
      <p:sp>
        <p:nvSpPr>
          <p:cNvPr id="29" name="Espace réservé du texte 27"/>
          <p:cNvSpPr>
            <a:spLocks noGrp="1"/>
          </p:cNvSpPr>
          <p:nvPr userDrawn="1">
            <p:ph type="body" sz="quarter" idx="17"/>
          </p:nvPr>
        </p:nvSpPr>
        <p:spPr>
          <a:xfrm>
            <a:off x="701688" y="3307518"/>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a:p>
        </p:txBody>
      </p:sp>
      <p:sp>
        <p:nvSpPr>
          <p:cNvPr id="30" name="Espace réservé du texte 27"/>
          <p:cNvSpPr>
            <a:spLocks noGrp="1"/>
          </p:cNvSpPr>
          <p:nvPr userDrawn="1">
            <p:ph type="body" sz="quarter" idx="18"/>
          </p:nvPr>
        </p:nvSpPr>
        <p:spPr>
          <a:xfrm>
            <a:off x="2370245" y="4781269"/>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a:p>
        </p:txBody>
      </p:sp>
      <p:sp>
        <p:nvSpPr>
          <p:cNvPr id="31" name="Espace réservé du texte 27"/>
          <p:cNvSpPr>
            <a:spLocks noGrp="1"/>
          </p:cNvSpPr>
          <p:nvPr userDrawn="1">
            <p:ph type="body" sz="quarter" idx="19"/>
          </p:nvPr>
        </p:nvSpPr>
        <p:spPr>
          <a:xfrm>
            <a:off x="7454476" y="1742617"/>
            <a:ext cx="3564083" cy="693068"/>
          </a:xfrm>
        </p:spPr>
        <p:txBody>
          <a:bodyPr anchor="ctr"/>
          <a:lstStyle>
            <a:lvl1pPr marL="0" indent="0" algn="l">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a:p>
        </p:txBody>
      </p:sp>
      <p:sp>
        <p:nvSpPr>
          <p:cNvPr id="32" name="Espace réservé du texte 27"/>
          <p:cNvSpPr>
            <a:spLocks noGrp="1"/>
          </p:cNvSpPr>
          <p:nvPr userDrawn="1">
            <p:ph type="body" sz="quarter" idx="20"/>
          </p:nvPr>
        </p:nvSpPr>
        <p:spPr>
          <a:xfrm>
            <a:off x="8113484" y="3277995"/>
            <a:ext cx="3564083" cy="693068"/>
          </a:xfrm>
        </p:spPr>
        <p:txBody>
          <a:bodyPr anchor="ctr"/>
          <a:lstStyle>
            <a:lvl1pPr marL="0" indent="0" algn="l">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a:p>
        </p:txBody>
      </p:sp>
      <p:pic>
        <p:nvPicPr>
          <p:cNvPr id="24" name="Image 6" descr="Log_AXIANS_CRVB.jpg">
            <a:extLst>
              <a:ext uri="{FF2B5EF4-FFF2-40B4-BE49-F238E27FC236}">
                <a16:creationId xmlns:a16="http://schemas.microsoft.com/office/drawing/2014/main" id="{14482187-C1C7-414B-ACAB-3BFA2D671BDD}"/>
              </a:ext>
            </a:extLst>
          </p:cNvPr>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39951327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500"/>
                                        <p:tgtEl>
                                          <p:spTgt spid="45"/>
                                        </p:tgtEl>
                                      </p:cBhvr>
                                    </p:animEffect>
                                  </p:childTnLst>
                                </p:cTn>
                              </p:par>
                              <p:par>
                                <p:cTn id="8" presetID="10" presetClass="entr" presetSubtype="0" fill="hold" grpId="1" nodeType="withEffect">
                                  <p:stCondLst>
                                    <p:cond delay="0"/>
                                  </p:stCondLst>
                                  <p:childTnLst>
                                    <p:set>
                                      <p:cBhvr>
                                        <p:cTn id="9" dur="1" fill="hold">
                                          <p:stCondLst>
                                            <p:cond delay="0"/>
                                          </p:stCondLst>
                                        </p:cTn>
                                        <p:tgtEl>
                                          <p:spTgt spid="44"/>
                                        </p:tgtEl>
                                        <p:attrNameLst>
                                          <p:attrName>style.visibility</p:attrName>
                                        </p:attrNameLst>
                                      </p:cBhvr>
                                      <p:to>
                                        <p:strVal val="visible"/>
                                      </p:to>
                                    </p:set>
                                    <p:animEffect transition="in" filter="fade">
                                      <p:cBhvr>
                                        <p:cTn id="10" dur="500"/>
                                        <p:tgtEl>
                                          <p:spTgt spid="44"/>
                                        </p:tgtEl>
                                      </p:cBhvr>
                                    </p:animEffect>
                                  </p:childTnLst>
                                </p:cTn>
                              </p:par>
                              <p:par>
                                <p:cTn id="11" presetID="10" presetClass="entr" presetSubtype="0" fill="hold" grpId="1" nodeType="withEffect">
                                  <p:stCondLst>
                                    <p:cond delay="0"/>
                                  </p:stCondLst>
                                  <p:childTnLst>
                                    <p:set>
                                      <p:cBhvr>
                                        <p:cTn id="12" dur="1" fill="hold">
                                          <p:stCondLst>
                                            <p:cond delay="0"/>
                                          </p:stCondLst>
                                        </p:cTn>
                                        <p:tgtEl>
                                          <p:spTgt spid="46"/>
                                        </p:tgtEl>
                                        <p:attrNameLst>
                                          <p:attrName>style.visibility</p:attrName>
                                        </p:attrNameLst>
                                      </p:cBhvr>
                                      <p:to>
                                        <p:strVal val="visible"/>
                                      </p:to>
                                    </p:set>
                                    <p:animEffect transition="in" filter="fade">
                                      <p:cBhvr>
                                        <p:cTn id="13" dur="500"/>
                                        <p:tgtEl>
                                          <p:spTgt spid="46"/>
                                        </p:tgtEl>
                                      </p:cBhvr>
                                    </p:animEffect>
                                  </p:childTnLst>
                                </p:cTn>
                              </p:par>
                              <p:par>
                                <p:cTn id="14" presetID="8" presetClass="emph" presetSubtype="0" decel="62500" fill="hold" grpId="0" nodeType="withEffect">
                                  <p:stCondLst>
                                    <p:cond delay="0"/>
                                  </p:stCondLst>
                                  <p:childTnLst>
                                    <p:animRot by="21600000">
                                      <p:cBhvr>
                                        <p:cTn id="15" dur="4000" fill="hold"/>
                                        <p:tgtEl>
                                          <p:spTgt spid="45"/>
                                        </p:tgtEl>
                                        <p:attrNameLst>
                                          <p:attrName>r</p:attrName>
                                        </p:attrNameLst>
                                      </p:cBhvr>
                                    </p:animRot>
                                  </p:childTnLst>
                                </p:cTn>
                              </p:par>
                              <p:par>
                                <p:cTn id="16" presetID="8" presetClass="emph" presetSubtype="0" decel="62500" fill="hold" grpId="0" nodeType="withEffect">
                                  <p:stCondLst>
                                    <p:cond delay="0"/>
                                  </p:stCondLst>
                                  <p:childTnLst>
                                    <p:animRot by="-12660000">
                                      <p:cBhvr>
                                        <p:cTn id="17" dur="4000" fill="hold"/>
                                        <p:tgtEl>
                                          <p:spTgt spid="44"/>
                                        </p:tgtEl>
                                        <p:attrNameLst>
                                          <p:attrName>r</p:attrName>
                                        </p:attrNameLst>
                                      </p:cBhvr>
                                    </p:animRot>
                                  </p:childTnLst>
                                </p:cTn>
                              </p:par>
                              <p:par>
                                <p:cTn id="18" presetID="8" presetClass="emph" presetSubtype="0" decel="62500" fill="hold" grpId="0" nodeType="withEffect">
                                  <p:stCondLst>
                                    <p:cond delay="0"/>
                                  </p:stCondLst>
                                  <p:childTnLst>
                                    <p:animRot by="21600000">
                                      <p:cBhvr>
                                        <p:cTn id="19" dur="4000" fill="hold"/>
                                        <p:tgtEl>
                                          <p:spTgt spid="46"/>
                                        </p:tgtEl>
                                        <p:attrNameLst>
                                          <p:attrName>r</p:attrName>
                                        </p:attrNameLst>
                                      </p:cBhvr>
                                    </p:animRot>
                                  </p:childTnLst>
                                </p:cTn>
                              </p:par>
                              <p:par>
                                <p:cTn id="20" presetID="10" presetClass="entr" presetSubtype="0" fill="hold" grpId="1" nodeType="withEffect">
                                  <p:stCondLst>
                                    <p:cond delay="0"/>
                                  </p:stCondLst>
                                  <p:childTnLst>
                                    <p:set>
                                      <p:cBhvr>
                                        <p:cTn id="21" dur="1" fill="hold">
                                          <p:stCondLst>
                                            <p:cond delay="0"/>
                                          </p:stCondLst>
                                        </p:cTn>
                                        <p:tgtEl>
                                          <p:spTgt spid="49"/>
                                        </p:tgtEl>
                                        <p:attrNameLst>
                                          <p:attrName>style.visibility</p:attrName>
                                        </p:attrNameLst>
                                      </p:cBhvr>
                                      <p:to>
                                        <p:strVal val="visible"/>
                                      </p:to>
                                    </p:set>
                                    <p:animEffect transition="in" filter="fade">
                                      <p:cBhvr>
                                        <p:cTn id="22" dur="500"/>
                                        <p:tgtEl>
                                          <p:spTgt spid="49"/>
                                        </p:tgtEl>
                                      </p:cBhvr>
                                    </p:animEffect>
                                  </p:childTnLst>
                                </p:cTn>
                              </p:par>
                              <p:par>
                                <p:cTn id="23" presetID="10" presetClass="entr" presetSubtype="0" fill="hold" grpId="1" nodeType="withEffect">
                                  <p:stCondLst>
                                    <p:cond delay="0"/>
                                  </p:stCondLst>
                                  <p:childTnLst>
                                    <p:set>
                                      <p:cBhvr>
                                        <p:cTn id="24" dur="1" fill="hold">
                                          <p:stCondLst>
                                            <p:cond delay="0"/>
                                          </p:stCondLst>
                                        </p:cTn>
                                        <p:tgtEl>
                                          <p:spTgt spid="48"/>
                                        </p:tgtEl>
                                        <p:attrNameLst>
                                          <p:attrName>style.visibility</p:attrName>
                                        </p:attrNameLst>
                                      </p:cBhvr>
                                      <p:to>
                                        <p:strVal val="visible"/>
                                      </p:to>
                                    </p:set>
                                    <p:animEffect transition="in" filter="fade">
                                      <p:cBhvr>
                                        <p:cTn id="25" dur="500"/>
                                        <p:tgtEl>
                                          <p:spTgt spid="48"/>
                                        </p:tgtEl>
                                      </p:cBhvr>
                                    </p:animEffect>
                                  </p:childTnLst>
                                </p:cTn>
                              </p:par>
                              <p:par>
                                <p:cTn id="26" presetID="10" presetClass="entr" presetSubtype="0" fill="hold" grpId="1" nodeType="withEffect">
                                  <p:stCondLst>
                                    <p:cond delay="0"/>
                                  </p:stCondLst>
                                  <p:childTnLst>
                                    <p:set>
                                      <p:cBhvr>
                                        <p:cTn id="27" dur="1" fill="hold">
                                          <p:stCondLst>
                                            <p:cond delay="0"/>
                                          </p:stCondLst>
                                        </p:cTn>
                                        <p:tgtEl>
                                          <p:spTgt spid="47"/>
                                        </p:tgtEl>
                                        <p:attrNameLst>
                                          <p:attrName>style.visibility</p:attrName>
                                        </p:attrNameLst>
                                      </p:cBhvr>
                                      <p:to>
                                        <p:strVal val="visible"/>
                                      </p:to>
                                    </p:set>
                                    <p:animEffect transition="in" filter="fade">
                                      <p:cBhvr>
                                        <p:cTn id="28" dur="500"/>
                                        <p:tgtEl>
                                          <p:spTgt spid="47"/>
                                        </p:tgtEl>
                                      </p:cBhvr>
                                    </p:animEffect>
                                  </p:childTnLst>
                                </p:cTn>
                              </p:par>
                              <p:par>
                                <p:cTn id="29" presetID="8" presetClass="emph" presetSubtype="0" fill="hold" grpId="0" nodeType="withEffect">
                                  <p:stCondLst>
                                    <p:cond delay="0"/>
                                  </p:stCondLst>
                                  <p:childTnLst>
                                    <p:animRot by="21600000">
                                      <p:cBhvr>
                                        <p:cTn id="30" dur="4000" fill="hold"/>
                                        <p:tgtEl>
                                          <p:spTgt spid="49"/>
                                        </p:tgtEl>
                                        <p:attrNameLst>
                                          <p:attrName>r</p:attrName>
                                        </p:attrNameLst>
                                      </p:cBhvr>
                                    </p:animRot>
                                  </p:childTnLst>
                                </p:cTn>
                              </p:par>
                              <p:par>
                                <p:cTn id="31" presetID="8" presetClass="emph" presetSubtype="0" fill="hold" grpId="0" nodeType="withEffect">
                                  <p:stCondLst>
                                    <p:cond delay="0"/>
                                  </p:stCondLst>
                                  <p:childTnLst>
                                    <p:animRot by="-21600000">
                                      <p:cBhvr>
                                        <p:cTn id="32" dur="4000" fill="hold"/>
                                        <p:tgtEl>
                                          <p:spTgt spid="48"/>
                                        </p:tgtEl>
                                        <p:attrNameLst>
                                          <p:attrName>r</p:attrName>
                                        </p:attrNameLst>
                                      </p:cBhvr>
                                    </p:animRot>
                                  </p:childTnLst>
                                </p:cTn>
                              </p:par>
                              <p:par>
                                <p:cTn id="33" presetID="8" presetClass="emph" presetSubtype="0" fill="hold" grpId="0" nodeType="withEffect">
                                  <p:stCondLst>
                                    <p:cond delay="0"/>
                                  </p:stCondLst>
                                  <p:childTnLst>
                                    <p:animRot by="21600000">
                                      <p:cBhvr>
                                        <p:cTn id="34" dur="4000" fill="hold"/>
                                        <p:tgtEl>
                                          <p:spTgt spid="47"/>
                                        </p:tgtEl>
                                        <p:attrNameLst>
                                          <p:attrName>r</p:attrName>
                                        </p:attrNameLst>
                                      </p:cBhvr>
                                    </p:animRot>
                                  </p:childTnLst>
                                </p:cTn>
                              </p:par>
                              <p:par>
                                <p:cTn id="35" presetID="10" presetClass="entr" presetSubtype="0" fill="hold" grpId="0" nodeType="withEffect" nodePh="1">
                                  <p:stCondLst>
                                    <p:cond delay="500"/>
                                  </p:stCondLst>
                                  <p:endCondLst>
                                    <p:cond evt="begin" delay="0">
                                      <p:tn val="35"/>
                                    </p:cond>
                                  </p:endCondLst>
                                  <p:childTnLst>
                                    <p:set>
                                      <p:cBhvr>
                                        <p:cTn id="36" dur="1" fill="hold">
                                          <p:stCondLst>
                                            <p:cond delay="0"/>
                                          </p:stCondLst>
                                        </p:cTn>
                                        <p:tgtEl>
                                          <p:spTgt spid="31"/>
                                        </p:tgtEl>
                                        <p:attrNameLst>
                                          <p:attrName>style.visibility</p:attrName>
                                        </p:attrNameLst>
                                      </p:cBhvr>
                                      <p:to>
                                        <p:strVal val="visible"/>
                                      </p:to>
                                    </p:set>
                                    <p:animEffect transition="in" filter="fade">
                                      <p:cBhvr>
                                        <p:cTn id="37" dur="500"/>
                                        <p:tgtEl>
                                          <p:spTgt spid="31"/>
                                        </p:tgtEl>
                                      </p:cBhvr>
                                    </p:animEffect>
                                  </p:childTnLst>
                                </p:cTn>
                              </p:par>
                              <p:par>
                                <p:cTn id="38" presetID="10" presetClass="entr" presetSubtype="0" fill="hold" grpId="0" nodeType="withEffect" nodePh="1">
                                  <p:stCondLst>
                                    <p:cond delay="1000"/>
                                  </p:stCondLst>
                                  <p:endCondLst>
                                    <p:cond evt="begin" delay="0">
                                      <p:tn val="38"/>
                                    </p:cond>
                                  </p:endCondLst>
                                  <p:childTnLst>
                                    <p:set>
                                      <p:cBhvr>
                                        <p:cTn id="39" dur="1" fill="hold">
                                          <p:stCondLst>
                                            <p:cond delay="0"/>
                                          </p:stCondLst>
                                        </p:cTn>
                                        <p:tgtEl>
                                          <p:spTgt spid="32"/>
                                        </p:tgtEl>
                                        <p:attrNameLst>
                                          <p:attrName>style.visibility</p:attrName>
                                        </p:attrNameLst>
                                      </p:cBhvr>
                                      <p:to>
                                        <p:strVal val="visible"/>
                                      </p:to>
                                    </p:set>
                                    <p:animEffect transition="in" filter="fade">
                                      <p:cBhvr>
                                        <p:cTn id="40" dur="500"/>
                                        <p:tgtEl>
                                          <p:spTgt spid="32"/>
                                        </p:tgtEl>
                                      </p:cBhvr>
                                    </p:animEffect>
                                  </p:childTnLst>
                                </p:cTn>
                              </p:par>
                              <p:par>
                                <p:cTn id="41" presetID="10" presetClass="entr" presetSubtype="0" fill="hold" grpId="0" nodeType="withEffect" nodePh="1">
                                  <p:stCondLst>
                                    <p:cond delay="1500"/>
                                  </p:stCondLst>
                                  <p:endCondLst>
                                    <p:cond evt="begin" delay="0">
                                      <p:tn val="41"/>
                                    </p:cond>
                                  </p:endCondLst>
                                  <p:childTnLst>
                                    <p:set>
                                      <p:cBhvr>
                                        <p:cTn id="42" dur="1" fill="hold">
                                          <p:stCondLst>
                                            <p:cond delay="0"/>
                                          </p:stCondLst>
                                        </p:cTn>
                                        <p:tgtEl>
                                          <p:spTgt spid="30"/>
                                        </p:tgtEl>
                                        <p:attrNameLst>
                                          <p:attrName>style.visibility</p:attrName>
                                        </p:attrNameLst>
                                      </p:cBhvr>
                                      <p:to>
                                        <p:strVal val="visible"/>
                                      </p:to>
                                    </p:set>
                                    <p:animEffect transition="in" filter="fade">
                                      <p:cBhvr>
                                        <p:cTn id="43" dur="500"/>
                                        <p:tgtEl>
                                          <p:spTgt spid="30"/>
                                        </p:tgtEl>
                                      </p:cBhvr>
                                    </p:animEffect>
                                  </p:childTnLst>
                                </p:cTn>
                              </p:par>
                              <p:par>
                                <p:cTn id="44" presetID="10" presetClass="entr" presetSubtype="0" fill="hold" grpId="0" nodeType="withEffect" nodePh="1">
                                  <p:stCondLst>
                                    <p:cond delay="2000"/>
                                  </p:stCondLst>
                                  <p:endCondLst>
                                    <p:cond evt="begin" delay="0">
                                      <p:tn val="44"/>
                                    </p:cond>
                                  </p:endCondLst>
                                  <p:childTnLst>
                                    <p:set>
                                      <p:cBhvr>
                                        <p:cTn id="45" dur="1" fill="hold">
                                          <p:stCondLst>
                                            <p:cond delay="0"/>
                                          </p:stCondLst>
                                        </p:cTn>
                                        <p:tgtEl>
                                          <p:spTgt spid="29"/>
                                        </p:tgtEl>
                                        <p:attrNameLst>
                                          <p:attrName>style.visibility</p:attrName>
                                        </p:attrNameLst>
                                      </p:cBhvr>
                                      <p:to>
                                        <p:strVal val="visible"/>
                                      </p:to>
                                    </p:set>
                                    <p:animEffect transition="in" filter="fade">
                                      <p:cBhvr>
                                        <p:cTn id="46" dur="500"/>
                                        <p:tgtEl>
                                          <p:spTgt spid="29"/>
                                        </p:tgtEl>
                                      </p:cBhvr>
                                    </p:animEffect>
                                  </p:childTnLst>
                                </p:cTn>
                              </p:par>
                              <p:par>
                                <p:cTn id="47" presetID="10" presetClass="entr" presetSubtype="0" fill="hold" grpId="0" nodeType="withEffect" nodePh="1">
                                  <p:stCondLst>
                                    <p:cond delay="2500"/>
                                  </p:stCondLst>
                                  <p:endCondLst>
                                    <p:cond evt="begin" delay="0">
                                      <p:tn val="47"/>
                                    </p:cond>
                                  </p:endCondLst>
                                  <p:childTnLst>
                                    <p:set>
                                      <p:cBhvr>
                                        <p:cTn id="48" dur="1" fill="hold">
                                          <p:stCondLst>
                                            <p:cond delay="0"/>
                                          </p:stCondLst>
                                        </p:cTn>
                                        <p:tgtEl>
                                          <p:spTgt spid="28"/>
                                        </p:tgtEl>
                                        <p:attrNameLst>
                                          <p:attrName>style.visibility</p:attrName>
                                        </p:attrNameLst>
                                      </p:cBhvr>
                                      <p:to>
                                        <p:strVal val="visible"/>
                                      </p:to>
                                    </p:set>
                                    <p:animEffect transition="in" filter="fade">
                                      <p:cBhvr>
                                        <p:cTn id="49" dur="500"/>
                                        <p:tgtEl>
                                          <p:spTgt spid="28"/>
                                        </p:tgtEl>
                                      </p:cBhvr>
                                    </p:animEffect>
                                  </p:childTnLst>
                                </p:cTn>
                              </p:par>
                              <p:par>
                                <p:cTn id="50" presetID="10" presetClass="entr" presetSubtype="0" fill="hold" grpId="0" nodeType="withEffect">
                                  <p:stCondLst>
                                    <p:cond delay="2500"/>
                                  </p:stCondLst>
                                  <p:childTnLst>
                                    <p:set>
                                      <p:cBhvr>
                                        <p:cTn id="51" dur="1" fill="hold">
                                          <p:stCondLst>
                                            <p:cond delay="0"/>
                                          </p:stCondLst>
                                        </p:cTn>
                                        <p:tgtEl>
                                          <p:spTgt spid="26"/>
                                        </p:tgtEl>
                                        <p:attrNameLst>
                                          <p:attrName>style.visibility</p:attrName>
                                        </p:attrNameLst>
                                      </p:cBhvr>
                                      <p:to>
                                        <p:strVal val="visible"/>
                                      </p:to>
                                    </p:set>
                                    <p:animEffect transition="in" filter="fade">
                                      <p:cBhvr>
                                        <p:cTn id="52" dur="500"/>
                                        <p:tgtEl>
                                          <p:spTgt spid="26"/>
                                        </p:tgtEl>
                                      </p:cBhvr>
                                    </p:animEffect>
                                  </p:childTnLst>
                                </p:cTn>
                              </p:par>
                              <p:par>
                                <p:cTn id="53" presetID="10" presetClass="entr" presetSubtype="0" fill="hold" grpId="0" nodeType="withEffect">
                                  <p:stCondLst>
                                    <p:cond delay="500"/>
                                  </p:stCondLst>
                                  <p:childTnLst>
                                    <p:set>
                                      <p:cBhvr>
                                        <p:cTn id="54" dur="1" fill="hold">
                                          <p:stCondLst>
                                            <p:cond delay="0"/>
                                          </p:stCondLst>
                                        </p:cTn>
                                        <p:tgtEl>
                                          <p:spTgt spid="16"/>
                                        </p:tgtEl>
                                        <p:attrNameLst>
                                          <p:attrName>style.visibility</p:attrName>
                                        </p:attrNameLst>
                                      </p:cBhvr>
                                      <p:to>
                                        <p:strVal val="visible"/>
                                      </p:to>
                                    </p:set>
                                    <p:animEffect transition="in" filter="fade">
                                      <p:cBhvr>
                                        <p:cTn id="55" dur="500"/>
                                        <p:tgtEl>
                                          <p:spTgt spid="16"/>
                                        </p:tgtEl>
                                      </p:cBhvr>
                                    </p:animEffect>
                                  </p:childTnLst>
                                </p:cTn>
                              </p:par>
                              <p:par>
                                <p:cTn id="56" presetID="10" presetClass="entr" presetSubtype="0" fill="hold" grpId="0" nodeType="withEffect">
                                  <p:stCondLst>
                                    <p:cond delay="2000"/>
                                  </p:stCondLst>
                                  <p:childTnLst>
                                    <p:set>
                                      <p:cBhvr>
                                        <p:cTn id="57" dur="1" fill="hold">
                                          <p:stCondLst>
                                            <p:cond delay="0"/>
                                          </p:stCondLst>
                                        </p:cTn>
                                        <p:tgtEl>
                                          <p:spTgt spid="19"/>
                                        </p:tgtEl>
                                        <p:attrNameLst>
                                          <p:attrName>style.visibility</p:attrName>
                                        </p:attrNameLst>
                                      </p:cBhvr>
                                      <p:to>
                                        <p:strVal val="visible"/>
                                      </p:to>
                                    </p:set>
                                    <p:animEffect transition="in" filter="fade">
                                      <p:cBhvr>
                                        <p:cTn id="58" dur="500"/>
                                        <p:tgtEl>
                                          <p:spTgt spid="19"/>
                                        </p:tgtEl>
                                      </p:cBhvr>
                                    </p:animEffect>
                                  </p:childTnLst>
                                </p:cTn>
                              </p:par>
                              <p:par>
                                <p:cTn id="59" presetID="10" presetClass="entr" presetSubtype="0" fill="hold" grpId="0" nodeType="withEffect">
                                  <p:stCondLst>
                                    <p:cond delay="1000"/>
                                  </p:stCondLst>
                                  <p:childTnLst>
                                    <p:set>
                                      <p:cBhvr>
                                        <p:cTn id="60" dur="1" fill="hold">
                                          <p:stCondLst>
                                            <p:cond delay="0"/>
                                          </p:stCondLst>
                                        </p:cTn>
                                        <p:tgtEl>
                                          <p:spTgt spid="17"/>
                                        </p:tgtEl>
                                        <p:attrNameLst>
                                          <p:attrName>style.visibility</p:attrName>
                                        </p:attrNameLst>
                                      </p:cBhvr>
                                      <p:to>
                                        <p:strVal val="visible"/>
                                      </p:to>
                                    </p:set>
                                    <p:animEffect transition="in" filter="fade">
                                      <p:cBhvr>
                                        <p:cTn id="61" dur="500"/>
                                        <p:tgtEl>
                                          <p:spTgt spid="17"/>
                                        </p:tgtEl>
                                      </p:cBhvr>
                                    </p:animEffect>
                                  </p:childTnLst>
                                </p:cTn>
                              </p:par>
                              <p:par>
                                <p:cTn id="62" presetID="10" presetClass="entr" presetSubtype="0" fill="hold" grpId="0" nodeType="withEffect">
                                  <p:stCondLst>
                                    <p:cond delay="150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4" grpId="1" animBg="1"/>
      <p:bldP spid="45" grpId="0" animBg="1"/>
      <p:bldP spid="45" grpId="1" animBg="1"/>
      <p:bldP spid="46" grpId="0" animBg="1"/>
      <p:bldP spid="46" grpId="1" animBg="1"/>
      <p:bldP spid="47" grpId="0" animBg="1"/>
      <p:bldP spid="47" grpId="1" animBg="1"/>
      <p:bldP spid="48" grpId="0" animBg="1"/>
      <p:bldP spid="48" grpId="1" animBg="1"/>
      <p:bldP spid="49" grpId="0" animBg="1"/>
      <p:bldP spid="49" grpId="1" animBg="1"/>
      <p:bldP spid="16" grpId="0" animBg="1">
        <p:tmplLst>
          <p:tmpl>
            <p:tnLst>
              <p:par>
                <p:cTn presetID="10" presetClass="entr" presetSubtype="0" fill="hold" nodeType="withEffect">
                  <p:stCondLst>
                    <p:cond delay="50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P spid="17" grpId="0" animBg="1">
        <p:tmplLst>
          <p:tmpl>
            <p:tnLst>
              <p:par>
                <p:cTn presetID="10" presetClass="entr" presetSubtype="0" fill="hold" nodeType="withEffect">
                  <p:stCondLst>
                    <p:cond delay="100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8" grpId="0" animBg="1">
        <p:tmplLst>
          <p:tmpl>
            <p:tnLst>
              <p:par>
                <p:cTn presetID="10" presetClass="entr" presetSubtype="0" fill="hold" nodeType="withEffect">
                  <p:stCondLst>
                    <p:cond delay="1500"/>
                  </p:stCondLst>
                  <p:childTnLst>
                    <p:set>
                      <p:cBhvr>
                        <p:cTn dur="1" fill="hold">
                          <p:stCondLst>
                            <p:cond delay="0"/>
                          </p:stCondLst>
                        </p:cTn>
                        <p:tgtEl>
                          <p:spTgt spid="18"/>
                        </p:tgtEl>
                        <p:attrNameLst>
                          <p:attrName>style.visibility</p:attrName>
                        </p:attrNameLst>
                      </p:cBhvr>
                      <p:to>
                        <p:strVal val="visible"/>
                      </p:to>
                    </p:set>
                    <p:animEffect transition="in" filter="fade">
                      <p:cBhvr>
                        <p:cTn dur="500"/>
                        <p:tgtEl>
                          <p:spTgt spid="18"/>
                        </p:tgtEl>
                      </p:cBhvr>
                    </p:animEffect>
                  </p:childTnLst>
                </p:cTn>
              </p:par>
            </p:tnLst>
          </p:tmpl>
        </p:tmplLst>
      </p:bldP>
      <p:bldP spid="19" grpId="0" animBg="1">
        <p:tmplLst>
          <p:tmpl>
            <p:tnLst>
              <p:par>
                <p:cTn presetID="10" presetClass="entr" presetSubtype="0" fill="hold" nodeType="withEffect">
                  <p:stCondLst>
                    <p:cond delay="200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6" grpId="0" animBg="1">
        <p:tmplLst>
          <p:tmpl>
            <p:tnLst>
              <p:par>
                <p:cTn presetID="10" presetClass="entr" presetSubtype="0" fill="hold" nodeType="withEffect">
                  <p:stCondLst>
                    <p:cond delay="2500"/>
                  </p:stCondLst>
                  <p:childTnLst>
                    <p:set>
                      <p:cBhvr>
                        <p:cTn dur="1" fill="hold">
                          <p:stCondLst>
                            <p:cond delay="0"/>
                          </p:stCondLst>
                        </p:cTn>
                        <p:tgtEl>
                          <p:spTgt spid="26"/>
                        </p:tgtEl>
                        <p:attrNameLst>
                          <p:attrName>style.visibility</p:attrName>
                        </p:attrNameLst>
                      </p:cBhvr>
                      <p:to>
                        <p:strVal val="visible"/>
                      </p:to>
                    </p:set>
                    <p:animEffect transition="in" filter="fade">
                      <p:cBhvr>
                        <p:cTn dur="500"/>
                        <p:tgtEl>
                          <p:spTgt spid="26"/>
                        </p:tgtEl>
                      </p:cBhvr>
                    </p:animEffect>
                  </p:childTnLst>
                </p:cTn>
              </p:par>
            </p:tnLst>
          </p:tmpl>
        </p:tmplLst>
      </p:bldP>
      <p:bldP spid="28" grpId="0">
        <p:tmplLst>
          <p:tmpl>
            <p:tnLst>
              <p:par>
                <p:cTn presetID="10" presetClass="entr" presetSubtype="0" fill="hold" nodeType="withEffect" nodePh="1">
                  <p:stCondLst>
                    <p:cond delay="2500"/>
                  </p:stCondLst>
                  <p:endCondLst>
                    <p:cond delay="0"/>
                  </p:endCondLst>
                  <p:childTnLst>
                    <p:set>
                      <p:cBhvr>
                        <p:cTn dur="1" fill="hold">
                          <p:stCondLst>
                            <p:cond delay="0"/>
                          </p:stCondLst>
                        </p:cTn>
                        <p:tgtEl>
                          <p:spTgt spid="28"/>
                        </p:tgtEl>
                        <p:attrNameLst>
                          <p:attrName>style.visibility</p:attrName>
                        </p:attrNameLst>
                      </p:cBhvr>
                      <p:to>
                        <p:strVal val="visible"/>
                      </p:to>
                    </p:set>
                    <p:animEffect transition="in" filter="fade">
                      <p:cBhvr>
                        <p:cTn dur="500"/>
                        <p:tgtEl>
                          <p:spTgt spid="28"/>
                        </p:tgtEl>
                      </p:cBhvr>
                    </p:animEffect>
                  </p:childTnLst>
                </p:cTn>
              </p:par>
            </p:tnLst>
          </p:tmpl>
        </p:tmplLst>
      </p:bldP>
      <p:bldP spid="29" grpId="0">
        <p:tmplLst>
          <p:tmpl>
            <p:tnLst>
              <p:par>
                <p:cTn presetID="10" presetClass="entr" presetSubtype="0" fill="hold" nodeType="withEffect" nodePh="1">
                  <p:stCondLst>
                    <p:cond delay="2000"/>
                  </p:stCondLst>
                  <p:endCondLst>
                    <p:cond delay="0"/>
                  </p:endCondLst>
                  <p:childTnLst>
                    <p:set>
                      <p:cBhvr>
                        <p:cTn dur="1" fill="hold">
                          <p:stCondLst>
                            <p:cond delay="0"/>
                          </p:stCondLst>
                        </p:cTn>
                        <p:tgtEl>
                          <p:spTgt spid="29"/>
                        </p:tgtEl>
                        <p:attrNameLst>
                          <p:attrName>style.visibility</p:attrName>
                        </p:attrNameLst>
                      </p:cBhvr>
                      <p:to>
                        <p:strVal val="visible"/>
                      </p:to>
                    </p:set>
                    <p:animEffect transition="in" filter="fade">
                      <p:cBhvr>
                        <p:cTn dur="500"/>
                        <p:tgtEl>
                          <p:spTgt spid="29"/>
                        </p:tgtEl>
                      </p:cBhvr>
                    </p:animEffect>
                  </p:childTnLst>
                </p:cTn>
              </p:par>
            </p:tnLst>
          </p:tmpl>
        </p:tmplLst>
      </p:bldP>
      <p:bldP spid="30" grpId="0">
        <p:tmplLst>
          <p:tmpl>
            <p:tnLst>
              <p:par>
                <p:cTn presetID="10" presetClass="entr" presetSubtype="0" fill="hold" nodeType="withEffect" nodePh="1">
                  <p:stCondLst>
                    <p:cond delay="1500"/>
                  </p:stCondLst>
                  <p:endCondLst>
                    <p:cond delay="0"/>
                  </p:endCondLst>
                  <p:childTnLst>
                    <p:set>
                      <p:cBhvr>
                        <p:cTn dur="1" fill="hold">
                          <p:stCondLst>
                            <p:cond delay="0"/>
                          </p:stCondLst>
                        </p:cTn>
                        <p:tgtEl>
                          <p:spTgt spid="30"/>
                        </p:tgtEl>
                        <p:attrNameLst>
                          <p:attrName>style.visibility</p:attrName>
                        </p:attrNameLst>
                      </p:cBhvr>
                      <p:to>
                        <p:strVal val="visible"/>
                      </p:to>
                    </p:set>
                    <p:animEffect transition="in" filter="fade">
                      <p:cBhvr>
                        <p:cTn dur="500"/>
                        <p:tgtEl>
                          <p:spTgt spid="30"/>
                        </p:tgtEl>
                      </p:cBhvr>
                    </p:animEffect>
                  </p:childTnLst>
                </p:cTn>
              </p:par>
            </p:tnLst>
          </p:tmpl>
        </p:tmplLst>
      </p:bldP>
      <p:bldP spid="31" grpId="0">
        <p:tmplLst>
          <p:tmpl>
            <p:tnLst>
              <p:par>
                <p:cTn presetID="10" presetClass="entr" presetSubtype="0" fill="hold" nodeType="withEffect" nodePh="1">
                  <p:stCondLst>
                    <p:cond delay="500"/>
                  </p:stCondLst>
                  <p:endCondLst>
                    <p:cond delay="0"/>
                  </p:endCondLst>
                  <p:childTnLst>
                    <p:set>
                      <p:cBhvr>
                        <p:cTn dur="1" fill="hold">
                          <p:stCondLst>
                            <p:cond delay="0"/>
                          </p:stCondLst>
                        </p:cTn>
                        <p:tgtEl>
                          <p:spTgt spid="31"/>
                        </p:tgtEl>
                        <p:attrNameLst>
                          <p:attrName>style.visibility</p:attrName>
                        </p:attrNameLst>
                      </p:cBhvr>
                      <p:to>
                        <p:strVal val="visible"/>
                      </p:to>
                    </p:set>
                    <p:animEffect transition="in" filter="fade">
                      <p:cBhvr>
                        <p:cTn dur="500"/>
                        <p:tgtEl>
                          <p:spTgt spid="31"/>
                        </p:tgtEl>
                      </p:cBhvr>
                    </p:animEffect>
                  </p:childTnLst>
                </p:cTn>
              </p:par>
            </p:tnLst>
          </p:tmpl>
        </p:tmplLst>
      </p:bldP>
      <p:bldP spid="32" grpId="0">
        <p:tmplLst>
          <p:tmpl>
            <p:tnLst>
              <p:par>
                <p:cTn presetID="10" presetClass="entr" presetSubtype="0" fill="hold" nodeType="withEffect" nodePh="1">
                  <p:stCondLst>
                    <p:cond delay="1000"/>
                  </p:stCondLst>
                  <p:endCondLst>
                    <p:cond delay="0"/>
                  </p:endCondLst>
                  <p:childTnLst>
                    <p:set>
                      <p:cBhvr>
                        <p:cTn dur="1" fill="hold">
                          <p:stCondLst>
                            <p:cond delay="0"/>
                          </p:stCondLst>
                        </p:cTn>
                        <p:tgtEl>
                          <p:spTgt spid="32"/>
                        </p:tgtEl>
                        <p:attrNameLst>
                          <p:attrName>style.visibility</p:attrName>
                        </p:attrNameLst>
                      </p:cBhvr>
                      <p:to>
                        <p:strVal val="visible"/>
                      </p:to>
                    </p:set>
                    <p:animEffect transition="in" filter="fade">
                      <p:cBhvr>
                        <p:cTn dur="500"/>
                        <p:tgtEl>
                          <p:spTgt spid="32"/>
                        </p:tgtEl>
                      </p:cBhvr>
                    </p:animEffect>
                  </p:childTnLst>
                </p:cTn>
              </p:par>
            </p:tnLst>
          </p:tmpl>
        </p:tmplLst>
      </p:bldP>
    </p:bld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ck Notes slide Layout">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80"/>
            <a:ext cx="11653523" cy="2500600"/>
          </a:xfrm>
          <a:prstGeom prst="rect">
            <a:avLst/>
          </a:prstGeom>
        </p:spPr>
        <p:txBody>
          <a:bodyPr/>
          <a:lstStyle>
            <a:lvl1pPr marL="284673" indent="-284673">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13" indent="-275341">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686" indent="-28467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692" indent="-224005">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694" indent="-224005">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5"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958665182"/>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8" y="1559"/>
          <a:ext cx="1556" cy="1556"/>
        </p:xfrm>
        <a:graphic>
          <a:graphicData uri="http://schemas.openxmlformats.org/presentationml/2006/ole">
            <mc:AlternateContent xmlns:mc="http://schemas.openxmlformats.org/markup-compatibility/2006">
              <mc:Choice xmlns:v="urn:schemas-microsoft-com:vml" Requires="v">
                <p:oleObj spid="_x0000_s106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8" y="1559"/>
                        <a:ext cx="1556" cy="1556"/>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097">
                <a:solidFill>
                  <a:schemeClr val="tx2"/>
                </a:solidFill>
              </a:defRPr>
            </a:lvl1pPr>
          </a:lstStyle>
          <a:p>
            <a:r>
              <a:rPr lang="en-US"/>
              <a:t>Click to edit Master title style</a:t>
            </a:r>
            <a:endParaRPr lang="en-IN" dirty="0"/>
          </a:p>
        </p:txBody>
      </p:sp>
    </p:spTree>
    <p:extLst>
      <p:ext uri="{BB962C8B-B14F-4D97-AF65-F5344CB8AC3E}">
        <p14:creationId xmlns:p14="http://schemas.microsoft.com/office/powerpoint/2010/main" val="62037318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28 pt head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US" dirty="0"/>
          </a:p>
        </p:txBody>
      </p:sp>
    </p:spTree>
    <p:extLst>
      <p:ext uri="{BB962C8B-B14F-4D97-AF65-F5344CB8AC3E}">
        <p14:creationId xmlns:p14="http://schemas.microsoft.com/office/powerpoint/2010/main" val="3969679587"/>
      </p:ext>
    </p:extLst>
  </p:cSld>
  <p:clrMapOvr>
    <a:masterClrMapping/>
  </p:clrMapOvr>
  <p:transition>
    <p:fade/>
  </p:transition>
  <p:hf sldNum="0" hdr="0" dt="0"/>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3_28 pt headlin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3"/>
            <a:ext cx="11655840" cy="899665"/>
          </a:xfrm>
        </p:spPr>
        <p:txBody>
          <a:bodyPr/>
          <a:lstStyle>
            <a:lvl1pPr>
              <a:defRPr sz="2800"/>
            </a:lvl1pPr>
          </a:lstStyle>
          <a:p>
            <a:r>
              <a:rPr lang="en-US"/>
              <a:t>Click to edit Master title style</a:t>
            </a:r>
            <a:endParaRPr lang="en-US" dirty="0"/>
          </a:p>
        </p:txBody>
      </p:sp>
      <p:sp>
        <p:nvSpPr>
          <p:cNvPr id="6" name="Text Placeholder 5"/>
          <p:cNvSpPr>
            <a:spLocks noGrp="1"/>
          </p:cNvSpPr>
          <p:nvPr>
            <p:ph type="body" sz="quarter" idx="10"/>
          </p:nvPr>
        </p:nvSpPr>
        <p:spPr>
          <a:xfrm>
            <a:off x="5761037" y="1905002"/>
            <a:ext cx="6164043" cy="1329595"/>
          </a:xfrm>
        </p:spPr>
        <p:txBody>
          <a:bodyPr/>
          <a:lstStyle>
            <a:lvl1pPr marL="0" indent="0">
              <a:spcBef>
                <a:spcPts val="1200"/>
              </a:spcBef>
              <a:buNone/>
              <a:defRPr sz="1600">
                <a:solidFill>
                  <a:schemeClr val="tx1"/>
                </a:solidFill>
                <a:latin typeface="Segoe Semibold" panose="020B0702040504020203" pitchFamily="34" charset="0"/>
              </a:defRPr>
            </a:lvl1pPr>
            <a:lvl2pPr marL="0" indent="0">
              <a:spcBef>
                <a:spcPts val="600"/>
              </a:spcBef>
              <a:buNone/>
              <a:defRPr sz="1400">
                <a:solidFill>
                  <a:schemeClr val="tx1"/>
                </a:solidFill>
              </a:defRPr>
            </a:lvl2pPr>
            <a:lvl3pPr marL="344414" indent="-223789">
              <a:defRPr sz="1200">
                <a:solidFill>
                  <a:schemeClr val="tx1"/>
                </a:solidFill>
              </a:defRPr>
            </a:lvl3pPr>
            <a:lvl4pPr marL="509478" indent="-165064">
              <a:defRPr sz="1100">
                <a:solidFill>
                  <a:schemeClr val="tx1"/>
                </a:solidFill>
              </a:defRPr>
            </a:lvl4pPr>
            <a:lvl5pPr marL="974514" indent="-223789">
              <a:defRPr sz="11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1"/>
          </p:nvPr>
        </p:nvSpPr>
        <p:spPr>
          <a:xfrm>
            <a:off x="269241" y="1475440"/>
            <a:ext cx="5033555" cy="492443"/>
          </a:xfrm>
        </p:spPr>
        <p:txBody>
          <a:bodyPr vert="horz" wrap="square" lIns="146304" tIns="0" rIns="0" bIns="0" rtlCol="0" anchor="t" anchorCtr="0">
            <a:spAutoFit/>
          </a:bodyPr>
          <a:lstStyle>
            <a:lvl1pPr marL="0" indent="0">
              <a:spcBef>
                <a:spcPts val="0"/>
              </a:spcBef>
              <a:buNone/>
              <a:defRPr lang="en-US" sz="1600"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vl2pPr marL="0" indent="0">
              <a:buNone/>
              <a:defRPr sz="1400">
                <a:solidFill>
                  <a:schemeClr val="accent1"/>
                </a:solidFill>
                <a:latin typeface="+mn-lt"/>
              </a:defRPr>
            </a:lvl2pPr>
          </a:lstStyle>
          <a:p>
            <a:pPr lvl="0" fontAlgn="base">
              <a:spcBef>
                <a:spcPts val="600"/>
              </a:spcBef>
              <a:spcAft>
                <a:spcPct val="0"/>
              </a:spcAft>
            </a:pPr>
            <a:r>
              <a:rPr lang="en-US" dirty="0"/>
              <a:t>Click to edit Master text styles</a:t>
            </a:r>
          </a:p>
          <a:p>
            <a:pPr lvl="1" fontAlgn="base">
              <a:spcBef>
                <a:spcPts val="600"/>
              </a:spcBef>
              <a:spcAft>
                <a:spcPct val="0"/>
              </a:spcAft>
            </a:pPr>
            <a:r>
              <a:rPr lang="en-US" dirty="0"/>
              <a:t>VNVN</a:t>
            </a:r>
          </a:p>
        </p:txBody>
      </p:sp>
      <p:sp>
        <p:nvSpPr>
          <p:cNvPr id="12" name="Text Placeholder 8"/>
          <p:cNvSpPr>
            <a:spLocks noGrp="1"/>
          </p:cNvSpPr>
          <p:nvPr>
            <p:ph type="body" sz="quarter" idx="12"/>
          </p:nvPr>
        </p:nvSpPr>
        <p:spPr>
          <a:xfrm>
            <a:off x="5761038" y="1475441"/>
            <a:ext cx="6218237" cy="221599"/>
          </a:xfrm>
        </p:spPr>
        <p:txBody>
          <a:bodyPr vert="horz" wrap="square" lIns="146304" tIns="0" rIns="0" bIns="0" rtlCol="0" anchor="t" anchorCtr="0">
            <a:spAutoFit/>
          </a:bodyPr>
          <a:lstStyle>
            <a:lvl1pPr marL="0" indent="0">
              <a:spcBef>
                <a:spcPts val="0"/>
              </a:spcBef>
              <a:buNone/>
              <a:defRPr lang="en-US" sz="1600"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stStyle>
          <a:p>
            <a:pPr lvl="0" fontAlgn="base">
              <a:spcBef>
                <a:spcPts val="600"/>
              </a:spcBef>
              <a:spcAft>
                <a:spcPct val="0"/>
              </a:spcAft>
            </a:pPr>
            <a:r>
              <a:rPr lang="en-US" dirty="0"/>
              <a:t>Click to edit Master text styles</a:t>
            </a:r>
          </a:p>
        </p:txBody>
      </p:sp>
    </p:spTree>
    <p:extLst>
      <p:ext uri="{BB962C8B-B14F-4D97-AF65-F5344CB8AC3E}">
        <p14:creationId xmlns:p14="http://schemas.microsoft.com/office/powerpoint/2010/main" val="48322486"/>
      </p:ext>
    </p:extLst>
  </p:cSld>
  <p:clrMapOvr>
    <a:masterClrMapping/>
  </p:clrMapOvr>
  <p:transition>
    <p:fade/>
  </p:transition>
  <p:hf sldNum="0" hdr="0" dt="0"/>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Rubrikbild">
    <p:spTree>
      <p:nvGrpSpPr>
        <p:cNvPr id="1" name=""/>
        <p:cNvGrpSpPr/>
        <p:nvPr/>
      </p:nvGrpSpPr>
      <p:grpSpPr>
        <a:xfrm>
          <a:off x="0" y="0"/>
          <a:ext cx="0" cy="0"/>
          <a:chOff x="0" y="0"/>
          <a:chExt cx="0" cy="0"/>
        </a:xfrm>
      </p:grpSpPr>
      <p:sp>
        <p:nvSpPr>
          <p:cNvPr id="4" name="Platshållare för datum 3"/>
          <p:cNvSpPr>
            <a:spLocks noGrp="1"/>
          </p:cNvSpPr>
          <p:nvPr>
            <p:ph type="dt" sz="half" idx="10"/>
          </p:nvPr>
        </p:nvSpPr>
        <p:spPr/>
        <p:txBody>
          <a:bodyPr/>
          <a:lstStyle/>
          <a:p>
            <a:fld id="{FA15A317-E1FD-4430-9064-36E69D31F355}" type="datetimeFigureOut">
              <a:rPr lang="sv-SE" smtClean="0"/>
              <a:t>2019-04-30</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47223857-EF42-49B7-B1AE-BFF52E589DE0}" type="slidenum">
              <a:rPr lang="sv-SE" smtClean="0"/>
              <a:t>‹#›</a:t>
            </a:fld>
            <a:endParaRPr lang="sv-SE"/>
          </a:p>
        </p:txBody>
      </p:sp>
      <p:pic>
        <p:nvPicPr>
          <p:cNvPr id="10" name="Bildobjekt 9"/>
          <p:cNvPicPr>
            <a:picLocks noChangeAspect="1"/>
          </p:cNvPicPr>
          <p:nvPr userDrawn="1"/>
        </p:nvPicPr>
        <p:blipFill rotWithShape="1">
          <a:blip r:embed="rId2" cstate="print">
            <a:extLst>
              <a:ext uri="{28A0092B-C50C-407E-A947-70E740481C1C}">
                <a14:useLocalDpi xmlns:a14="http://schemas.microsoft.com/office/drawing/2010/main" val="0"/>
              </a:ext>
            </a:extLst>
          </a:blip>
          <a:srcRect t="74659"/>
          <a:stretch/>
        </p:blipFill>
        <p:spPr>
          <a:xfrm>
            <a:off x="387950" y="1420548"/>
            <a:ext cx="2367188" cy="388986"/>
          </a:xfrm>
          <a:prstGeom prst="rect">
            <a:avLst/>
          </a:prstGeom>
        </p:spPr>
      </p:pic>
      <p:pic>
        <p:nvPicPr>
          <p:cNvPr id="11" name="Bildobjekt 10"/>
          <p:cNvPicPr>
            <a:picLocks noChangeAspect="1"/>
          </p:cNvPicPr>
          <p:nvPr userDrawn="1"/>
        </p:nvPicPr>
        <p:blipFill rotWithShape="1">
          <a:blip r:embed="rId3" cstate="print">
            <a:extLst>
              <a:ext uri="{28A0092B-C50C-407E-A947-70E740481C1C}">
                <a14:useLocalDpi xmlns:a14="http://schemas.microsoft.com/office/drawing/2010/main" val="0"/>
              </a:ext>
            </a:extLst>
          </a:blip>
          <a:srcRect b="18582"/>
          <a:stretch/>
        </p:blipFill>
        <p:spPr>
          <a:xfrm>
            <a:off x="369465" y="302915"/>
            <a:ext cx="2374656" cy="1084582"/>
          </a:xfrm>
          <a:prstGeom prst="rect">
            <a:avLst/>
          </a:prstGeom>
        </p:spPr>
      </p:pic>
    </p:spTree>
    <p:extLst>
      <p:ext uri="{BB962C8B-B14F-4D97-AF65-F5344CB8AC3E}">
        <p14:creationId xmlns:p14="http://schemas.microsoft.com/office/powerpoint/2010/main" val="306519906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a:t>Klicka här för att ändra format</a:t>
            </a:r>
          </a:p>
        </p:txBody>
      </p:sp>
      <p:sp>
        <p:nvSpPr>
          <p:cNvPr id="3" name="Platshållare för innehåll 2"/>
          <p:cNvSpPr>
            <a:spLocks noGrp="1"/>
          </p:cNvSpPr>
          <p:nvPr>
            <p:ph idx="1"/>
          </p:nvPr>
        </p:nvSpPr>
        <p:spPr/>
        <p:txBody>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10"/>
          </p:nvPr>
        </p:nvSpPr>
        <p:spPr/>
        <p:txBody>
          <a:bodyPr/>
          <a:lstStyle/>
          <a:p>
            <a:fld id="{FA15A317-E1FD-4430-9064-36E69D31F355}" type="datetimeFigureOut">
              <a:rPr lang="sv-SE" smtClean="0"/>
              <a:t>2019-04-30</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47223857-EF42-49B7-B1AE-BFF52E589DE0}" type="slidenum">
              <a:rPr lang="sv-SE" smtClean="0"/>
              <a:t>‹#›</a:t>
            </a:fld>
            <a:endParaRPr lang="sv-SE"/>
          </a:p>
        </p:txBody>
      </p:sp>
    </p:spTree>
    <p:extLst>
      <p:ext uri="{BB962C8B-B14F-4D97-AF65-F5344CB8AC3E}">
        <p14:creationId xmlns:p14="http://schemas.microsoft.com/office/powerpoint/2010/main" val="293728639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831850" y="1709738"/>
            <a:ext cx="10515600" cy="2852737"/>
          </a:xfrm>
        </p:spPr>
        <p:txBody>
          <a:bodyPr anchor="b"/>
          <a:lstStyle>
            <a:lvl1pPr>
              <a:defRPr sz="6000"/>
            </a:lvl1pPr>
          </a:lstStyle>
          <a:p>
            <a:r>
              <a:rPr lang="sv-SE" dirty="0"/>
              <a:t>Klicka här för att ändra format</a:t>
            </a:r>
          </a:p>
        </p:txBody>
      </p:sp>
      <p:sp>
        <p:nvSpPr>
          <p:cNvPr id="3" name="Platshållare för text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Klicka här för att ändra format på bakgrundstexten</a:t>
            </a:r>
          </a:p>
        </p:txBody>
      </p:sp>
      <p:sp>
        <p:nvSpPr>
          <p:cNvPr id="4" name="Platshållare för datum 3"/>
          <p:cNvSpPr>
            <a:spLocks noGrp="1"/>
          </p:cNvSpPr>
          <p:nvPr>
            <p:ph type="dt" sz="half" idx="10"/>
          </p:nvPr>
        </p:nvSpPr>
        <p:spPr/>
        <p:txBody>
          <a:bodyPr/>
          <a:lstStyle/>
          <a:p>
            <a:fld id="{FA15A317-E1FD-4430-9064-36E69D31F355}" type="datetimeFigureOut">
              <a:rPr lang="sv-SE" smtClean="0"/>
              <a:t>2019-04-30</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47223857-EF42-49B7-B1AE-BFF52E589DE0}" type="slidenum">
              <a:rPr lang="sv-SE" smtClean="0"/>
              <a:t>‹#›</a:t>
            </a:fld>
            <a:endParaRPr lang="sv-SE"/>
          </a:p>
        </p:txBody>
      </p:sp>
    </p:spTree>
    <p:extLst>
      <p:ext uri="{BB962C8B-B14F-4D97-AF65-F5344CB8AC3E}">
        <p14:creationId xmlns:p14="http://schemas.microsoft.com/office/powerpoint/2010/main" val="378684533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woObj" preserve="1">
  <p:cSld name="Två innehålls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innehåll 2"/>
          <p:cNvSpPr>
            <a:spLocks noGrp="1"/>
          </p:cNvSpPr>
          <p:nvPr>
            <p:ph sz="half" idx="1"/>
          </p:nvPr>
        </p:nvSpPr>
        <p:spPr>
          <a:xfrm>
            <a:off x="838200" y="1825625"/>
            <a:ext cx="5181600" cy="435133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innehåll 3"/>
          <p:cNvSpPr>
            <a:spLocks noGrp="1"/>
          </p:cNvSpPr>
          <p:nvPr>
            <p:ph sz="half" idx="2"/>
          </p:nvPr>
        </p:nvSpPr>
        <p:spPr>
          <a:xfrm>
            <a:off x="6172200" y="1825625"/>
            <a:ext cx="5181600" cy="435133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5" name="Platshållare för datum 4"/>
          <p:cNvSpPr>
            <a:spLocks noGrp="1"/>
          </p:cNvSpPr>
          <p:nvPr>
            <p:ph type="dt" sz="half" idx="10"/>
          </p:nvPr>
        </p:nvSpPr>
        <p:spPr/>
        <p:txBody>
          <a:bodyPr/>
          <a:lstStyle/>
          <a:p>
            <a:fld id="{FA15A317-E1FD-4430-9064-36E69D31F355}" type="datetimeFigureOut">
              <a:rPr lang="sv-SE" smtClean="0"/>
              <a:t>2019-04-30</a:t>
            </a:fld>
            <a:endParaRPr lang="sv-SE"/>
          </a:p>
        </p:txBody>
      </p:sp>
      <p:sp>
        <p:nvSpPr>
          <p:cNvPr id="6" name="Platshållare för sidfot 5"/>
          <p:cNvSpPr>
            <a:spLocks noGrp="1"/>
          </p:cNvSpPr>
          <p:nvPr>
            <p:ph type="ftr" sz="quarter" idx="11"/>
          </p:nvPr>
        </p:nvSpPr>
        <p:spPr/>
        <p:txBody>
          <a:bodyPr/>
          <a:lstStyle/>
          <a:p>
            <a:endParaRPr lang="sv-SE"/>
          </a:p>
        </p:txBody>
      </p:sp>
      <p:sp>
        <p:nvSpPr>
          <p:cNvPr id="7" name="Platshållare för bildnummer 6"/>
          <p:cNvSpPr>
            <a:spLocks noGrp="1"/>
          </p:cNvSpPr>
          <p:nvPr>
            <p:ph type="sldNum" sz="quarter" idx="12"/>
          </p:nvPr>
        </p:nvSpPr>
        <p:spPr/>
        <p:txBody>
          <a:bodyPr/>
          <a:lstStyle/>
          <a:p>
            <a:fld id="{47223857-EF42-49B7-B1AE-BFF52E589DE0}" type="slidenum">
              <a:rPr lang="sv-SE" smtClean="0"/>
              <a:t>‹#›</a:t>
            </a:fld>
            <a:endParaRPr lang="sv-SE"/>
          </a:p>
        </p:txBody>
      </p:sp>
    </p:spTree>
    <p:extLst>
      <p:ext uri="{BB962C8B-B14F-4D97-AF65-F5344CB8AC3E}">
        <p14:creationId xmlns:p14="http://schemas.microsoft.com/office/powerpoint/2010/main" val="136819594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p:cNvSpPr>
            <a:spLocks noGrp="1"/>
          </p:cNvSpPr>
          <p:nvPr>
            <p:ph type="title"/>
          </p:nvPr>
        </p:nvSpPr>
        <p:spPr>
          <a:xfrm>
            <a:off x="839788" y="365125"/>
            <a:ext cx="10515600" cy="1325563"/>
          </a:xfrm>
        </p:spPr>
        <p:txBody>
          <a:bodyPr/>
          <a:lstStyle/>
          <a:p>
            <a:r>
              <a:rPr lang="sv-SE"/>
              <a:t>Klicka här för att ändra format</a:t>
            </a:r>
          </a:p>
        </p:txBody>
      </p:sp>
      <p:sp>
        <p:nvSpPr>
          <p:cNvPr id="3" name="Platshållare för text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dirty="0"/>
              <a:t>Klicka här för att ändra format på bakgrundstexten</a:t>
            </a:r>
          </a:p>
        </p:txBody>
      </p:sp>
      <p:sp>
        <p:nvSpPr>
          <p:cNvPr id="4" name="Platshållare för innehåll 3"/>
          <p:cNvSpPr>
            <a:spLocks noGrp="1"/>
          </p:cNvSpPr>
          <p:nvPr>
            <p:ph sz="half" idx="2"/>
          </p:nvPr>
        </p:nvSpPr>
        <p:spPr>
          <a:xfrm>
            <a:off x="839788" y="2505075"/>
            <a:ext cx="5157787" cy="368458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5" name="Platshållare för text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Klicka här för att ändra format på bakgrundstexten</a:t>
            </a:r>
          </a:p>
        </p:txBody>
      </p:sp>
      <p:sp>
        <p:nvSpPr>
          <p:cNvPr id="6" name="Platshållare för innehåll 5"/>
          <p:cNvSpPr>
            <a:spLocks noGrp="1"/>
          </p:cNvSpPr>
          <p:nvPr>
            <p:ph sz="quarter" idx="4"/>
          </p:nvPr>
        </p:nvSpPr>
        <p:spPr>
          <a:xfrm>
            <a:off x="6172200" y="2505075"/>
            <a:ext cx="5183188" cy="368458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7" name="Platshållare för datum 6"/>
          <p:cNvSpPr>
            <a:spLocks noGrp="1"/>
          </p:cNvSpPr>
          <p:nvPr>
            <p:ph type="dt" sz="half" idx="10"/>
          </p:nvPr>
        </p:nvSpPr>
        <p:spPr/>
        <p:txBody>
          <a:bodyPr/>
          <a:lstStyle/>
          <a:p>
            <a:fld id="{FA15A317-E1FD-4430-9064-36E69D31F355}" type="datetimeFigureOut">
              <a:rPr lang="sv-SE" smtClean="0"/>
              <a:t>2019-04-30</a:t>
            </a:fld>
            <a:endParaRPr lang="sv-SE"/>
          </a:p>
        </p:txBody>
      </p:sp>
      <p:sp>
        <p:nvSpPr>
          <p:cNvPr id="8" name="Platshållare för sidfot 7"/>
          <p:cNvSpPr>
            <a:spLocks noGrp="1"/>
          </p:cNvSpPr>
          <p:nvPr>
            <p:ph type="ftr" sz="quarter" idx="11"/>
          </p:nvPr>
        </p:nvSpPr>
        <p:spPr/>
        <p:txBody>
          <a:bodyPr/>
          <a:lstStyle/>
          <a:p>
            <a:endParaRPr lang="sv-SE"/>
          </a:p>
        </p:txBody>
      </p:sp>
      <p:sp>
        <p:nvSpPr>
          <p:cNvPr id="9" name="Platshållare för bildnummer 8"/>
          <p:cNvSpPr>
            <a:spLocks noGrp="1"/>
          </p:cNvSpPr>
          <p:nvPr>
            <p:ph type="sldNum" sz="quarter" idx="12"/>
          </p:nvPr>
        </p:nvSpPr>
        <p:spPr/>
        <p:txBody>
          <a:bodyPr/>
          <a:lstStyle/>
          <a:p>
            <a:fld id="{47223857-EF42-49B7-B1AE-BFF52E589DE0}" type="slidenum">
              <a:rPr lang="sv-SE" smtClean="0"/>
              <a:t>‹#›</a:t>
            </a:fld>
            <a:endParaRPr lang="sv-SE"/>
          </a:p>
        </p:txBody>
      </p:sp>
    </p:spTree>
    <p:extLst>
      <p:ext uri="{BB962C8B-B14F-4D97-AF65-F5344CB8AC3E}">
        <p14:creationId xmlns:p14="http://schemas.microsoft.com/office/powerpoint/2010/main" val="130024813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datum 2"/>
          <p:cNvSpPr>
            <a:spLocks noGrp="1"/>
          </p:cNvSpPr>
          <p:nvPr>
            <p:ph type="dt" sz="half" idx="10"/>
          </p:nvPr>
        </p:nvSpPr>
        <p:spPr/>
        <p:txBody>
          <a:bodyPr/>
          <a:lstStyle/>
          <a:p>
            <a:fld id="{FA15A317-E1FD-4430-9064-36E69D31F355}" type="datetimeFigureOut">
              <a:rPr lang="sv-SE" smtClean="0"/>
              <a:t>2019-04-30</a:t>
            </a:fld>
            <a:endParaRPr lang="sv-SE"/>
          </a:p>
        </p:txBody>
      </p:sp>
      <p:sp>
        <p:nvSpPr>
          <p:cNvPr id="4" name="Platshållare för sidfot 3"/>
          <p:cNvSpPr>
            <a:spLocks noGrp="1"/>
          </p:cNvSpPr>
          <p:nvPr>
            <p:ph type="ftr" sz="quarter" idx="11"/>
          </p:nvPr>
        </p:nvSpPr>
        <p:spPr/>
        <p:txBody>
          <a:bodyPr/>
          <a:lstStyle/>
          <a:p>
            <a:endParaRPr lang="sv-SE"/>
          </a:p>
        </p:txBody>
      </p:sp>
      <p:sp>
        <p:nvSpPr>
          <p:cNvPr id="5" name="Platshållare för bildnummer 4"/>
          <p:cNvSpPr>
            <a:spLocks noGrp="1"/>
          </p:cNvSpPr>
          <p:nvPr>
            <p:ph type="sldNum" sz="quarter" idx="12"/>
          </p:nvPr>
        </p:nvSpPr>
        <p:spPr/>
        <p:txBody>
          <a:bodyPr/>
          <a:lstStyle/>
          <a:p>
            <a:fld id="{47223857-EF42-49B7-B1AE-BFF52E589DE0}" type="slidenum">
              <a:rPr lang="sv-SE" smtClean="0"/>
              <a:t>‹#›</a:t>
            </a:fld>
            <a:endParaRPr lang="sv-SE"/>
          </a:p>
        </p:txBody>
      </p:sp>
    </p:spTree>
    <p:extLst>
      <p:ext uri="{BB962C8B-B14F-4D97-AF65-F5344CB8AC3E}">
        <p14:creationId xmlns:p14="http://schemas.microsoft.com/office/powerpoint/2010/main" val="4313709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3683" y="6187924"/>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pic>
        <p:nvPicPr>
          <p:cNvPr id="11" name="Image 6" descr="Log_AXIANS_CRVB.jpg">
            <a:extLst>
              <a:ext uri="{FF2B5EF4-FFF2-40B4-BE49-F238E27FC236}">
                <a16:creationId xmlns:a16="http://schemas.microsoft.com/office/drawing/2014/main" id="{1051920F-747A-4F43-B8FF-C834C64AE6BB}"/>
              </a:ext>
            </a:extLst>
          </p:cNvPr>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13882825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FA15A317-E1FD-4430-9064-36E69D31F355}" type="datetimeFigureOut">
              <a:rPr lang="sv-SE" smtClean="0"/>
              <a:t>2019-04-30</a:t>
            </a:fld>
            <a:endParaRPr lang="sv-SE"/>
          </a:p>
        </p:txBody>
      </p:sp>
      <p:sp>
        <p:nvSpPr>
          <p:cNvPr id="3" name="Platshållare för sidfot 2"/>
          <p:cNvSpPr>
            <a:spLocks noGrp="1"/>
          </p:cNvSpPr>
          <p:nvPr>
            <p:ph type="ftr" sz="quarter" idx="11"/>
          </p:nvPr>
        </p:nvSpPr>
        <p:spPr/>
        <p:txBody>
          <a:bodyPr/>
          <a:lstStyle/>
          <a:p>
            <a:endParaRPr lang="sv-SE"/>
          </a:p>
        </p:txBody>
      </p:sp>
      <p:sp>
        <p:nvSpPr>
          <p:cNvPr id="4" name="Platshållare för bildnummer 3"/>
          <p:cNvSpPr>
            <a:spLocks noGrp="1"/>
          </p:cNvSpPr>
          <p:nvPr>
            <p:ph type="sldNum" sz="quarter" idx="12"/>
          </p:nvPr>
        </p:nvSpPr>
        <p:spPr/>
        <p:txBody>
          <a:bodyPr/>
          <a:lstStyle/>
          <a:p>
            <a:fld id="{47223857-EF42-49B7-B1AE-BFF52E589DE0}" type="slidenum">
              <a:rPr lang="sv-SE" smtClean="0"/>
              <a:t>‹#›</a:t>
            </a:fld>
            <a:endParaRPr lang="sv-SE"/>
          </a:p>
        </p:txBody>
      </p:sp>
    </p:spTree>
    <p:extLst>
      <p:ext uri="{BB962C8B-B14F-4D97-AF65-F5344CB8AC3E}">
        <p14:creationId xmlns:p14="http://schemas.microsoft.com/office/powerpoint/2010/main" val="958565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Anpassad layout">
    <p:spTree>
      <p:nvGrpSpPr>
        <p:cNvPr id="1" name=""/>
        <p:cNvGrpSpPr/>
        <p:nvPr/>
      </p:nvGrpSpPr>
      <p:grpSpPr>
        <a:xfrm>
          <a:off x="0" y="0"/>
          <a:ext cx="0" cy="0"/>
          <a:chOff x="0" y="0"/>
          <a:chExt cx="0" cy="0"/>
        </a:xfrm>
      </p:grpSpPr>
      <p:sp>
        <p:nvSpPr>
          <p:cNvPr id="3" name="Platshållare för datum 2"/>
          <p:cNvSpPr>
            <a:spLocks noGrp="1"/>
          </p:cNvSpPr>
          <p:nvPr>
            <p:ph type="dt" sz="half" idx="10"/>
          </p:nvPr>
        </p:nvSpPr>
        <p:spPr/>
        <p:txBody>
          <a:bodyPr/>
          <a:lstStyle/>
          <a:p>
            <a:fld id="{026EB9C9-4BCB-46E5-B3B3-09AD3677738B}" type="datetimeFigureOut">
              <a:rPr lang="sv-SE" smtClean="0"/>
              <a:pPr/>
              <a:t>2019-04-30</a:t>
            </a:fld>
            <a:endParaRPr lang="sv-SE" dirty="0"/>
          </a:p>
        </p:txBody>
      </p:sp>
      <p:sp>
        <p:nvSpPr>
          <p:cNvPr id="4" name="Platshållare för sidfot 3"/>
          <p:cNvSpPr>
            <a:spLocks noGrp="1"/>
          </p:cNvSpPr>
          <p:nvPr>
            <p:ph type="ftr" sz="quarter" idx="11"/>
          </p:nvPr>
        </p:nvSpPr>
        <p:spPr/>
        <p:txBody>
          <a:bodyPr/>
          <a:lstStyle/>
          <a:p>
            <a:endParaRPr lang="sv-SE"/>
          </a:p>
        </p:txBody>
      </p:sp>
      <p:sp>
        <p:nvSpPr>
          <p:cNvPr id="5" name="Platshållare för bildnummer 4"/>
          <p:cNvSpPr>
            <a:spLocks noGrp="1"/>
          </p:cNvSpPr>
          <p:nvPr>
            <p:ph type="sldNum" sz="quarter" idx="12"/>
          </p:nvPr>
        </p:nvSpPr>
        <p:spPr/>
        <p:txBody>
          <a:bodyPr/>
          <a:lstStyle/>
          <a:p>
            <a:fld id="{3B240767-FD45-408F-98F7-E57F15A24E3D}" type="slidenum">
              <a:rPr lang="sv-SE" smtClean="0"/>
              <a:t>‹#›</a:t>
            </a:fld>
            <a:endParaRPr lang="sv-SE"/>
          </a:p>
        </p:txBody>
      </p:sp>
      <p:pic>
        <p:nvPicPr>
          <p:cNvPr id="7" name="Bildobjekt 6"/>
          <p:cNvPicPr>
            <a:picLocks noChangeAspect="1"/>
          </p:cNvPicPr>
          <p:nvPr userDrawn="1"/>
        </p:nvPicPr>
        <p:blipFill rotWithShape="1">
          <a:blip r:embed="rId2" cstate="print">
            <a:extLst>
              <a:ext uri="{28A0092B-C50C-407E-A947-70E740481C1C}">
                <a14:useLocalDpi xmlns:a14="http://schemas.microsoft.com/office/drawing/2010/main" val="0"/>
              </a:ext>
            </a:extLst>
          </a:blip>
          <a:srcRect t="74659"/>
          <a:stretch/>
        </p:blipFill>
        <p:spPr>
          <a:xfrm>
            <a:off x="387950" y="1420548"/>
            <a:ext cx="2367188" cy="388986"/>
          </a:xfrm>
          <a:prstGeom prst="rect">
            <a:avLst/>
          </a:prstGeom>
        </p:spPr>
      </p:pic>
      <p:pic>
        <p:nvPicPr>
          <p:cNvPr id="8" name="Bildobjekt 7"/>
          <p:cNvPicPr>
            <a:picLocks noChangeAspect="1"/>
          </p:cNvPicPr>
          <p:nvPr userDrawn="1"/>
        </p:nvPicPr>
        <p:blipFill rotWithShape="1">
          <a:blip r:embed="rId3" cstate="print">
            <a:extLst>
              <a:ext uri="{28A0092B-C50C-407E-A947-70E740481C1C}">
                <a14:useLocalDpi xmlns:a14="http://schemas.microsoft.com/office/drawing/2010/main" val="0"/>
              </a:ext>
            </a:extLst>
          </a:blip>
          <a:srcRect b="18582"/>
          <a:stretch/>
        </p:blipFill>
        <p:spPr>
          <a:xfrm>
            <a:off x="369465" y="302915"/>
            <a:ext cx="2374656" cy="1084582"/>
          </a:xfrm>
          <a:prstGeom prst="rect">
            <a:avLst/>
          </a:prstGeom>
        </p:spPr>
      </p:pic>
    </p:spTree>
    <p:extLst>
      <p:ext uri="{BB962C8B-B14F-4D97-AF65-F5344CB8AC3E}">
        <p14:creationId xmlns:p14="http://schemas.microsoft.com/office/powerpoint/2010/main" val="261310399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Anpassad layout">
    <p:spTree>
      <p:nvGrpSpPr>
        <p:cNvPr id="1" name=""/>
        <p:cNvGrpSpPr/>
        <p:nvPr/>
      </p:nvGrpSpPr>
      <p:grpSpPr>
        <a:xfrm>
          <a:off x="0" y="0"/>
          <a:ext cx="0" cy="0"/>
          <a:chOff x="0" y="0"/>
          <a:chExt cx="0" cy="0"/>
        </a:xfrm>
      </p:grpSpPr>
      <p:sp>
        <p:nvSpPr>
          <p:cNvPr id="2" name="Rubrik 1"/>
          <p:cNvSpPr>
            <a:spLocks noGrp="1"/>
          </p:cNvSpPr>
          <p:nvPr>
            <p:ph type="title"/>
          </p:nvPr>
        </p:nvSpPr>
        <p:spPr>
          <a:xfrm>
            <a:off x="838200" y="365125"/>
            <a:ext cx="10515600" cy="1325563"/>
          </a:xfrm>
          <a:prstGeom prst="rect">
            <a:avLst/>
          </a:prstGeom>
        </p:spPr>
        <p:txBody>
          <a:bodyPr/>
          <a:lstStyle>
            <a:lvl1pPr>
              <a:defRPr>
                <a:latin typeface="Segoe UI Light" panose="020B0502040204020203" pitchFamily="34" charset="0"/>
              </a:defRPr>
            </a:lvl1pPr>
          </a:lstStyle>
          <a:p>
            <a:r>
              <a:rPr lang="sv-SE" dirty="0"/>
              <a:t>Klicka här för att ändra format</a:t>
            </a:r>
          </a:p>
        </p:txBody>
      </p:sp>
      <p:sp>
        <p:nvSpPr>
          <p:cNvPr id="3" name="Platshållare för datum 2"/>
          <p:cNvSpPr>
            <a:spLocks noGrp="1"/>
          </p:cNvSpPr>
          <p:nvPr>
            <p:ph type="dt" sz="half" idx="10"/>
          </p:nvPr>
        </p:nvSpPr>
        <p:spPr/>
        <p:txBody>
          <a:bodyPr/>
          <a:lstStyle/>
          <a:p>
            <a:fld id="{026EB9C9-4BCB-46E5-B3B3-09AD3677738B}" type="datetimeFigureOut">
              <a:rPr lang="sv-SE" smtClean="0"/>
              <a:pPr/>
              <a:t>2019-04-30</a:t>
            </a:fld>
            <a:endParaRPr lang="sv-SE" dirty="0"/>
          </a:p>
        </p:txBody>
      </p:sp>
      <p:sp>
        <p:nvSpPr>
          <p:cNvPr id="4" name="Platshållare för sidfot 3"/>
          <p:cNvSpPr>
            <a:spLocks noGrp="1"/>
          </p:cNvSpPr>
          <p:nvPr>
            <p:ph type="ftr" sz="quarter" idx="11"/>
          </p:nvPr>
        </p:nvSpPr>
        <p:spPr/>
        <p:txBody>
          <a:bodyPr/>
          <a:lstStyle/>
          <a:p>
            <a:endParaRPr lang="sv-SE"/>
          </a:p>
        </p:txBody>
      </p:sp>
      <p:sp>
        <p:nvSpPr>
          <p:cNvPr id="5" name="Platshållare för bildnummer 4"/>
          <p:cNvSpPr>
            <a:spLocks noGrp="1"/>
          </p:cNvSpPr>
          <p:nvPr>
            <p:ph type="sldNum" sz="quarter" idx="12"/>
          </p:nvPr>
        </p:nvSpPr>
        <p:spPr/>
        <p:txBody>
          <a:bodyPr/>
          <a:lstStyle/>
          <a:p>
            <a:fld id="{3B240767-FD45-408F-98F7-E57F15A24E3D}" type="slidenum">
              <a:rPr lang="sv-SE" smtClean="0"/>
              <a:t>‹#›</a:t>
            </a:fld>
            <a:endParaRPr lang="sv-SE"/>
          </a:p>
        </p:txBody>
      </p:sp>
    </p:spTree>
    <p:extLst>
      <p:ext uri="{BB962C8B-B14F-4D97-AF65-F5344CB8AC3E}">
        <p14:creationId xmlns:p14="http://schemas.microsoft.com/office/powerpoint/2010/main" val="178413428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itle">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1524000" y="1122363"/>
            <a:ext cx="9144000" cy="2387600"/>
          </a:xfrm>
        </p:spPr>
        <p:txBody>
          <a:bodyPr anchor="b"/>
          <a:lstStyle>
            <a:lvl1pPr algn="ctr">
              <a:defRPr sz="6000"/>
            </a:lvl1pPr>
          </a:lstStyle>
          <a:p>
            <a:r>
              <a:rPr lang="sv-SE"/>
              <a:t>Klicka här för att ändra format</a:t>
            </a:r>
          </a:p>
        </p:txBody>
      </p:sp>
      <p:sp>
        <p:nvSpPr>
          <p:cNvPr id="3" name="Underrubrik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format på underrubrik i bakgrunden</a:t>
            </a:r>
          </a:p>
        </p:txBody>
      </p:sp>
      <p:sp>
        <p:nvSpPr>
          <p:cNvPr id="4" name="Platshållare för datum 3"/>
          <p:cNvSpPr>
            <a:spLocks noGrp="1"/>
          </p:cNvSpPr>
          <p:nvPr>
            <p:ph type="dt" sz="half" idx="10"/>
          </p:nvPr>
        </p:nvSpPr>
        <p:spPr/>
        <p:txBody>
          <a:bodyPr/>
          <a:lstStyle/>
          <a:p>
            <a:fld id="{FBD22349-5E18-4989-94A1-75AC9DB5DB2C}" type="datetimeFigureOut">
              <a:rPr lang="sv-SE" smtClean="0"/>
              <a:t>2019-04-30</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B2E174F7-330F-4C66-BFD9-72920310CF6E}" type="slidenum">
              <a:rPr lang="sv-SE" smtClean="0"/>
              <a:t>‹#›</a:t>
            </a:fld>
            <a:endParaRPr lang="sv-SE"/>
          </a:p>
        </p:txBody>
      </p:sp>
    </p:spTree>
    <p:extLst>
      <p:ext uri="{BB962C8B-B14F-4D97-AF65-F5344CB8AC3E}">
        <p14:creationId xmlns:p14="http://schemas.microsoft.com/office/powerpoint/2010/main" val="175453142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74639" y="1562101"/>
            <a:ext cx="11653523" cy="2050772"/>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79922673"/>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3150222019"/>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4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Rectangle 2"/>
          <p:cNvSpPr/>
          <p:nvPr userDrawn="1"/>
        </p:nvSpPr>
        <p:spPr bwMode="auto">
          <a:xfrm>
            <a:off x="508550" y="3575431"/>
            <a:ext cx="11192219" cy="3076192"/>
          </a:xfrm>
          <a:prstGeom prst="rect">
            <a:avLst/>
          </a:prstGeom>
          <a:solidFill>
            <a:schemeClr val="tx2"/>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2297802" y="1796852"/>
            <a:ext cx="9402967" cy="1737875"/>
          </a:xfrm>
          <a:prstGeom prst="rect">
            <a:avLst/>
          </a:prstGeom>
          <a:solidFill>
            <a:schemeClr val="tx2"/>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508550" y="1832855"/>
            <a:ext cx="1789252" cy="1586325"/>
          </a:xfrm>
          <a:prstGeom prst="rect">
            <a:avLst/>
          </a:prstGeom>
          <a:solidFill>
            <a:schemeClr val="accent1">
              <a:lumMod val="7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white"/>
              </a:solidFill>
              <a:effectLst/>
              <a:uLnTx/>
              <a:uFillTx/>
              <a:latin typeface="Segoe UI"/>
              <a:ea typeface="+mn-ea"/>
              <a:cs typeface="+mn-cs"/>
            </a:endParaRPr>
          </a:p>
        </p:txBody>
      </p:sp>
      <p:cxnSp>
        <p:nvCxnSpPr>
          <p:cNvPr id="59" name="Straight Connector 58"/>
          <p:cNvCxnSpPr/>
          <p:nvPr userDrawn="1"/>
        </p:nvCxnSpPr>
        <p:spPr>
          <a:xfrm>
            <a:off x="5309465" y="1996633"/>
            <a:ext cx="0" cy="1313986"/>
          </a:xfrm>
          <a:prstGeom prst="line">
            <a:avLst/>
          </a:prstGeom>
          <a:ln w="6350">
            <a:gradFill>
              <a:gsLst>
                <a:gs pos="0">
                  <a:srgbClr val="002050">
                    <a:alpha val="59000"/>
                  </a:srgbClr>
                </a:gs>
                <a:gs pos="100000">
                  <a:srgbClr val="002050"/>
                </a:gs>
              </a:gsLst>
              <a:lin ang="5400000" scaled="1"/>
            </a:gradFill>
          </a:ln>
        </p:spPr>
        <p:style>
          <a:lnRef idx="1">
            <a:schemeClr val="accent1"/>
          </a:lnRef>
          <a:fillRef idx="0">
            <a:schemeClr val="accent1"/>
          </a:fillRef>
          <a:effectRef idx="0">
            <a:schemeClr val="accent1"/>
          </a:effectRef>
          <a:fontRef idx="minor">
            <a:schemeClr val="tx1"/>
          </a:fontRef>
        </p:style>
      </p:cxnSp>
      <p:sp>
        <p:nvSpPr>
          <p:cNvPr id="60" name="Isosceles Triangle 59"/>
          <p:cNvSpPr/>
          <p:nvPr userDrawn="1"/>
        </p:nvSpPr>
        <p:spPr bwMode="auto">
          <a:xfrm rot="5400000">
            <a:off x="-128132" y="2476620"/>
            <a:ext cx="1701872" cy="428508"/>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828501" y="2104245"/>
            <a:ext cx="1149350" cy="1098762"/>
          </a:xfrm>
        </p:spPr>
        <p:txBody>
          <a:bodyPr/>
          <a:lstStyle>
            <a:lvl1pPr marL="0" indent="0" algn="ctr">
              <a:buNone/>
              <a:defRPr sz="6598"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2476500" y="2225484"/>
            <a:ext cx="2659303" cy="886397"/>
          </a:xfrm>
        </p:spPr>
        <p:txBody>
          <a:bodyPr lIns="0" tIns="0" rIns="0" bIns="0" anchor="ctr"/>
          <a:lstStyle>
            <a:lvl1pPr marL="0" indent="0">
              <a:buNone/>
              <a:defRPr sz="3200">
                <a:solidFill>
                  <a:schemeClr val="bg1"/>
                </a:solidFill>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8" name="Text Placeholder 66"/>
          <p:cNvSpPr>
            <a:spLocks noGrp="1"/>
          </p:cNvSpPr>
          <p:nvPr>
            <p:ph type="body" sz="quarter" idx="12"/>
          </p:nvPr>
        </p:nvSpPr>
        <p:spPr>
          <a:xfrm>
            <a:off x="5455754" y="2530183"/>
            <a:ext cx="5996440" cy="276999"/>
          </a:xfrm>
        </p:spPr>
        <p:txBody>
          <a:bodyPr lIns="0" tIns="0" rIns="0" bIns="0" anchor="ctr"/>
          <a:lstStyle>
            <a:lvl1pPr marL="0" indent="0">
              <a:buNone/>
              <a:defRPr sz="2000">
                <a:solidFill>
                  <a:schemeClr val="bg1"/>
                </a:solidFill>
                <a:latin typeface="+mn-lt"/>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9" name="Text Placeholder 7"/>
          <p:cNvSpPr>
            <a:spLocks noGrp="1"/>
          </p:cNvSpPr>
          <p:nvPr>
            <p:ph type="body" sz="quarter" idx="13"/>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Tree>
    <p:extLst>
      <p:ext uri="{BB962C8B-B14F-4D97-AF65-F5344CB8AC3E}">
        <p14:creationId xmlns:p14="http://schemas.microsoft.com/office/powerpoint/2010/main" val="644896383"/>
      </p:ext>
    </p:extLst>
  </p:cSld>
  <p:clrMapOvr>
    <a:masterClrMapping/>
  </p:clrMapOvr>
  <p:transition>
    <p:fade/>
  </p:transition>
  <p:extLst mod="1">
    <p:ext uri="{DCECCB84-F9BA-43D5-87BE-67443E8EF086}">
      <p15:sldGuideLst xmlns:p15="http://schemas.microsoft.com/office/powerpoint/2012/main">
        <p15:guide id="1" orient="horz" pos="1104">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5_Title &amp; Non-bulleted text">
    <p:spTree>
      <p:nvGrpSpPr>
        <p:cNvPr id="1" name=""/>
        <p:cNvGrpSpPr/>
        <p:nvPr/>
      </p:nvGrpSpPr>
      <p:grpSpPr>
        <a:xfrm>
          <a:off x="0" y="0"/>
          <a:ext cx="0" cy="0"/>
          <a:chOff x="0" y="0"/>
          <a:chExt cx="0" cy="0"/>
        </a:xfrm>
      </p:grpSpPr>
      <p:sp>
        <p:nvSpPr>
          <p:cNvPr id="3" name="Rectangle 2"/>
          <p:cNvSpPr/>
          <p:nvPr userDrawn="1"/>
        </p:nvSpPr>
        <p:spPr bwMode="auto">
          <a:xfrm>
            <a:off x="0" y="3575431"/>
            <a:ext cx="12192000" cy="3282570"/>
          </a:xfrm>
          <a:prstGeom prst="rect">
            <a:avLst/>
          </a:prstGeom>
          <a:solidFill>
            <a:schemeClr val="tx1">
              <a:lumMod val="95000"/>
            </a:schemeClr>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1805328" y="1796852"/>
            <a:ext cx="10386672" cy="1737875"/>
          </a:xfrm>
          <a:prstGeom prst="rect">
            <a:avLst/>
          </a:prstGeom>
          <a:solidFill>
            <a:schemeClr val="tx1">
              <a:lumMod val="9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8038" y="1796852"/>
            <a:ext cx="1789252" cy="1737874"/>
          </a:xfrm>
          <a:prstGeom prst="rect">
            <a:avLst/>
          </a:prstGeom>
          <a:solidFill>
            <a:schemeClr val="bg2"/>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60" name="Isosceles Triangle 59"/>
          <p:cNvSpPr/>
          <p:nvPr userDrawn="1"/>
        </p:nvSpPr>
        <p:spPr bwMode="auto">
          <a:xfrm rot="5400000">
            <a:off x="-631960" y="2473078"/>
            <a:ext cx="1694788" cy="428508"/>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441218" y="2175269"/>
            <a:ext cx="1149350" cy="1098762"/>
          </a:xfrm>
        </p:spPr>
        <p:txBody>
          <a:bodyPr/>
          <a:lstStyle>
            <a:lvl1pPr marL="0" indent="0" algn="ctr">
              <a:buNone/>
              <a:defRPr sz="6598"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1938928" y="1953670"/>
            <a:ext cx="9513266" cy="443198"/>
          </a:xfrm>
        </p:spPr>
        <p:txBody>
          <a:bodyPr lIns="0" tIns="0" rIns="0" bIns="0" anchor="ctr"/>
          <a:lstStyle>
            <a:lvl1pPr marL="0" indent="0">
              <a:buNone/>
              <a:defRPr sz="3200">
                <a:solidFill>
                  <a:schemeClr val="bg1"/>
                </a:solidFill>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8" name="Text Placeholder 66"/>
          <p:cNvSpPr>
            <a:spLocks noGrp="1"/>
          </p:cNvSpPr>
          <p:nvPr>
            <p:ph type="body" sz="quarter" idx="12"/>
          </p:nvPr>
        </p:nvSpPr>
        <p:spPr>
          <a:xfrm>
            <a:off x="1938928" y="2530183"/>
            <a:ext cx="9513266" cy="276999"/>
          </a:xfrm>
        </p:spPr>
        <p:txBody>
          <a:bodyPr lIns="0" tIns="0" rIns="0" bIns="0" anchor="t" anchorCtr="0"/>
          <a:lstStyle>
            <a:lvl1pPr marL="0" indent="0">
              <a:buNone/>
              <a:defRPr sz="2000">
                <a:solidFill>
                  <a:schemeClr val="bg1"/>
                </a:solidFill>
                <a:latin typeface="+mn-lt"/>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4" name="Title 3"/>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198608611"/>
      </p:ext>
    </p:extLst>
  </p:cSld>
  <p:clrMapOvr>
    <a:masterClrMapping/>
  </p:clrMapOvr>
  <p:transition>
    <p:fade/>
  </p:transition>
  <p:extLst mod="1">
    <p:ext uri="{DCECCB84-F9BA-43D5-87BE-67443E8EF086}">
      <p15:sldGuideLst xmlns:p15="http://schemas.microsoft.com/office/powerpoint/2012/main">
        <p15:guide id="1" orient="horz" pos="1104">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Dark Band sing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939937794"/>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Dark Band -side conten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3507643"/>
            <a:ext cx="4572000" cy="893643"/>
          </a:xfrm>
        </p:spPr>
        <p:txBody>
          <a:bodyPr vert="horz" wrap="square" lIns="146304" tIns="91440" rIns="146304" bIns="91440" rtlCol="0" anchor="ctr">
            <a:spAutoFit/>
          </a:bodyPr>
          <a:lstStyle>
            <a:lvl1pPr marL="457112" indent="-457112">
              <a:spcBef>
                <a:spcPts val="2400"/>
              </a:spcBef>
              <a:buClr>
                <a:srgbClr val="B4A0FF"/>
              </a:buClr>
              <a:buFont typeface="Webdings" panose="05030102010509060703" pitchFamily="18" charset="2"/>
              <a:buChar char="4"/>
              <a:defRPr lang="en-US" sz="2856" kern="1200" spc="0" baseline="0" dirty="0" smtClean="0">
                <a:solidFill>
                  <a:schemeClr val="tx1"/>
                </a:solidFill>
                <a:latin typeface="Segoe UI Light"/>
                <a:ea typeface="+mn-ea"/>
                <a:cs typeface="+mn-cs"/>
              </a:defRPr>
            </a:lvl1pPr>
            <a:lvl2pPr marL="685668" indent="0">
              <a:defRPr lang="en-US" sz="1800" smtClean="0">
                <a:solidFill>
                  <a:schemeClr val="tx1"/>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
        <p:nvSpPr>
          <p:cNvPr id="5" name="Text Placeholder 7"/>
          <p:cNvSpPr>
            <a:spLocks noGrp="1"/>
          </p:cNvSpPr>
          <p:nvPr>
            <p:ph type="body" sz="quarter" idx="11"/>
          </p:nvPr>
        </p:nvSpPr>
        <p:spPr>
          <a:xfrm>
            <a:off x="274639" y="1052513"/>
            <a:ext cx="11704637" cy="580223"/>
          </a:xfrm>
        </p:spPr>
        <p:txBody>
          <a:bodyPr vert="horz" wrap="square" lIns="146304" tIns="91440" rIns="146304" bIns="91440" rtlCol="0">
            <a:spAutoFit/>
          </a:bodyPr>
          <a:lstStyle>
            <a:lvl1pPr>
              <a:defRPr lang="en-US" sz="2800" dirty="0" smtClean="0">
                <a:solidFill>
                  <a:srgbClr val="0070C0"/>
                </a:solidFill>
              </a:defRPr>
            </a:lvl1pPr>
          </a:lstStyle>
          <a:p>
            <a:pPr marL="0" lvl="0" indent="0">
              <a:buNone/>
            </a:pPr>
            <a:r>
              <a:rPr lang="en-US" dirty="0"/>
              <a:t>Click to edit Master text styles</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81506344"/>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4" name="Titre 3"/>
          <p:cNvSpPr>
            <a:spLocks noGrp="1"/>
          </p:cNvSpPr>
          <p:nvPr>
            <p:ph type="title"/>
          </p:nvPr>
        </p:nvSpPr>
        <p:spPr/>
        <p:txBody>
          <a:bodyPr/>
          <a:lstStyle>
            <a:lvl1pPr>
              <a:defRPr>
                <a:solidFill>
                  <a:schemeClr val="bg1"/>
                </a:solidFill>
              </a:defRPr>
            </a:lvl1pPr>
          </a:lstStyle>
          <a:p>
            <a:r>
              <a:rPr lang="en-GB" err="1"/>
              <a:t>Modifiez</a:t>
            </a:r>
            <a:r>
              <a:rPr lang="en-GB"/>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57" name="Espace réservé pour une image  56"/>
          <p:cNvSpPr>
            <a:spLocks noGrp="1"/>
          </p:cNvSpPr>
          <p:nvPr>
            <p:ph type="pic" sz="quarter" idx="10"/>
          </p:nvPr>
        </p:nvSpPr>
        <p:spPr>
          <a:xfrm>
            <a:off x="1761067" y="1198443"/>
            <a:ext cx="8669867" cy="4346255"/>
          </a:xfrm>
          <a:custGeom>
            <a:avLst/>
            <a:gdLst>
              <a:gd name="connsiteX0" fmla="*/ 6107487 w 6502400"/>
              <a:gd name="connsiteY0" fmla="*/ 3159716 h 3259691"/>
              <a:gd name="connsiteX1" fmla="*/ 6160585 w 6502400"/>
              <a:gd name="connsiteY1" fmla="*/ 3170436 h 3259691"/>
              <a:gd name="connsiteX2" fmla="*/ 6107488 w 6502400"/>
              <a:gd name="connsiteY2" fmla="*/ 3159716 h 3259691"/>
              <a:gd name="connsiteX3" fmla="*/ 152362 w 6502400"/>
              <a:gd name="connsiteY3" fmla="*/ 2752632 h 3259691"/>
              <a:gd name="connsiteX4" fmla="*/ 140361 w 6502400"/>
              <a:gd name="connsiteY4" fmla="*/ 2760723 h 3259691"/>
              <a:gd name="connsiteX5" fmla="*/ 55105 w 6502400"/>
              <a:gd name="connsiteY5" fmla="*/ 2777935 h 3259691"/>
              <a:gd name="connsiteX6" fmla="*/ 55105 w 6502400"/>
              <a:gd name="connsiteY6" fmla="*/ 2777935 h 3259691"/>
              <a:gd name="connsiteX7" fmla="*/ 99246 w 6502400"/>
              <a:gd name="connsiteY7" fmla="*/ 2773485 h 3259691"/>
              <a:gd name="connsiteX8" fmla="*/ 192667 w 6502400"/>
              <a:gd name="connsiteY8" fmla="*/ 2725457 h 3259691"/>
              <a:gd name="connsiteX9" fmla="*/ 168679 w 6502400"/>
              <a:gd name="connsiteY9" fmla="*/ 2746225 h 3259691"/>
              <a:gd name="connsiteX10" fmla="*/ 152362 w 6502400"/>
              <a:gd name="connsiteY10" fmla="*/ 2752632 h 3259691"/>
              <a:gd name="connsiteX11" fmla="*/ 215354 w 6502400"/>
              <a:gd name="connsiteY11" fmla="*/ 2705816 h 3259691"/>
              <a:gd name="connsiteX12" fmla="*/ 209982 w 6502400"/>
              <a:gd name="connsiteY12" fmla="*/ 2713783 h 3259691"/>
              <a:gd name="connsiteX13" fmla="*/ 192667 w 6502400"/>
              <a:gd name="connsiteY13" fmla="*/ 2725457 h 3259691"/>
              <a:gd name="connsiteX14" fmla="*/ 227647 w 6502400"/>
              <a:gd name="connsiteY14" fmla="*/ 2687582 h 3259691"/>
              <a:gd name="connsiteX15" fmla="*/ 229221 w 6502400"/>
              <a:gd name="connsiteY15" fmla="*/ 2689333 h 3259691"/>
              <a:gd name="connsiteX16" fmla="*/ 224118 w 6502400"/>
              <a:gd name="connsiteY16" fmla="*/ 2698229 h 3259691"/>
              <a:gd name="connsiteX17" fmla="*/ 215354 w 6502400"/>
              <a:gd name="connsiteY17" fmla="*/ 2705816 h 3259691"/>
              <a:gd name="connsiteX18" fmla="*/ 473157 w 6502400"/>
              <a:gd name="connsiteY18" fmla="*/ 0 h 3259691"/>
              <a:gd name="connsiteX19" fmla="*/ 6029243 w 6502400"/>
              <a:gd name="connsiteY19" fmla="*/ 0 h 3259691"/>
              <a:gd name="connsiteX20" fmla="*/ 6502400 w 6502400"/>
              <a:gd name="connsiteY20" fmla="*/ 473157 h 3259691"/>
              <a:gd name="connsiteX21" fmla="*/ 6502400 w 6502400"/>
              <a:gd name="connsiteY21" fmla="*/ 2784153 h 3259691"/>
              <a:gd name="connsiteX22" fmla="*/ 6492787 w 6502400"/>
              <a:gd name="connsiteY22" fmla="*/ 2879511 h 3259691"/>
              <a:gd name="connsiteX23" fmla="*/ 6471027 w 6502400"/>
              <a:gd name="connsiteY23" fmla="*/ 2949612 h 3259691"/>
              <a:gd name="connsiteX24" fmla="*/ 6289795 w 6502400"/>
              <a:gd name="connsiteY24" fmla="*/ 2997917 h 3259691"/>
              <a:gd name="connsiteX25" fmla="*/ 6289716 w 6502400"/>
              <a:gd name="connsiteY25" fmla="*/ 2997951 h 3259691"/>
              <a:gd name="connsiteX26" fmla="*/ 6296998 w 6502400"/>
              <a:gd name="connsiteY26" fmla="*/ 3034023 h 3259691"/>
              <a:gd name="connsiteX27" fmla="*/ 6160585 w 6502400"/>
              <a:gd name="connsiteY27" fmla="*/ 2897610 h 3259691"/>
              <a:gd name="connsiteX28" fmla="*/ 6024172 w 6502400"/>
              <a:gd name="connsiteY28" fmla="*/ 3034023 h 3259691"/>
              <a:gd name="connsiteX29" fmla="*/ 6034892 w 6502400"/>
              <a:gd name="connsiteY29" fmla="*/ 3087121 h 3259691"/>
              <a:gd name="connsiteX30" fmla="*/ 6054023 w 6502400"/>
              <a:gd name="connsiteY30" fmla="*/ 3115496 h 3259691"/>
              <a:gd name="connsiteX31" fmla="*/ 6045354 w 6502400"/>
              <a:gd name="connsiteY31" fmla="*/ 3102639 h 3259691"/>
              <a:gd name="connsiteX32" fmla="*/ 6044375 w 6502400"/>
              <a:gd name="connsiteY32" fmla="*/ 3103058 h 3259691"/>
              <a:gd name="connsiteX33" fmla="*/ 5794026 w 6502400"/>
              <a:gd name="connsiteY33" fmla="*/ 3259691 h 3259691"/>
              <a:gd name="connsiteX34" fmla="*/ 739866 w 6502400"/>
              <a:gd name="connsiteY34" fmla="*/ 3257310 h 3259691"/>
              <a:gd name="connsiteX35" fmla="*/ 229221 w 6502400"/>
              <a:gd name="connsiteY35" fmla="*/ 2689333 h 3259691"/>
              <a:gd name="connsiteX36" fmla="*/ 260843 w 6502400"/>
              <a:gd name="connsiteY36" fmla="*/ 2634216 h 3259691"/>
              <a:gd name="connsiteX37" fmla="*/ 274133 w 6502400"/>
              <a:gd name="connsiteY37" fmla="*/ 2558906 h 3259691"/>
              <a:gd name="connsiteX38" fmla="*/ 55104 w 6502400"/>
              <a:gd name="connsiteY38" fmla="*/ 2339877 h 3259691"/>
              <a:gd name="connsiteX39" fmla="*/ 10962 w 6502400"/>
              <a:gd name="connsiteY39" fmla="*/ 2344327 h 3259691"/>
              <a:gd name="connsiteX40" fmla="*/ 0 w 6502400"/>
              <a:gd name="connsiteY40" fmla="*/ 2347730 h 3259691"/>
              <a:gd name="connsiteX41" fmla="*/ 0 w 6502400"/>
              <a:gd name="connsiteY41" fmla="*/ 473157 h 3259691"/>
              <a:gd name="connsiteX42" fmla="*/ 473157 w 6502400"/>
              <a:gd name="connsiteY42" fmla="*/ 0 h 3259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6502400" h="3259691">
                <a:moveTo>
                  <a:pt x="6107487" y="3159716"/>
                </a:moveTo>
                <a:lnTo>
                  <a:pt x="6160585" y="3170436"/>
                </a:lnTo>
                <a:cubicBezTo>
                  <a:pt x="6141751" y="3170436"/>
                  <a:pt x="6123808" y="3166619"/>
                  <a:pt x="6107488" y="3159716"/>
                </a:cubicBezTo>
                <a:close/>
                <a:moveTo>
                  <a:pt x="152362" y="2752632"/>
                </a:moveTo>
                <a:lnTo>
                  <a:pt x="140361" y="2760723"/>
                </a:lnTo>
                <a:cubicBezTo>
                  <a:pt x="114157" y="2771806"/>
                  <a:pt x="85347" y="2777935"/>
                  <a:pt x="55105" y="2777935"/>
                </a:cubicBezTo>
                <a:lnTo>
                  <a:pt x="55105" y="2777935"/>
                </a:lnTo>
                <a:lnTo>
                  <a:pt x="99246" y="2773485"/>
                </a:lnTo>
                <a:close/>
                <a:moveTo>
                  <a:pt x="192667" y="2725457"/>
                </a:moveTo>
                <a:lnTo>
                  <a:pt x="168679" y="2746225"/>
                </a:lnTo>
                <a:lnTo>
                  <a:pt x="152362" y="2752632"/>
                </a:lnTo>
                <a:close/>
                <a:moveTo>
                  <a:pt x="215354" y="2705816"/>
                </a:moveTo>
                <a:lnTo>
                  <a:pt x="209982" y="2713783"/>
                </a:lnTo>
                <a:lnTo>
                  <a:pt x="192667" y="2725457"/>
                </a:lnTo>
                <a:close/>
                <a:moveTo>
                  <a:pt x="227647" y="2687582"/>
                </a:moveTo>
                <a:lnTo>
                  <a:pt x="229221" y="2689333"/>
                </a:lnTo>
                <a:lnTo>
                  <a:pt x="224118" y="2698229"/>
                </a:lnTo>
                <a:lnTo>
                  <a:pt x="215354" y="2705816"/>
                </a:lnTo>
                <a:close/>
                <a:moveTo>
                  <a:pt x="473157" y="0"/>
                </a:moveTo>
                <a:lnTo>
                  <a:pt x="6029243" y="0"/>
                </a:lnTo>
                <a:cubicBezTo>
                  <a:pt x="6290560" y="0"/>
                  <a:pt x="6502400" y="211840"/>
                  <a:pt x="6502400" y="473157"/>
                </a:cubicBezTo>
                <a:lnTo>
                  <a:pt x="6502400" y="2784153"/>
                </a:lnTo>
                <a:cubicBezTo>
                  <a:pt x="6502400" y="2816818"/>
                  <a:pt x="6499090" y="2848709"/>
                  <a:pt x="6492787" y="2879511"/>
                </a:cubicBezTo>
                <a:lnTo>
                  <a:pt x="6471027" y="2949612"/>
                </a:lnTo>
                <a:lnTo>
                  <a:pt x="6289795" y="2997917"/>
                </a:lnTo>
                <a:lnTo>
                  <a:pt x="6289716" y="2997951"/>
                </a:lnTo>
                <a:lnTo>
                  <a:pt x="6296998" y="3034023"/>
                </a:lnTo>
                <a:cubicBezTo>
                  <a:pt x="6296998" y="2958684"/>
                  <a:pt x="6235924" y="2897610"/>
                  <a:pt x="6160585" y="2897610"/>
                </a:cubicBezTo>
                <a:cubicBezTo>
                  <a:pt x="6085246" y="2897610"/>
                  <a:pt x="6024172" y="2958684"/>
                  <a:pt x="6024172" y="3034023"/>
                </a:cubicBezTo>
                <a:cubicBezTo>
                  <a:pt x="6024172" y="3052858"/>
                  <a:pt x="6027989" y="3070801"/>
                  <a:pt x="6034892" y="3087121"/>
                </a:cubicBezTo>
                <a:lnTo>
                  <a:pt x="6054023" y="3115496"/>
                </a:lnTo>
                <a:lnTo>
                  <a:pt x="6045354" y="3102639"/>
                </a:lnTo>
                <a:lnTo>
                  <a:pt x="6044375" y="3103058"/>
                </a:lnTo>
                <a:lnTo>
                  <a:pt x="5794026" y="3259691"/>
                </a:lnTo>
                <a:lnTo>
                  <a:pt x="739866" y="3257310"/>
                </a:lnTo>
                <a:lnTo>
                  <a:pt x="229221" y="2689333"/>
                </a:lnTo>
                <a:lnTo>
                  <a:pt x="260843" y="2634216"/>
                </a:lnTo>
                <a:cubicBezTo>
                  <a:pt x="269441" y="2610733"/>
                  <a:pt x="274133" y="2585367"/>
                  <a:pt x="274133" y="2558906"/>
                </a:cubicBezTo>
                <a:cubicBezTo>
                  <a:pt x="274133" y="2437940"/>
                  <a:pt x="176070" y="2339877"/>
                  <a:pt x="55104" y="2339877"/>
                </a:cubicBezTo>
                <a:cubicBezTo>
                  <a:pt x="39984" y="2339877"/>
                  <a:pt x="25221" y="2341409"/>
                  <a:pt x="10962" y="2344327"/>
                </a:cubicBezTo>
                <a:lnTo>
                  <a:pt x="0" y="2347730"/>
                </a:lnTo>
                <a:lnTo>
                  <a:pt x="0" y="473157"/>
                </a:lnTo>
                <a:cubicBezTo>
                  <a:pt x="0" y="211840"/>
                  <a:pt x="211840" y="0"/>
                  <a:pt x="473157" y="0"/>
                </a:cubicBez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GB" sz="2400">
                <a:solidFill>
                  <a:schemeClr val="lt1"/>
                </a:solidFill>
                <a:latin typeface="+mn-lt"/>
              </a:defRPr>
            </a:lvl1pPr>
          </a:lstStyle>
          <a:p>
            <a:pPr marL="0" lvl="0" algn="ctr"/>
            <a:endParaRPr lang="en-GB"/>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pic>
        <p:nvPicPr>
          <p:cNvPr id="104" name="Image 103"/>
          <p:cNvPicPr>
            <a:picLocks noChangeAspect="1"/>
          </p:cNvPicPr>
          <p:nvPr userDrawn="1"/>
        </p:nvPicPr>
        <p:blipFill>
          <a:blip r:embed="rId3"/>
          <a:srcRect/>
          <a:stretch>
            <a:fillRect/>
          </a:stretch>
        </p:blipFill>
        <p:spPr>
          <a:xfrm>
            <a:off x="-467455" y="-397260"/>
            <a:ext cx="3194581" cy="3194581"/>
          </a:xfrm>
          <a:custGeom>
            <a:avLst/>
            <a:gdLst>
              <a:gd name="connsiteX0" fmla="*/ 0 w 2395936"/>
              <a:gd name="connsiteY0" fmla="*/ 0 h 2395936"/>
              <a:gd name="connsiteX1" fmla="*/ 2395936 w 2395936"/>
              <a:gd name="connsiteY1" fmla="*/ 0 h 2395936"/>
              <a:gd name="connsiteX2" fmla="*/ 2395936 w 2395936"/>
              <a:gd name="connsiteY2" fmla="*/ 1196777 h 2395936"/>
              <a:gd name="connsiteX3" fmla="*/ 2133017 w 2395936"/>
              <a:gd name="connsiteY3" fmla="*/ 1196777 h 2395936"/>
              <a:gd name="connsiteX4" fmla="*/ 1671391 w 2395936"/>
              <a:gd name="connsiteY4" fmla="*/ 1658403 h 2395936"/>
              <a:gd name="connsiteX5" fmla="*/ 1671391 w 2395936"/>
              <a:gd name="connsiteY5" fmla="*/ 2395936 h 2395936"/>
              <a:gd name="connsiteX6" fmla="*/ 0 w 2395936"/>
              <a:gd name="connsiteY6" fmla="*/ 2395936 h 2395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5936" h="2395936">
                <a:moveTo>
                  <a:pt x="0" y="0"/>
                </a:moveTo>
                <a:lnTo>
                  <a:pt x="2395936" y="0"/>
                </a:lnTo>
                <a:lnTo>
                  <a:pt x="2395936" y="1196777"/>
                </a:lnTo>
                <a:lnTo>
                  <a:pt x="2133017" y="1196777"/>
                </a:lnTo>
                <a:cubicBezTo>
                  <a:pt x="1878068" y="1196777"/>
                  <a:pt x="1671391" y="1403454"/>
                  <a:pt x="1671391" y="1658403"/>
                </a:cubicBezTo>
                <a:lnTo>
                  <a:pt x="1671391" y="2395936"/>
                </a:lnTo>
                <a:lnTo>
                  <a:pt x="0" y="2395936"/>
                </a:lnTo>
                <a:close/>
              </a:path>
            </a:pathLst>
          </a:custGeom>
        </p:spPr>
      </p:pic>
      <p:grpSp>
        <p:nvGrpSpPr>
          <p:cNvPr id="58" name="Groupe 57"/>
          <p:cNvGrpSpPr/>
          <p:nvPr userDrawn="1"/>
        </p:nvGrpSpPr>
        <p:grpSpPr>
          <a:xfrm>
            <a:off x="-278372" y="4318279"/>
            <a:ext cx="12653659" cy="1237084"/>
            <a:chOff x="-208779" y="3238709"/>
            <a:chExt cx="9490244" cy="927813"/>
          </a:xfrm>
        </p:grpSpPr>
        <p:grpSp>
          <p:nvGrpSpPr>
            <p:cNvPr id="59" name="Groupe 58"/>
            <p:cNvGrpSpPr/>
            <p:nvPr/>
          </p:nvGrpSpPr>
          <p:grpSpPr>
            <a:xfrm>
              <a:off x="-208779" y="3720857"/>
              <a:ext cx="366612" cy="366612"/>
              <a:chOff x="1611689" y="1398034"/>
              <a:chExt cx="2388572" cy="2388572"/>
            </a:xfrm>
          </p:grpSpPr>
          <p:sp>
            <p:nvSpPr>
              <p:cNvPr id="88" name="Ellipse 87"/>
              <p:cNvSpPr/>
              <p:nvPr/>
            </p:nvSpPr>
            <p:spPr>
              <a:xfrm>
                <a:off x="1611689" y="1398034"/>
                <a:ext cx="2388572" cy="238857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89"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90"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1"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2"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3"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4"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0" name="Groupe 59"/>
            <p:cNvGrpSpPr/>
            <p:nvPr/>
          </p:nvGrpSpPr>
          <p:grpSpPr>
            <a:xfrm>
              <a:off x="155575" y="3238709"/>
              <a:ext cx="9125890" cy="830559"/>
              <a:chOff x="155575" y="3238709"/>
              <a:chExt cx="9125890" cy="830559"/>
            </a:xfrm>
          </p:grpSpPr>
          <p:grpSp>
            <p:nvGrpSpPr>
              <p:cNvPr id="62" name="Groupe 61"/>
              <p:cNvGrpSpPr/>
              <p:nvPr/>
            </p:nvGrpSpPr>
            <p:grpSpPr>
              <a:xfrm>
                <a:off x="1156875" y="3238709"/>
                <a:ext cx="438058" cy="438058"/>
                <a:chOff x="1611689" y="1398034"/>
                <a:chExt cx="2388572" cy="2388572"/>
              </a:xfrm>
            </p:grpSpPr>
            <p:sp>
              <p:nvSpPr>
                <p:cNvPr id="81" name="Ellipse 80"/>
                <p:cNvSpPr/>
                <p:nvPr/>
              </p:nvSpPr>
              <p:spPr>
                <a:xfrm>
                  <a:off x="1611689" y="1398034"/>
                  <a:ext cx="2388572" cy="2388572"/>
                </a:xfrm>
                <a:prstGeom prst="ellipse">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82"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83"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4"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5"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6"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7"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3" name="Groupe 62"/>
              <p:cNvGrpSpPr/>
              <p:nvPr/>
            </p:nvGrpSpPr>
            <p:grpSpPr>
              <a:xfrm>
                <a:off x="7344972" y="3796442"/>
                <a:ext cx="272826" cy="272826"/>
                <a:chOff x="1611689" y="1398034"/>
                <a:chExt cx="2388572" cy="2388572"/>
              </a:xfrm>
            </p:grpSpPr>
            <p:sp>
              <p:nvSpPr>
                <p:cNvPr id="74" name="Ellipse 73"/>
                <p:cNvSpPr/>
                <p:nvPr/>
              </p:nvSpPr>
              <p:spPr>
                <a:xfrm>
                  <a:off x="1611689" y="1398034"/>
                  <a:ext cx="2388572" cy="2388572"/>
                </a:xfrm>
                <a:prstGeom prst="ellipse">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75"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76"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7"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8"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9"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0"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4" name="Groupe 63"/>
              <p:cNvGrpSpPr/>
              <p:nvPr/>
            </p:nvGrpSpPr>
            <p:grpSpPr>
              <a:xfrm>
                <a:off x="8850665" y="3296625"/>
                <a:ext cx="430800" cy="430800"/>
                <a:chOff x="1611689" y="1398034"/>
                <a:chExt cx="2388572" cy="2388572"/>
              </a:xfrm>
            </p:grpSpPr>
            <p:sp>
              <p:nvSpPr>
                <p:cNvPr id="67" name="Ellipse 66"/>
                <p:cNvSpPr/>
                <p:nvPr/>
              </p:nvSpPr>
              <p:spPr>
                <a:xfrm>
                  <a:off x="1611689" y="1398034"/>
                  <a:ext cx="2388572" cy="2388572"/>
                </a:xfrm>
                <a:prstGeom prst="ellipse">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68"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69"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0"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1"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2"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3"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cxnSp>
            <p:nvCxnSpPr>
              <p:cNvPr id="65" name="Connecteur droit 64"/>
              <p:cNvCxnSpPr/>
              <p:nvPr/>
            </p:nvCxnSpPr>
            <p:spPr>
              <a:xfrm flipV="1">
                <a:off x="155575" y="3524250"/>
                <a:ext cx="1009650" cy="339727"/>
              </a:xfrm>
              <a:prstGeom prst="line">
                <a:avLst/>
              </a:pr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66" name="Connecteur droit 65"/>
              <p:cNvCxnSpPr/>
              <p:nvPr/>
            </p:nvCxnSpPr>
            <p:spPr>
              <a:xfrm flipH="1">
                <a:off x="7616537" y="3562350"/>
                <a:ext cx="1241713" cy="349225"/>
              </a:xfrm>
              <a:prstGeom prst="line">
                <a:avLst/>
              </a:pr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cxnSp>
        </p:grpSp>
        <p:sp>
          <p:nvSpPr>
            <p:cNvPr id="61" name="Forme libre : forme 60"/>
            <p:cNvSpPr/>
            <p:nvPr/>
          </p:nvSpPr>
          <p:spPr>
            <a:xfrm>
              <a:off x="1549400" y="3588672"/>
              <a:ext cx="5816600" cy="577850"/>
            </a:xfrm>
            <a:custGeom>
              <a:avLst/>
              <a:gdLst>
                <a:gd name="connsiteX0" fmla="*/ 0 w 5816600"/>
                <a:gd name="connsiteY0" fmla="*/ 0 h 577850"/>
                <a:gd name="connsiteX1" fmla="*/ 520700 w 5816600"/>
                <a:gd name="connsiteY1" fmla="*/ 577850 h 577850"/>
                <a:gd name="connsiteX2" fmla="*/ 5556250 w 5816600"/>
                <a:gd name="connsiteY2" fmla="*/ 577850 h 577850"/>
                <a:gd name="connsiteX3" fmla="*/ 5816600 w 5816600"/>
                <a:gd name="connsiteY3" fmla="*/ 425450 h 577850"/>
              </a:gdLst>
              <a:ahLst/>
              <a:cxnLst>
                <a:cxn ang="0">
                  <a:pos x="connsiteX0" y="connsiteY0"/>
                </a:cxn>
                <a:cxn ang="0">
                  <a:pos x="connsiteX1" y="connsiteY1"/>
                </a:cxn>
                <a:cxn ang="0">
                  <a:pos x="connsiteX2" y="connsiteY2"/>
                </a:cxn>
                <a:cxn ang="0">
                  <a:pos x="connsiteX3" y="connsiteY3"/>
                </a:cxn>
              </a:cxnLst>
              <a:rect l="l" t="t" r="r" b="b"/>
              <a:pathLst>
                <a:path w="5816600" h="577850">
                  <a:moveTo>
                    <a:pt x="0" y="0"/>
                  </a:moveTo>
                  <a:lnTo>
                    <a:pt x="520700" y="577850"/>
                  </a:lnTo>
                  <a:lnTo>
                    <a:pt x="5556250" y="577850"/>
                  </a:lnTo>
                  <a:lnTo>
                    <a:pt x="5816600" y="425450"/>
                  </a:lnTo>
                </a:path>
              </a:pathLst>
            </a:cu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grpSp>
      <p:sp>
        <p:nvSpPr>
          <p:cNvPr id="5" name="Espace réservé du texte 4"/>
          <p:cNvSpPr>
            <a:spLocks noGrp="1"/>
          </p:cNvSpPr>
          <p:nvPr>
            <p:ph type="body" sz="quarter" idx="11" hasCustomPrompt="1"/>
          </p:nvPr>
        </p:nvSpPr>
        <p:spPr>
          <a:xfrm>
            <a:off x="2800216" y="5106329"/>
            <a:ext cx="6591600" cy="807879"/>
          </a:xfrm>
          <a:prstGeom prst="roundRect">
            <a:avLst>
              <a:gd name="adj" fmla="val 50000"/>
            </a:avLst>
          </a:prstGeom>
          <a:gradFill>
            <a:gsLst>
              <a:gs pos="53000">
                <a:schemeClr val="tx2">
                  <a:lumMod val="75000"/>
                  <a:lumOff val="25000"/>
                </a:schemeClr>
              </a:gs>
              <a:gs pos="100000">
                <a:schemeClr val="accent1"/>
              </a:gs>
              <a:gs pos="0">
                <a:srgbClr val="4891A0"/>
              </a:gs>
            </a:gsLst>
            <a:path path="circle">
              <a:fillToRect l="100000" t="100000"/>
            </a:path>
          </a:gradFill>
        </p:spPr>
        <p:txBody>
          <a:bodyPr wrap="none" lIns="72000" tIns="0" rIns="72000" bIns="0" anchor="ctr">
            <a:spAutoFit/>
          </a:bodyPr>
          <a:lstStyle>
            <a:lvl1pPr marL="0" indent="0" algn="ctr">
              <a:buNone/>
              <a:defRPr sz="3733" baseline="0">
                <a:solidFill>
                  <a:schemeClr val="bg1"/>
                </a:solidFill>
              </a:defRPr>
            </a:lvl1pPr>
            <a:lvl2pPr marL="133347" indent="0">
              <a:buFont typeface="Arial" panose="020B0604020202020204" pitchFamily="34" charset="0"/>
              <a:buNone/>
              <a:defRPr/>
            </a:lvl2pPr>
            <a:lvl3pPr marL="478355" indent="0">
              <a:buNone/>
              <a:defRPr/>
            </a:lvl3pPr>
            <a:lvl4pPr marL="831830" indent="0">
              <a:buNone/>
              <a:defRPr/>
            </a:lvl4pPr>
            <a:lvl5pPr marL="1195887" indent="0">
              <a:buNone/>
              <a:defRPr/>
            </a:lvl5pPr>
          </a:lstStyle>
          <a:p>
            <a:pPr lvl="0"/>
            <a:r>
              <a:rPr lang="fr-FR"/>
              <a:t>Click pour rajouter du texte</a:t>
            </a:r>
          </a:p>
        </p:txBody>
      </p:sp>
      <p:pic>
        <p:nvPicPr>
          <p:cNvPr id="54" name="Image 6" descr="Log_AXIANS_CRVB.jpg">
            <a:extLst>
              <a:ext uri="{FF2B5EF4-FFF2-40B4-BE49-F238E27FC236}">
                <a16:creationId xmlns:a16="http://schemas.microsoft.com/office/drawing/2014/main" id="{286F3FAE-E456-4F8A-ADE8-FAB0F9239498}"/>
              </a:ext>
            </a:extLst>
          </p:cNvPr>
          <p:cNvPicPr>
            <a:picLocks noChangeAspect="1"/>
          </p:cNvPicPr>
          <p:nvPr userDrawn="1"/>
        </p:nvPicPr>
        <p:blipFill>
          <a:blip r:embed="rId4">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8596325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3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4" name="Text Placeholder 3"/>
          <p:cNvSpPr>
            <a:spLocks noGrp="1"/>
          </p:cNvSpPr>
          <p:nvPr>
            <p:ph type="body" sz="quarter" idx="10"/>
          </p:nvPr>
        </p:nvSpPr>
        <p:spPr>
          <a:xfrm>
            <a:off x="274638" y="3035704"/>
            <a:ext cx="4572000" cy="893643"/>
          </a:xfrm>
        </p:spPr>
        <p:txBody>
          <a:bodyPr vert="horz" wrap="square" lIns="146304" tIns="91440" rIns="146304" bIns="91440" rtlCol="0" anchor="ctr">
            <a:spAutoFit/>
          </a:bodyPr>
          <a:lstStyle>
            <a:lvl1pPr marL="457112" indent="-457112">
              <a:spcBef>
                <a:spcPts val="2400"/>
              </a:spcBef>
              <a:buClr>
                <a:srgbClr val="B4A0FF"/>
              </a:buClr>
              <a:buFont typeface="Webdings" panose="05030102010509060703" pitchFamily="18" charset="2"/>
              <a:buChar char="4"/>
              <a:defRPr lang="en-US" sz="2856" kern="1200" spc="0" baseline="0" dirty="0" smtClean="0">
                <a:solidFill>
                  <a:prstClr val="white"/>
                </a:solidFill>
                <a:latin typeface="Segoe UI Light"/>
                <a:ea typeface="+mn-ea"/>
                <a:cs typeface="+mn-cs"/>
              </a:defRPr>
            </a:lvl1pPr>
            <a:lvl2pPr marL="685668" indent="0">
              <a:defRPr lang="en-US" sz="1800" smtClean="0">
                <a:solidFill>
                  <a:schemeClr val="bg1">
                    <a:lumMod val="85000"/>
                  </a:schemeClr>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Tree>
    <p:extLst>
      <p:ext uri="{BB962C8B-B14F-4D97-AF65-F5344CB8AC3E}">
        <p14:creationId xmlns:p14="http://schemas.microsoft.com/office/powerpoint/2010/main" val="77555804"/>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2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457199" y="1757363"/>
            <a:ext cx="5650637" cy="1968296"/>
          </a:xfrm>
        </p:spPr>
        <p:txBody>
          <a:bodyPr/>
          <a:lstStyle>
            <a:lvl1pPr marL="0" indent="0">
              <a:spcBef>
                <a:spcPts val="2400"/>
              </a:spcBef>
              <a:buNone/>
              <a:defRPr>
                <a:solidFill>
                  <a:schemeClr val="tx1"/>
                </a:solidFill>
              </a:defRPr>
            </a:lvl1pPr>
            <a:lvl2pPr marL="0" indent="0">
              <a:buClr>
                <a:schemeClr val="accent5"/>
              </a:buClr>
              <a:buFont typeface="Segoe UI" panose="020B0502040204020203" pitchFamily="34" charset="0"/>
              <a:buNone/>
              <a:defRPr sz="2000">
                <a:solidFill>
                  <a:schemeClr val="tx1"/>
                </a:solidFill>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1"/>
          </p:nvPr>
        </p:nvSpPr>
        <p:spPr>
          <a:xfrm>
            <a:off x="6394231" y="1757363"/>
            <a:ext cx="5530850" cy="2012346"/>
          </a:xfrm>
        </p:spPr>
        <p:txBody>
          <a:bodyPr/>
          <a:lstStyle>
            <a:lvl1pPr marL="0" indent="0">
              <a:spcBef>
                <a:spcPts val="2400"/>
              </a:spcBef>
              <a:buFont typeface="Arial" panose="020B0604020202020204" pitchFamily="34" charset="0"/>
              <a:buNone/>
              <a:defRPr lang="en-US" sz="3919" kern="1200" spc="0" baseline="0" dirty="0" smtClean="0">
                <a:solidFill>
                  <a:schemeClr val="tx1"/>
                </a:solidFill>
                <a:latin typeface="+mj-lt"/>
                <a:ea typeface="+mn-ea"/>
                <a:cs typeface="+mn-cs"/>
              </a:defRPr>
            </a:lvl1pPr>
            <a:lvl2pPr marL="0" indent="0">
              <a:buClr>
                <a:schemeClr val="accent5"/>
              </a:buClr>
              <a:buFont typeface="Segoe UI" panose="020B0502040204020203" pitchFamily="34" charset="0"/>
              <a:buNone/>
              <a:defRPr lang="en-US" sz="2000" kern="1200" spc="0" baseline="0" dirty="0" smtClean="0">
                <a:solidFill>
                  <a:schemeClr val="tx1"/>
                </a:solidFill>
                <a:latin typeface="+mn-lt"/>
                <a:ea typeface="+mn-ea"/>
                <a:cs typeface="+mn-cs"/>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marL="571390" marR="0" lvl="0" indent="-571390" algn="l" defTabSz="914016" rtl="0" eaLnBrk="1" fontAlgn="auto" latinLnBrk="0" hangingPunct="1">
              <a:lnSpc>
                <a:spcPct val="90000"/>
              </a:lnSpc>
              <a:spcBef>
                <a:spcPts val="2400"/>
              </a:spcBef>
              <a:spcAft>
                <a:spcPts val="0"/>
              </a:spcAft>
              <a:buClrTx/>
              <a:buSzPct val="90000"/>
              <a:tabLst/>
            </a:pPr>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21740926"/>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Dark band + sub ">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80223"/>
          </a:xfrm>
        </p:spPr>
        <p:txBody>
          <a:bodyPr vert="horz" wrap="square" lIns="146304" tIns="91440" rIns="146304" bIns="91440" rtlCol="0">
            <a:spAutoFit/>
          </a:bodyPr>
          <a:lstStyle>
            <a:lvl1pPr marL="0" indent="0">
              <a:buNone/>
              <a:defRPr lang="en-US" sz="2800" dirty="0" smtClean="0">
                <a:solidFill>
                  <a:srgbClr val="0070C0"/>
                </a:solidFill>
              </a:defRPr>
            </a:lvl1pPr>
          </a:lstStyle>
          <a:p>
            <a:pPr marL="336015" lvl="0" indent="-336015"/>
            <a:r>
              <a:rPr lang="en-US" dirty="0"/>
              <a:t>Click to edit Master text styles</a:t>
            </a:r>
          </a:p>
        </p:txBody>
      </p:sp>
    </p:spTree>
    <p:extLst>
      <p:ext uri="{BB962C8B-B14F-4D97-AF65-F5344CB8AC3E}">
        <p14:creationId xmlns:p14="http://schemas.microsoft.com/office/powerpoint/2010/main" val="4247761264"/>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2_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11704637" cy="1809726"/>
          </a:xfrm>
        </p:spPr>
        <p:txBody>
          <a:bodyPr/>
          <a:lstStyle>
            <a:lvl1pPr marL="0" indent="0">
              <a:buFontTx/>
              <a:buNone/>
              <a:defRPr sz="3600">
                <a:solidFill>
                  <a:srgbClr val="00BCF2"/>
                </a:solidFill>
              </a:defRPr>
            </a:lvl1pPr>
            <a:lvl2pPr marL="0" indent="0">
              <a:spcAft>
                <a:spcPts val="600"/>
              </a:spcAft>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82393068"/>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5486400" cy="2298161"/>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53990578"/>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DARK BAND - side text">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5486400" cy="2298161"/>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3"/>
          <p:cNvSpPr>
            <a:spLocks noGrp="1"/>
          </p:cNvSpPr>
          <p:nvPr>
            <p:ph type="body" sz="quarter" idx="12"/>
          </p:nvPr>
        </p:nvSpPr>
        <p:spPr>
          <a:xfrm>
            <a:off x="6258187" y="2125663"/>
            <a:ext cx="5486400" cy="2298161"/>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54156818"/>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1" y="1562101"/>
            <a:ext cx="11653523" cy="2050772"/>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95926666"/>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09935" y="1562100"/>
            <a:ext cx="11653523" cy="2105091"/>
          </a:xfrm>
        </p:spPr>
        <p:txBody>
          <a:bodyPr>
            <a:spAutoFit/>
          </a:bodyPr>
          <a:lstStyle>
            <a:lvl1pPr>
              <a:defRPr sz="391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23489599"/>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562100"/>
            <a:ext cx="11653523" cy="2105091"/>
          </a:xfrm>
        </p:spPr>
        <p:txBody>
          <a:bodyPr>
            <a:spAutoFit/>
          </a:bodyPr>
          <a:lstStyle>
            <a:lvl1pPr>
              <a:defRPr sz="391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09577800"/>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1"/>
            <a:ext cx="5378548" cy="1942136"/>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62101"/>
            <a:ext cx="5378548" cy="1942136"/>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21799367"/>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3.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jp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65.xml"/><Relationship Id="rId13" Type="http://schemas.openxmlformats.org/officeDocument/2006/relationships/slideLayout" Target="../slideLayouts/slideLayout170.xml"/><Relationship Id="rId3" Type="http://schemas.openxmlformats.org/officeDocument/2006/relationships/slideLayout" Target="../slideLayouts/slideLayout160.xml"/><Relationship Id="rId7" Type="http://schemas.openxmlformats.org/officeDocument/2006/relationships/slideLayout" Target="../slideLayouts/slideLayout164.xml"/><Relationship Id="rId12" Type="http://schemas.openxmlformats.org/officeDocument/2006/relationships/slideLayout" Target="../slideLayouts/slideLayout169.xml"/><Relationship Id="rId2" Type="http://schemas.openxmlformats.org/officeDocument/2006/relationships/slideLayout" Target="../slideLayouts/slideLayout159.xml"/><Relationship Id="rId1" Type="http://schemas.openxmlformats.org/officeDocument/2006/relationships/slideLayout" Target="../slideLayouts/slideLayout158.xml"/><Relationship Id="rId6" Type="http://schemas.openxmlformats.org/officeDocument/2006/relationships/slideLayout" Target="../slideLayouts/slideLayout163.xml"/><Relationship Id="rId11" Type="http://schemas.openxmlformats.org/officeDocument/2006/relationships/slideLayout" Target="../slideLayouts/slideLayout168.xml"/><Relationship Id="rId5" Type="http://schemas.openxmlformats.org/officeDocument/2006/relationships/slideLayout" Target="../slideLayouts/slideLayout162.xml"/><Relationship Id="rId15" Type="http://schemas.openxmlformats.org/officeDocument/2006/relationships/theme" Target="../theme/theme10.xml"/><Relationship Id="rId10" Type="http://schemas.openxmlformats.org/officeDocument/2006/relationships/slideLayout" Target="../slideLayouts/slideLayout167.xml"/><Relationship Id="rId4" Type="http://schemas.openxmlformats.org/officeDocument/2006/relationships/slideLayout" Target="../slideLayouts/slideLayout161.xml"/><Relationship Id="rId9" Type="http://schemas.openxmlformats.org/officeDocument/2006/relationships/slideLayout" Target="../slideLayouts/slideLayout166.xml"/><Relationship Id="rId14" Type="http://schemas.openxmlformats.org/officeDocument/2006/relationships/slideLayout" Target="../slideLayouts/slideLayout17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slideLayout" Target="../slideLayouts/slideLayout30.xml"/><Relationship Id="rId3" Type="http://schemas.openxmlformats.org/officeDocument/2006/relationships/slideLayout" Target="../slideLayouts/slideLayout15.xml"/><Relationship Id="rId21" Type="http://schemas.openxmlformats.org/officeDocument/2006/relationships/theme" Target="../theme/theme2.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image" Target="../media/image2.jpg"/><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slideLayout" Target="../slideLayouts/slideLayout32.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24" Type="http://schemas.openxmlformats.org/officeDocument/2006/relationships/image" Target="../media/image10.jpeg"/><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image" Target="file://localhost/Users/Lisa/Documents/Travail/1-%20Dossiers/MARS%202015/Masque%20AXIANS%20-%20Devis%20envoye/puceAxiansHD.png" TargetMode="External"/><Relationship Id="rId10" Type="http://schemas.openxmlformats.org/officeDocument/2006/relationships/slideLayout" Target="../slideLayouts/slideLayout22.xml"/><Relationship Id="rId19" Type="http://schemas.openxmlformats.org/officeDocument/2006/relationships/slideLayout" Target="../slideLayouts/slideLayout31.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image" Target="../media/image9.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theme" Target="../theme/theme3.xml"/><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image" Target="../media/image3.emf"/><Relationship Id="rId10" Type="http://schemas.openxmlformats.org/officeDocument/2006/relationships/slideLayout" Target="../slideLayouts/slideLayout42.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26" Type="http://schemas.openxmlformats.org/officeDocument/2006/relationships/slideLayout" Target="../slideLayouts/slideLayout70.xml"/><Relationship Id="rId3" Type="http://schemas.openxmlformats.org/officeDocument/2006/relationships/slideLayout" Target="../slideLayouts/slideLayout47.xml"/><Relationship Id="rId21" Type="http://schemas.openxmlformats.org/officeDocument/2006/relationships/slideLayout" Target="../slideLayouts/slideLayout65.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slideLayout" Target="../slideLayouts/slideLayout69.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slideLayout" Target="../slideLayouts/slideLayout64.xml"/><Relationship Id="rId29" Type="http://schemas.openxmlformats.org/officeDocument/2006/relationships/slideLayout" Target="../slideLayouts/slideLayout73.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24" Type="http://schemas.openxmlformats.org/officeDocument/2006/relationships/slideLayout" Target="../slideLayouts/slideLayout68.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slideLayout" Target="../slideLayouts/slideLayout67.xml"/><Relationship Id="rId28" Type="http://schemas.openxmlformats.org/officeDocument/2006/relationships/slideLayout" Target="../slideLayouts/slideLayout72.xml"/><Relationship Id="rId10" Type="http://schemas.openxmlformats.org/officeDocument/2006/relationships/slideLayout" Target="../slideLayouts/slideLayout54.xml"/><Relationship Id="rId19" Type="http://schemas.openxmlformats.org/officeDocument/2006/relationships/slideLayout" Target="../slideLayouts/slideLayout63.xml"/><Relationship Id="rId31" Type="http://schemas.openxmlformats.org/officeDocument/2006/relationships/image" Target="../media/image24.png"/><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slideLayout" Target="../slideLayouts/slideLayout66.xml"/><Relationship Id="rId27" Type="http://schemas.openxmlformats.org/officeDocument/2006/relationships/slideLayout" Target="../slideLayouts/slideLayout71.xml"/><Relationship Id="rId30"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3" Type="http://schemas.openxmlformats.org/officeDocument/2006/relationships/slideLayout" Target="../slideLayouts/slideLayout76.xml"/><Relationship Id="rId7" Type="http://schemas.openxmlformats.org/officeDocument/2006/relationships/slideLayout" Target="../slideLayouts/slideLayout80.xml"/><Relationship Id="rId2" Type="http://schemas.openxmlformats.org/officeDocument/2006/relationships/slideLayout" Target="../slideLayouts/slideLayout75.xml"/><Relationship Id="rId1" Type="http://schemas.openxmlformats.org/officeDocument/2006/relationships/slideLayout" Target="../slideLayouts/slideLayout74.xml"/><Relationship Id="rId6" Type="http://schemas.openxmlformats.org/officeDocument/2006/relationships/slideLayout" Target="../slideLayouts/slideLayout79.xml"/><Relationship Id="rId5" Type="http://schemas.openxmlformats.org/officeDocument/2006/relationships/slideLayout" Target="../slideLayouts/slideLayout78.xml"/><Relationship Id="rId4" Type="http://schemas.openxmlformats.org/officeDocument/2006/relationships/slideLayout" Target="../slideLayouts/slideLayout77.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83.xml"/><Relationship Id="rId2" Type="http://schemas.openxmlformats.org/officeDocument/2006/relationships/slideLayout" Target="../slideLayouts/slideLayout82.xml"/><Relationship Id="rId1" Type="http://schemas.openxmlformats.org/officeDocument/2006/relationships/slideLayout" Target="../slideLayouts/slideLayout81.xml"/><Relationship Id="rId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1.xml"/><Relationship Id="rId13" Type="http://schemas.openxmlformats.org/officeDocument/2006/relationships/slideLayout" Target="../slideLayouts/slideLayout96.xml"/><Relationship Id="rId18" Type="http://schemas.openxmlformats.org/officeDocument/2006/relationships/slideLayout" Target="../slideLayouts/slideLayout101.xml"/><Relationship Id="rId26" Type="http://schemas.openxmlformats.org/officeDocument/2006/relationships/slideLayout" Target="../slideLayouts/slideLayout109.xml"/><Relationship Id="rId3" Type="http://schemas.openxmlformats.org/officeDocument/2006/relationships/slideLayout" Target="../slideLayouts/slideLayout86.xml"/><Relationship Id="rId21" Type="http://schemas.openxmlformats.org/officeDocument/2006/relationships/slideLayout" Target="../slideLayouts/slideLayout104.xml"/><Relationship Id="rId7" Type="http://schemas.openxmlformats.org/officeDocument/2006/relationships/slideLayout" Target="../slideLayouts/slideLayout90.xml"/><Relationship Id="rId12" Type="http://schemas.openxmlformats.org/officeDocument/2006/relationships/slideLayout" Target="../slideLayouts/slideLayout95.xml"/><Relationship Id="rId17" Type="http://schemas.openxmlformats.org/officeDocument/2006/relationships/slideLayout" Target="../slideLayouts/slideLayout100.xml"/><Relationship Id="rId25" Type="http://schemas.openxmlformats.org/officeDocument/2006/relationships/slideLayout" Target="../slideLayouts/slideLayout108.xml"/><Relationship Id="rId2" Type="http://schemas.openxmlformats.org/officeDocument/2006/relationships/slideLayout" Target="../slideLayouts/slideLayout85.xml"/><Relationship Id="rId16" Type="http://schemas.openxmlformats.org/officeDocument/2006/relationships/slideLayout" Target="../slideLayouts/slideLayout99.xml"/><Relationship Id="rId20" Type="http://schemas.openxmlformats.org/officeDocument/2006/relationships/slideLayout" Target="../slideLayouts/slideLayout103.xml"/><Relationship Id="rId29" Type="http://schemas.openxmlformats.org/officeDocument/2006/relationships/slideLayout" Target="../slideLayouts/slideLayout112.xml"/><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slideLayout" Target="../slideLayouts/slideLayout94.xml"/><Relationship Id="rId24" Type="http://schemas.openxmlformats.org/officeDocument/2006/relationships/slideLayout" Target="../slideLayouts/slideLayout107.xml"/><Relationship Id="rId5" Type="http://schemas.openxmlformats.org/officeDocument/2006/relationships/slideLayout" Target="../slideLayouts/slideLayout88.xml"/><Relationship Id="rId15" Type="http://schemas.openxmlformats.org/officeDocument/2006/relationships/slideLayout" Target="../slideLayouts/slideLayout98.xml"/><Relationship Id="rId23" Type="http://schemas.openxmlformats.org/officeDocument/2006/relationships/slideLayout" Target="../slideLayouts/slideLayout106.xml"/><Relationship Id="rId28" Type="http://schemas.openxmlformats.org/officeDocument/2006/relationships/slideLayout" Target="../slideLayouts/slideLayout111.xml"/><Relationship Id="rId10" Type="http://schemas.openxmlformats.org/officeDocument/2006/relationships/slideLayout" Target="../slideLayouts/slideLayout93.xml"/><Relationship Id="rId19" Type="http://schemas.openxmlformats.org/officeDocument/2006/relationships/slideLayout" Target="../slideLayouts/slideLayout102.xml"/><Relationship Id="rId31" Type="http://schemas.openxmlformats.org/officeDocument/2006/relationships/image" Target="../media/image24.png"/><Relationship Id="rId4" Type="http://schemas.openxmlformats.org/officeDocument/2006/relationships/slideLayout" Target="../slideLayouts/slideLayout87.xml"/><Relationship Id="rId9" Type="http://schemas.openxmlformats.org/officeDocument/2006/relationships/slideLayout" Target="../slideLayouts/slideLayout92.xml"/><Relationship Id="rId14" Type="http://schemas.openxmlformats.org/officeDocument/2006/relationships/slideLayout" Target="../slideLayouts/slideLayout97.xml"/><Relationship Id="rId22" Type="http://schemas.openxmlformats.org/officeDocument/2006/relationships/slideLayout" Target="../slideLayouts/slideLayout105.xml"/><Relationship Id="rId27" Type="http://schemas.openxmlformats.org/officeDocument/2006/relationships/slideLayout" Target="../slideLayouts/slideLayout110.xml"/><Relationship Id="rId30"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20.xml"/><Relationship Id="rId13" Type="http://schemas.openxmlformats.org/officeDocument/2006/relationships/slideLayout" Target="../slideLayouts/slideLayout125.xml"/><Relationship Id="rId18" Type="http://schemas.openxmlformats.org/officeDocument/2006/relationships/slideLayout" Target="../slideLayouts/slideLayout130.xml"/><Relationship Id="rId26" Type="http://schemas.openxmlformats.org/officeDocument/2006/relationships/slideLayout" Target="../slideLayouts/slideLayout138.xml"/><Relationship Id="rId3" Type="http://schemas.openxmlformats.org/officeDocument/2006/relationships/slideLayout" Target="../slideLayouts/slideLayout115.xml"/><Relationship Id="rId21" Type="http://schemas.openxmlformats.org/officeDocument/2006/relationships/slideLayout" Target="../slideLayouts/slideLayout133.xml"/><Relationship Id="rId7" Type="http://schemas.openxmlformats.org/officeDocument/2006/relationships/slideLayout" Target="../slideLayouts/slideLayout119.xml"/><Relationship Id="rId12" Type="http://schemas.openxmlformats.org/officeDocument/2006/relationships/slideLayout" Target="../slideLayouts/slideLayout124.xml"/><Relationship Id="rId17" Type="http://schemas.openxmlformats.org/officeDocument/2006/relationships/slideLayout" Target="../slideLayouts/slideLayout129.xml"/><Relationship Id="rId25" Type="http://schemas.openxmlformats.org/officeDocument/2006/relationships/slideLayout" Target="../slideLayouts/slideLayout137.xml"/><Relationship Id="rId2" Type="http://schemas.openxmlformats.org/officeDocument/2006/relationships/slideLayout" Target="../slideLayouts/slideLayout114.xml"/><Relationship Id="rId16" Type="http://schemas.openxmlformats.org/officeDocument/2006/relationships/slideLayout" Target="../slideLayouts/slideLayout128.xml"/><Relationship Id="rId20" Type="http://schemas.openxmlformats.org/officeDocument/2006/relationships/slideLayout" Target="../slideLayouts/slideLayout132.xml"/><Relationship Id="rId29" Type="http://schemas.openxmlformats.org/officeDocument/2006/relationships/slideLayout" Target="../slideLayouts/slideLayout141.xml"/><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slideLayout" Target="../slideLayouts/slideLayout123.xml"/><Relationship Id="rId24" Type="http://schemas.openxmlformats.org/officeDocument/2006/relationships/slideLayout" Target="../slideLayouts/slideLayout136.xml"/><Relationship Id="rId32" Type="http://schemas.openxmlformats.org/officeDocument/2006/relationships/image" Target="../media/image24.png"/><Relationship Id="rId5" Type="http://schemas.openxmlformats.org/officeDocument/2006/relationships/slideLayout" Target="../slideLayouts/slideLayout117.xml"/><Relationship Id="rId15" Type="http://schemas.openxmlformats.org/officeDocument/2006/relationships/slideLayout" Target="../slideLayouts/slideLayout127.xml"/><Relationship Id="rId23" Type="http://schemas.openxmlformats.org/officeDocument/2006/relationships/slideLayout" Target="../slideLayouts/slideLayout135.xml"/><Relationship Id="rId28" Type="http://schemas.openxmlformats.org/officeDocument/2006/relationships/slideLayout" Target="../slideLayouts/slideLayout140.xml"/><Relationship Id="rId10" Type="http://schemas.openxmlformats.org/officeDocument/2006/relationships/slideLayout" Target="../slideLayouts/slideLayout122.xml"/><Relationship Id="rId19" Type="http://schemas.openxmlformats.org/officeDocument/2006/relationships/slideLayout" Target="../slideLayouts/slideLayout131.xml"/><Relationship Id="rId31" Type="http://schemas.openxmlformats.org/officeDocument/2006/relationships/theme" Target="../theme/theme8.xml"/><Relationship Id="rId4" Type="http://schemas.openxmlformats.org/officeDocument/2006/relationships/slideLayout" Target="../slideLayouts/slideLayout116.xml"/><Relationship Id="rId9" Type="http://schemas.openxmlformats.org/officeDocument/2006/relationships/slideLayout" Target="../slideLayouts/slideLayout121.xml"/><Relationship Id="rId14" Type="http://schemas.openxmlformats.org/officeDocument/2006/relationships/slideLayout" Target="../slideLayouts/slideLayout126.xml"/><Relationship Id="rId22" Type="http://schemas.openxmlformats.org/officeDocument/2006/relationships/slideLayout" Target="../slideLayouts/slideLayout134.xml"/><Relationship Id="rId27" Type="http://schemas.openxmlformats.org/officeDocument/2006/relationships/slideLayout" Target="../slideLayouts/slideLayout139.xml"/><Relationship Id="rId30" Type="http://schemas.openxmlformats.org/officeDocument/2006/relationships/slideLayout" Target="../slideLayouts/slideLayout142.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50.xml"/><Relationship Id="rId13" Type="http://schemas.openxmlformats.org/officeDocument/2006/relationships/slideLayout" Target="../slideLayouts/slideLayout155.xml"/><Relationship Id="rId18" Type="http://schemas.openxmlformats.org/officeDocument/2006/relationships/image" Target="../media/image1.emf"/><Relationship Id="rId3" Type="http://schemas.openxmlformats.org/officeDocument/2006/relationships/slideLayout" Target="../slideLayouts/slideLayout145.xml"/><Relationship Id="rId7" Type="http://schemas.openxmlformats.org/officeDocument/2006/relationships/slideLayout" Target="../slideLayouts/slideLayout149.xml"/><Relationship Id="rId12" Type="http://schemas.openxmlformats.org/officeDocument/2006/relationships/slideLayout" Target="../slideLayouts/slideLayout154.xml"/><Relationship Id="rId17" Type="http://schemas.openxmlformats.org/officeDocument/2006/relationships/image" Target="../media/image29.png"/><Relationship Id="rId2" Type="http://schemas.openxmlformats.org/officeDocument/2006/relationships/slideLayout" Target="../slideLayouts/slideLayout144.xml"/><Relationship Id="rId16" Type="http://schemas.openxmlformats.org/officeDocument/2006/relationships/theme" Target="../theme/theme9.xml"/><Relationship Id="rId1" Type="http://schemas.openxmlformats.org/officeDocument/2006/relationships/slideLayout" Target="../slideLayouts/slideLayout143.xml"/><Relationship Id="rId6" Type="http://schemas.openxmlformats.org/officeDocument/2006/relationships/slideLayout" Target="../slideLayouts/slideLayout148.xml"/><Relationship Id="rId11" Type="http://schemas.openxmlformats.org/officeDocument/2006/relationships/slideLayout" Target="../slideLayouts/slideLayout153.xml"/><Relationship Id="rId5" Type="http://schemas.openxmlformats.org/officeDocument/2006/relationships/slideLayout" Target="../slideLayouts/slideLayout147.xml"/><Relationship Id="rId15" Type="http://schemas.openxmlformats.org/officeDocument/2006/relationships/slideLayout" Target="../slideLayouts/slideLayout157.xml"/><Relationship Id="rId10" Type="http://schemas.openxmlformats.org/officeDocument/2006/relationships/slideLayout" Target="../slideLayouts/slideLayout152.xml"/><Relationship Id="rId19" Type="http://schemas.openxmlformats.org/officeDocument/2006/relationships/image" Target="../media/image3.emf"/><Relationship Id="rId4" Type="http://schemas.openxmlformats.org/officeDocument/2006/relationships/slideLayout" Target="../slideLayouts/slideLayout146.xml"/><Relationship Id="rId9" Type="http://schemas.openxmlformats.org/officeDocument/2006/relationships/slideLayout" Target="../slideLayouts/slideLayout151.xml"/><Relationship Id="rId14" Type="http://schemas.openxmlformats.org/officeDocument/2006/relationships/slideLayout" Target="../slideLayouts/slideLayout15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63166" y="1600202"/>
            <a:ext cx="11465668" cy="4325076"/>
          </a:xfrm>
          <a:prstGeom prst="rect">
            <a:avLst/>
          </a:prstGeom>
        </p:spPr>
        <p:txBody>
          <a:bodyPr vert="horz" lIns="0" tIns="45720" rIns="91440" bIns="45720" rtlCol="0">
            <a:noAutofit/>
          </a:bodyPr>
          <a:lstStyle/>
          <a:p>
            <a:pPr lvl="0"/>
            <a:r>
              <a:rPr lang="en-GB" err="1"/>
              <a:t>Modifiez</a:t>
            </a:r>
            <a:r>
              <a:rPr lang="en-GB"/>
              <a:t> les styles du </a:t>
            </a:r>
            <a:r>
              <a:rPr lang="en-GB" err="1"/>
              <a:t>texte</a:t>
            </a:r>
            <a:r>
              <a:rPr lang="en-GB"/>
              <a:t> du masque</a:t>
            </a:r>
          </a:p>
          <a:p>
            <a:pPr lvl="1"/>
            <a:r>
              <a:rPr lang="en-GB" err="1"/>
              <a:t>Deuxième</a:t>
            </a:r>
            <a:r>
              <a:rPr lang="en-GB"/>
              <a:t> </a:t>
            </a:r>
            <a:r>
              <a:rPr lang="en-GB" err="1"/>
              <a:t>niveau</a:t>
            </a:r>
            <a:endParaRPr lang="en-GB"/>
          </a:p>
          <a:p>
            <a:pPr lvl="2"/>
            <a:r>
              <a:rPr lang="en-GB" err="1"/>
              <a:t>Troisième</a:t>
            </a:r>
            <a:r>
              <a:rPr lang="en-GB"/>
              <a:t> </a:t>
            </a:r>
            <a:r>
              <a:rPr lang="en-GB" err="1"/>
              <a:t>niveau</a:t>
            </a:r>
            <a:endParaRPr lang="en-GB"/>
          </a:p>
          <a:p>
            <a:pPr lvl="3"/>
            <a:r>
              <a:rPr lang="en-GB" err="1"/>
              <a:t>Quatrième</a:t>
            </a:r>
            <a:r>
              <a:rPr lang="en-GB"/>
              <a:t> </a:t>
            </a:r>
            <a:r>
              <a:rPr lang="en-GB" err="1"/>
              <a:t>niveau</a:t>
            </a:r>
            <a:endParaRPr lang="en-GB"/>
          </a:p>
          <a:p>
            <a:pPr lvl="4"/>
            <a:r>
              <a:rPr lang="en-GB" err="1"/>
              <a:t>Cinquième</a:t>
            </a:r>
            <a:r>
              <a:rPr lang="en-GB"/>
              <a:t> </a:t>
            </a:r>
            <a:r>
              <a:rPr lang="en-GB" err="1"/>
              <a:t>niveau</a:t>
            </a:r>
            <a:endParaRPr lang="en-GB"/>
          </a:p>
        </p:txBody>
      </p:sp>
      <p:sp>
        <p:nvSpPr>
          <p:cNvPr id="2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sp>
        <p:nvSpPr>
          <p:cNvPr id="2" name="Title Placeholder 1"/>
          <p:cNvSpPr>
            <a:spLocks noGrp="1"/>
          </p:cNvSpPr>
          <p:nvPr>
            <p:ph type="title"/>
          </p:nvPr>
        </p:nvSpPr>
        <p:spPr>
          <a:xfrm>
            <a:off x="363166" y="366185"/>
            <a:ext cx="11465668" cy="470528"/>
          </a:xfrm>
          <a:prstGeom prst="rect">
            <a:avLst/>
          </a:prstGeom>
        </p:spPr>
        <p:txBody>
          <a:bodyPr vert="horz" lIns="91440" tIns="45720" rIns="91440" bIns="45720" rtlCol="0" anchor="ctr">
            <a:normAutofit/>
          </a:bodyPr>
          <a:lstStyle/>
          <a:p>
            <a:r>
              <a:rPr lang="en-GB" err="1"/>
              <a:t>Modifiez</a:t>
            </a:r>
            <a:r>
              <a:rPr lang="en-GB"/>
              <a:t> le style du titre</a:t>
            </a:r>
          </a:p>
        </p:txBody>
      </p:sp>
      <p:pic>
        <p:nvPicPr>
          <p:cNvPr id="9" name="Image 6" descr="Log_AXIANS_CRVB.jpg">
            <a:extLst>
              <a:ext uri="{FF2B5EF4-FFF2-40B4-BE49-F238E27FC236}">
                <a16:creationId xmlns:a16="http://schemas.microsoft.com/office/drawing/2014/main" id="{52BBB6B0-0EA1-43F7-BC1E-4858E398203D}"/>
              </a:ext>
            </a:extLst>
          </p:cNvPr>
          <p:cNvPicPr>
            <a:picLocks noChangeAspect="1"/>
          </p:cNvPicPr>
          <p:nvPr userDrawn="1"/>
        </p:nvPicPr>
        <p:blipFill>
          <a:blip r:embed="rId14">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174836943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ctr" defTabSz="1219170" rtl="0" eaLnBrk="1" latinLnBrk="0" hangingPunct="1">
        <a:lnSpc>
          <a:spcPct val="80000"/>
        </a:lnSpc>
        <a:spcBef>
          <a:spcPct val="0"/>
        </a:spcBef>
        <a:buNone/>
        <a:defRPr sz="2933" b="1" kern="1200" cap="all" baseline="0">
          <a:solidFill>
            <a:schemeClr val="tx2"/>
          </a:solidFill>
          <a:latin typeface="+mj-lt"/>
          <a:ea typeface="+mj-ea"/>
          <a:cs typeface="+mj-cs"/>
        </a:defRPr>
      </a:lvl1pPr>
    </p:titleStyle>
    <p:bodyStyle>
      <a:lvl1pPr marL="122764" indent="-122764" algn="l" defTabSz="1219170" rtl="0" eaLnBrk="1" latinLnBrk="0" hangingPunct="1">
        <a:spcBef>
          <a:spcPts val="1600"/>
        </a:spcBef>
        <a:buFont typeface="Calibri" pitchFamily="34" charset="0"/>
        <a:buChar char=" "/>
        <a:defRPr sz="1867" b="1" kern="1200">
          <a:solidFill>
            <a:schemeClr val="accent1"/>
          </a:solidFill>
          <a:latin typeface="+mj-lt"/>
          <a:ea typeface="+mn-ea"/>
          <a:cs typeface="+mn-cs"/>
        </a:defRPr>
      </a:lvl1pPr>
      <a:lvl2pPr marL="374641" indent="-241294" algn="l" defTabSz="1219170" rtl="0" eaLnBrk="1" latinLnBrk="0" hangingPunct="1">
        <a:spcBef>
          <a:spcPts val="800"/>
        </a:spcBef>
        <a:buFontTx/>
        <a:buBlip>
          <a:blip r:embed="rId15"/>
        </a:buBlip>
        <a:defRPr sz="1600" kern="1200">
          <a:solidFill>
            <a:schemeClr val="tx1"/>
          </a:solidFill>
          <a:latin typeface="+mn-lt"/>
          <a:ea typeface="+mn-ea"/>
          <a:cs typeface="+mn-cs"/>
        </a:defRPr>
      </a:lvl2pPr>
      <a:lvl3pPr marL="596885" indent="-118530" algn="l" defTabSz="1219170" rtl="0" eaLnBrk="1" latinLnBrk="0" hangingPunct="1">
        <a:spcBef>
          <a:spcPts val="800"/>
        </a:spcBef>
        <a:buClr>
          <a:schemeClr val="accent2"/>
        </a:buClr>
        <a:buFontTx/>
        <a:buBlip>
          <a:blip r:embed="rId16"/>
        </a:buBlip>
        <a:defRPr sz="1467" kern="1200">
          <a:solidFill>
            <a:schemeClr val="tx1"/>
          </a:solidFill>
          <a:latin typeface="+mn-lt"/>
          <a:ea typeface="+mn-ea"/>
          <a:cs typeface="+mn-cs"/>
        </a:defRPr>
      </a:lvl3pPr>
      <a:lvl4pPr marL="956709" indent="-124881" algn="l" defTabSz="1219170" rtl="0" eaLnBrk="1" latinLnBrk="0" hangingPunct="1">
        <a:spcBef>
          <a:spcPts val="800"/>
        </a:spcBef>
        <a:buClr>
          <a:schemeClr val="accent2"/>
        </a:buClr>
        <a:buFont typeface="Arial" panose="020B0604020202020204" pitchFamily="34" charset="0"/>
        <a:buChar char="­"/>
        <a:defRPr sz="1400" kern="1200">
          <a:solidFill>
            <a:schemeClr val="tx1"/>
          </a:solidFill>
          <a:latin typeface="+mn-lt"/>
          <a:ea typeface="+mn-ea"/>
          <a:cs typeface="+mn-cs"/>
        </a:defRPr>
      </a:lvl4pPr>
      <a:lvl5pPr marL="1314418" indent="-118530" algn="l" defTabSz="1219170" rtl="0" eaLnBrk="1" latinLnBrk="0" hangingPunct="1">
        <a:spcBef>
          <a:spcPts val="800"/>
        </a:spcBef>
        <a:buClr>
          <a:schemeClr val="accent2"/>
        </a:buClr>
        <a:buSzPct val="80000"/>
        <a:buFont typeface="Arial" pitchFamily="34" charset="0"/>
        <a:buChar char="•"/>
        <a:defRPr sz="1400"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56">
          <p15:clr>
            <a:srgbClr val="F26B43"/>
          </p15:clr>
        </p15:guide>
        <p15:guide id="2" pos="171">
          <p15:clr>
            <a:srgbClr val="F26B43"/>
          </p15:clr>
        </p15:guide>
        <p15:guide id="3" orient="horz" pos="2801">
          <p15:clr>
            <a:srgbClr val="F26B43"/>
          </p15:clr>
        </p15:guide>
        <p15:guide id="4" pos="5589">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0"/>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09157705"/>
      </p:ext>
    </p:extLst>
  </p:cSld>
  <p:clrMap bg1="dk1" tx1="lt1" bg2="dk2" tx2="lt2" accent1="accent1" accent2="accent2" accent3="accent3" accent4="accent4" accent5="accent5" accent6="accent6" hlink="hlink" folHlink="folHlink"/>
  <p:sldLayoutIdLst>
    <p:sldLayoutId id="2147483856" r:id="rId1"/>
    <p:sldLayoutId id="2147483857" r:id="rId2"/>
    <p:sldLayoutId id="2147483858" r:id="rId3"/>
    <p:sldLayoutId id="2147483859" r:id="rId4"/>
    <p:sldLayoutId id="2147483860" r:id="rId5"/>
    <p:sldLayoutId id="2147483861" r:id="rId6"/>
    <p:sldLayoutId id="2147483862" r:id="rId7"/>
    <p:sldLayoutId id="2147483863" r:id="rId8"/>
    <p:sldLayoutId id="2147483864" r:id="rId9"/>
    <p:sldLayoutId id="2147483865" r:id="rId10"/>
    <p:sldLayoutId id="2147483866" r:id="rId11"/>
    <p:sldLayoutId id="2147483867" r:id="rId12"/>
    <p:sldLayoutId id="2147483868" r:id="rId13"/>
    <p:sldLayoutId id="2147483869" r:id="rId14"/>
  </p:sldLayoutIdLst>
  <p:txStyles>
    <p:titleStyle>
      <a:lvl1pPr algn="l" defTabSz="914400" rtl="0" eaLnBrk="1" latinLnBrk="0" hangingPunct="1">
        <a:lnSpc>
          <a:spcPct val="90000"/>
        </a:lnSpc>
        <a:spcBef>
          <a:spcPct val="0"/>
        </a:spcBef>
        <a:buNone/>
        <a:defRPr sz="4400" kern="1200">
          <a:solidFill>
            <a:schemeClr val="tx1"/>
          </a:solidFill>
          <a:latin typeface="Segoe UI Light" panose="020B0502040204020203" pitchFamily="34" charset="0"/>
          <a:ea typeface="+mj-ea"/>
          <a:cs typeface="Segoe UI Light" panose="020B05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43858" y="1513"/>
            <a:ext cx="9936239" cy="1115753"/>
          </a:xfrm>
          <a:prstGeom prst="rect">
            <a:avLst/>
          </a:prstGeom>
        </p:spPr>
        <p:txBody>
          <a:bodyPr vert="horz" lIns="91440" tIns="45720" rIns="91440" bIns="45720" rtlCol="0" anchor="ctr">
            <a:normAutofit/>
          </a:bodyPr>
          <a:lstStyle/>
          <a:p>
            <a:r>
              <a:rPr lang="fr-FR"/>
              <a:t>Cliquez et modifiez le titre</a:t>
            </a:r>
          </a:p>
        </p:txBody>
      </p:sp>
      <p:sp>
        <p:nvSpPr>
          <p:cNvPr id="3" name="Espace réservé du texte 2"/>
          <p:cNvSpPr>
            <a:spLocks noGrp="1"/>
          </p:cNvSpPr>
          <p:nvPr>
            <p:ph type="body" idx="1"/>
          </p:nvPr>
        </p:nvSpPr>
        <p:spPr>
          <a:xfrm>
            <a:off x="345585" y="1620685"/>
            <a:ext cx="11404033" cy="4525963"/>
          </a:xfrm>
          <a:prstGeom prst="rect">
            <a:avLst/>
          </a:prstGeom>
        </p:spPr>
        <p:txBody>
          <a:bodyPr vert="horz" lIns="91440" tIns="45720" rIns="91440" bIns="45720" rtlCol="0">
            <a:normAutofit/>
          </a:bodyPr>
          <a:lstStyle/>
          <a:p>
            <a:pPr marL="353475" lvl="0" indent="-353475" algn="l" defTabSz="609585" rtl="0" eaLnBrk="1" latinLnBrk="0" hangingPunct="1">
              <a:lnSpc>
                <a:spcPct val="90000"/>
              </a:lnSpc>
              <a:spcBef>
                <a:spcPct val="20000"/>
              </a:spcBef>
              <a:buSzPct val="100000"/>
              <a:buFontTx/>
              <a:buBlip>
                <a:blip r:embed="rId22" r:link="rId23"/>
              </a:buBlip>
            </a:pPr>
            <a:r>
              <a:rPr lang="fr-FR"/>
              <a:t>First </a:t>
            </a:r>
            <a:r>
              <a:rPr lang="fr-FR" err="1"/>
              <a:t>level</a:t>
            </a:r>
            <a:r>
              <a:rPr lang="fr-FR"/>
              <a:t> ARIAL size 16 pt</a:t>
            </a:r>
          </a:p>
          <a:p>
            <a:pPr lvl="1"/>
            <a:r>
              <a:rPr lang="fr-FR"/>
              <a:t>Second </a:t>
            </a:r>
            <a:r>
              <a:rPr lang="fr-FR" err="1"/>
              <a:t>level</a:t>
            </a:r>
            <a:r>
              <a:rPr lang="fr-FR"/>
              <a:t> ARIAL size 14 pt</a:t>
            </a:r>
          </a:p>
          <a:p>
            <a:pPr lvl="2"/>
            <a:r>
              <a:rPr lang="fr-FR" err="1"/>
              <a:t>Third</a:t>
            </a:r>
            <a:r>
              <a:rPr lang="fr-FR"/>
              <a:t> </a:t>
            </a:r>
            <a:r>
              <a:rPr lang="fr-FR" err="1"/>
              <a:t>level</a:t>
            </a:r>
            <a:r>
              <a:rPr lang="fr-FR"/>
              <a:t> ARIAL 12 pt</a:t>
            </a:r>
          </a:p>
          <a:p>
            <a:pPr lvl="3"/>
            <a:r>
              <a:rPr lang="fr-FR" err="1"/>
              <a:t>Fourth</a:t>
            </a:r>
            <a:r>
              <a:rPr lang="fr-FR"/>
              <a:t> </a:t>
            </a:r>
            <a:r>
              <a:rPr lang="fr-FR" err="1"/>
              <a:t>level</a:t>
            </a:r>
            <a:r>
              <a:rPr lang="fr-FR"/>
              <a:t> ARIAL size 11 pt</a:t>
            </a:r>
          </a:p>
        </p:txBody>
      </p:sp>
      <p:pic>
        <p:nvPicPr>
          <p:cNvPr id="7" name="Image 6" descr="Log_AXIANS_CRVB.jpg"/>
          <p:cNvPicPr>
            <a:picLocks noChangeAspect="1"/>
          </p:cNvPicPr>
          <p:nvPr userDrawn="1"/>
        </p:nvPicPr>
        <p:blipFill>
          <a:blip r:embed="rId24" cstate="print">
            <a:alphaModFix/>
            <a:extLst>
              <a:ext uri="{28A0092B-C50C-407E-A947-70E740481C1C}">
                <a14:useLocalDpi xmlns:a14="http://schemas.microsoft.com/office/drawing/2010/main"/>
              </a:ext>
            </a:extLst>
          </a:blip>
          <a:stretch>
            <a:fillRect/>
          </a:stretch>
        </p:blipFill>
        <p:spPr>
          <a:xfrm>
            <a:off x="10280096" y="417851"/>
            <a:ext cx="1608776" cy="356307"/>
          </a:xfrm>
          <a:prstGeom prst="rect">
            <a:avLst/>
          </a:prstGeom>
        </p:spPr>
      </p:pic>
      <p:cxnSp>
        <p:nvCxnSpPr>
          <p:cNvPr id="8" name="Connecteur droit 7"/>
          <p:cNvCxnSpPr/>
          <p:nvPr userDrawn="1"/>
        </p:nvCxnSpPr>
        <p:spPr>
          <a:xfrm>
            <a:off x="462208" y="1117265"/>
            <a:ext cx="11267584"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cxnSp>
        <p:nvCxnSpPr>
          <p:cNvPr id="11" name="Connecteur droit 10"/>
          <p:cNvCxnSpPr/>
          <p:nvPr userDrawn="1"/>
        </p:nvCxnSpPr>
        <p:spPr>
          <a:xfrm>
            <a:off x="471314" y="6557611"/>
            <a:ext cx="11258479"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sp>
        <p:nvSpPr>
          <p:cNvPr id="12" name="Espace réservé du numéro de diapositive 5"/>
          <p:cNvSpPr txBox="1">
            <a:spLocks/>
          </p:cNvSpPr>
          <p:nvPr userDrawn="1"/>
        </p:nvSpPr>
        <p:spPr>
          <a:xfrm>
            <a:off x="9834692" y="6581851"/>
            <a:ext cx="2044929" cy="222320"/>
          </a:xfrm>
          <a:prstGeom prst="rect">
            <a:avLst/>
          </a:prstGeom>
        </p:spPr>
        <p:txBody>
          <a:bodyPr vert="horz" lIns="121920" tIns="60960" rIns="121920" bIns="60960" rtlCol="0" anchor="ctr"/>
          <a:lstStyle>
            <a:defPPr>
              <a:defRPr lang="fr-FR"/>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CF766ED4-CDF0-3E42-8502-86A56F21CA9C}" type="slidenum">
              <a:rPr lang="fr-FR" sz="1067" smtClean="0">
                <a:latin typeface="Arial"/>
                <a:cs typeface="Arial"/>
              </a:rPr>
              <a:pPr/>
              <a:t>‹#›</a:t>
            </a:fld>
            <a:endParaRPr lang="fr-FR" sz="1067">
              <a:latin typeface="Arial"/>
              <a:cs typeface="Arial"/>
            </a:endParaRPr>
          </a:p>
        </p:txBody>
      </p:sp>
      <p:pic>
        <p:nvPicPr>
          <p:cNvPr id="10" name="Image 9" descr="Log_AXIANS_CRVB.jpg"/>
          <p:cNvPicPr>
            <a:picLocks noChangeAspect="1"/>
          </p:cNvPicPr>
          <p:nvPr userDrawn="1"/>
        </p:nvPicPr>
        <p:blipFill>
          <a:blip r:embed="rId25">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4207913958"/>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 id="2147483687" r:id="rId14"/>
    <p:sldLayoutId id="2147483688" r:id="rId15"/>
    <p:sldLayoutId id="2147483689" r:id="rId16"/>
    <p:sldLayoutId id="2147483690" r:id="rId17"/>
    <p:sldLayoutId id="2147483691" r:id="rId18"/>
    <p:sldLayoutId id="2147483692" r:id="rId19"/>
    <p:sldLayoutId id="2147483695" r:id="rId20"/>
  </p:sldLayoutIdLst>
  <p:hf sldNum="0" hdr="0" dt="0"/>
  <p:txStyles>
    <p:titleStyle>
      <a:lvl1pPr algn="l" defTabSz="609585" rtl="0" eaLnBrk="1" latinLnBrk="0" hangingPunct="1">
        <a:spcBef>
          <a:spcPct val="0"/>
        </a:spcBef>
        <a:buNone/>
        <a:defRPr sz="2667" b="1" kern="1200" cap="all">
          <a:solidFill>
            <a:srgbClr val="005EB8"/>
          </a:solidFill>
          <a:latin typeface="Arial"/>
          <a:ea typeface="+mj-ea"/>
          <a:cs typeface="Arial"/>
        </a:defRPr>
      </a:lvl1pPr>
    </p:titleStyle>
    <p:bodyStyle>
      <a:lvl1pPr marL="353475" indent="-353475" algn="l" defTabSz="609585" rtl="0" eaLnBrk="1" latinLnBrk="0" hangingPunct="1">
        <a:lnSpc>
          <a:spcPct val="80000"/>
        </a:lnSpc>
        <a:spcBef>
          <a:spcPct val="20000"/>
        </a:spcBef>
        <a:buSzPct val="100000"/>
        <a:buFontTx/>
        <a:buBlip>
          <a:blip r:embed="rId22" r:link="rId23"/>
        </a:buBlip>
        <a:defRPr lang="fr-FR" sz="2133" b="0" i="0" kern="1200" baseline="0" dirty="0" smtClean="0">
          <a:solidFill>
            <a:schemeClr val="tx1"/>
          </a:solidFill>
          <a:latin typeface="Arial"/>
          <a:ea typeface="+mn-ea"/>
          <a:cs typeface="Arial"/>
        </a:defRPr>
      </a:lvl1pPr>
      <a:lvl2pPr marL="831830" indent="-239178" algn="l" defTabSz="609585" rtl="0" eaLnBrk="1" latinLnBrk="0" hangingPunct="1">
        <a:lnSpc>
          <a:spcPct val="80000"/>
        </a:lnSpc>
        <a:spcBef>
          <a:spcPct val="20000"/>
        </a:spcBef>
        <a:buSzPct val="79000"/>
        <a:buFont typeface="Arial"/>
        <a:buChar char="•"/>
        <a:defRPr sz="1867" kern="1200">
          <a:solidFill>
            <a:srgbClr val="005EB8"/>
          </a:solidFill>
          <a:latin typeface="Arial"/>
          <a:ea typeface="+mn-ea"/>
          <a:cs typeface="Arial"/>
        </a:defRPr>
      </a:lvl2pPr>
      <a:lvl3pPr marL="1204354" indent="-220128" algn="l" defTabSz="609585" rtl="0" eaLnBrk="1" latinLnBrk="0" hangingPunct="1">
        <a:lnSpc>
          <a:spcPct val="80000"/>
        </a:lnSpc>
        <a:spcBef>
          <a:spcPct val="20000"/>
        </a:spcBef>
        <a:buFont typeface="Arial"/>
        <a:buChar char="•"/>
        <a:defRPr sz="1600" kern="1200">
          <a:solidFill>
            <a:schemeClr val="accent1"/>
          </a:solidFill>
          <a:latin typeface="Arial"/>
          <a:ea typeface="+mn-ea"/>
          <a:cs typeface="Arial"/>
        </a:defRPr>
      </a:lvl3pPr>
      <a:lvl4pPr marL="1549361" indent="-237061" algn="l" defTabSz="609585" rtl="0" eaLnBrk="1" latinLnBrk="0" hangingPunct="1">
        <a:lnSpc>
          <a:spcPct val="80000"/>
        </a:lnSpc>
        <a:spcBef>
          <a:spcPct val="20000"/>
        </a:spcBef>
        <a:buClr>
          <a:schemeClr val="tx2"/>
        </a:buClr>
        <a:buSzPct val="89000"/>
        <a:buFont typeface="Lucida Grande"/>
        <a:buChar char="-"/>
        <a:defRPr sz="1467" kern="1200" baseline="0">
          <a:solidFill>
            <a:srgbClr val="87888A"/>
          </a:solidFill>
          <a:latin typeface="Arial"/>
          <a:ea typeface="+mn-ea"/>
          <a:cs typeface="Arial"/>
        </a:defRPr>
      </a:lvl4pPr>
      <a:lvl5pPr marL="2438339" indent="0" algn="l" defTabSz="609585" rtl="0" eaLnBrk="1" latinLnBrk="0" hangingPunct="1">
        <a:lnSpc>
          <a:spcPct val="80000"/>
        </a:lnSpc>
        <a:spcBef>
          <a:spcPct val="20000"/>
        </a:spcBef>
        <a:buFont typeface="Arial"/>
        <a:buNone/>
        <a:defRPr sz="1600" kern="1200" baseline="0">
          <a:solidFill>
            <a:srgbClr val="B1B3B4"/>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fr-FR"/>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63166" y="1600202"/>
            <a:ext cx="11465668" cy="4325076"/>
          </a:xfrm>
          <a:prstGeom prst="rect">
            <a:avLst/>
          </a:prstGeom>
        </p:spPr>
        <p:txBody>
          <a:bodyPr vert="horz" lIns="0" tIns="45720" rIns="91440" bIns="45720" rtlCol="0">
            <a:noAutofit/>
          </a:body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a:p>
            <a:pPr lvl="4"/>
            <a:r>
              <a:rPr lang="en-GB" dirty="0" err="1"/>
              <a:t>Cinquième</a:t>
            </a:r>
            <a:r>
              <a:rPr lang="en-GB" dirty="0"/>
              <a:t> </a:t>
            </a:r>
            <a:r>
              <a:rPr lang="en-GB" dirty="0" err="1"/>
              <a:t>niveau</a:t>
            </a:r>
            <a:endParaRPr lang="en-GB" dirty="0"/>
          </a:p>
        </p:txBody>
      </p:sp>
      <p:sp>
        <p:nvSpPr>
          <p:cNvPr id="2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Title Placeholder 1"/>
          <p:cNvSpPr>
            <a:spLocks noGrp="1"/>
          </p:cNvSpPr>
          <p:nvPr>
            <p:ph type="title"/>
          </p:nvPr>
        </p:nvSpPr>
        <p:spPr>
          <a:xfrm>
            <a:off x="363166" y="366185"/>
            <a:ext cx="11465668" cy="470528"/>
          </a:xfrm>
          <a:prstGeom prst="rect">
            <a:avLst/>
          </a:prstGeom>
        </p:spPr>
        <p:txBody>
          <a:bodyPr vert="horz" lIns="91440" tIns="45720" rIns="91440" bIns="45720" rtlCol="0" anchor="ctr">
            <a:normAutofit/>
          </a:bodyPr>
          <a:lstStyle/>
          <a:p>
            <a:r>
              <a:rPr lang="en-GB" dirty="0" err="1"/>
              <a:t>Modifiez</a:t>
            </a:r>
            <a:r>
              <a:rPr lang="en-GB" dirty="0"/>
              <a:t> le style du titre</a:t>
            </a:r>
          </a:p>
        </p:txBody>
      </p:sp>
      <p:sp>
        <p:nvSpPr>
          <p:cNvPr id="4" name="Espace réservé du pied de page 3"/>
          <p:cNvSpPr>
            <a:spLocks noGrp="1"/>
          </p:cNvSpPr>
          <p:nvPr>
            <p:ph type="ftr" sz="quarter" idx="3"/>
          </p:nvPr>
        </p:nvSpPr>
        <p:spPr>
          <a:xfrm>
            <a:off x="1826652" y="6356351"/>
            <a:ext cx="4114800" cy="366183"/>
          </a:xfrm>
          <a:prstGeom prst="rect">
            <a:avLst/>
          </a:prstGeom>
        </p:spPr>
        <p:txBody>
          <a:bodyPr vert="horz" lIns="91440" tIns="45720" rIns="91440" bIns="45720" rtlCol="0" anchor="ctr"/>
          <a:lstStyle>
            <a:lvl1pPr algn="l">
              <a:defRPr sz="1067">
                <a:solidFill>
                  <a:schemeClr val="tx1">
                    <a:tint val="75000"/>
                  </a:schemeClr>
                </a:solidFill>
              </a:defRPr>
            </a:lvl1pPr>
          </a:lstStyle>
          <a:p>
            <a:r>
              <a:rPr lang="fr-FR" dirty="0"/>
              <a:t>| </a:t>
            </a:r>
            <a:r>
              <a:rPr lang="fr-FR" dirty="0" err="1"/>
              <a:t>Improving</a:t>
            </a:r>
            <a:r>
              <a:rPr lang="fr-FR" dirty="0"/>
              <a:t> </a:t>
            </a:r>
            <a:r>
              <a:rPr lang="fr-FR" dirty="0" err="1"/>
              <a:t>industrial</a:t>
            </a:r>
            <a:r>
              <a:rPr lang="fr-FR" dirty="0"/>
              <a:t> performance</a:t>
            </a:r>
          </a:p>
        </p:txBody>
      </p:sp>
    </p:spTree>
    <p:extLst>
      <p:ext uri="{BB962C8B-B14F-4D97-AF65-F5344CB8AC3E}">
        <p14:creationId xmlns:p14="http://schemas.microsoft.com/office/powerpoint/2010/main" val="50628967"/>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ctr" defTabSz="1219170" rtl="0" eaLnBrk="1" latinLnBrk="0" hangingPunct="1">
        <a:lnSpc>
          <a:spcPct val="80000"/>
        </a:lnSpc>
        <a:spcBef>
          <a:spcPct val="0"/>
        </a:spcBef>
        <a:buNone/>
        <a:defRPr sz="2933" b="1" kern="1200" cap="all" baseline="0">
          <a:solidFill>
            <a:schemeClr val="tx2"/>
          </a:solidFill>
          <a:latin typeface="+mj-lt"/>
          <a:ea typeface="+mj-ea"/>
          <a:cs typeface="+mj-cs"/>
        </a:defRPr>
      </a:lvl1pPr>
    </p:titleStyle>
    <p:bodyStyle>
      <a:lvl1pPr marL="122764" indent="-122764" algn="l" defTabSz="1219170" rtl="0" eaLnBrk="1" latinLnBrk="0" hangingPunct="1">
        <a:spcBef>
          <a:spcPts val="1600"/>
        </a:spcBef>
        <a:buFont typeface="Calibri" pitchFamily="34" charset="0"/>
        <a:buChar char=" "/>
        <a:defRPr sz="1867" b="1" kern="1200">
          <a:solidFill>
            <a:schemeClr val="accent1"/>
          </a:solidFill>
          <a:latin typeface="+mj-lt"/>
          <a:ea typeface="+mn-ea"/>
          <a:cs typeface="+mn-cs"/>
        </a:defRPr>
      </a:lvl1pPr>
      <a:lvl2pPr marL="374641" indent="-241294" algn="l" defTabSz="1219170" rtl="0" eaLnBrk="1" latinLnBrk="0" hangingPunct="1">
        <a:spcBef>
          <a:spcPts val="800"/>
        </a:spcBef>
        <a:buFontTx/>
        <a:buBlip>
          <a:blip r:embed="rId14"/>
        </a:buBlip>
        <a:defRPr sz="1600" kern="1200">
          <a:solidFill>
            <a:schemeClr val="tx1"/>
          </a:solidFill>
          <a:latin typeface="+mn-lt"/>
          <a:ea typeface="+mn-ea"/>
          <a:cs typeface="+mn-cs"/>
        </a:defRPr>
      </a:lvl2pPr>
      <a:lvl3pPr marL="596885" indent="-118530" algn="l" defTabSz="1219170" rtl="0" eaLnBrk="1" latinLnBrk="0" hangingPunct="1">
        <a:spcBef>
          <a:spcPts val="800"/>
        </a:spcBef>
        <a:buClr>
          <a:schemeClr val="accent2"/>
        </a:buClr>
        <a:buFontTx/>
        <a:buBlip>
          <a:blip r:embed="rId15"/>
        </a:buBlip>
        <a:defRPr sz="1467" kern="1200">
          <a:solidFill>
            <a:schemeClr val="tx1"/>
          </a:solidFill>
          <a:latin typeface="+mn-lt"/>
          <a:ea typeface="+mn-ea"/>
          <a:cs typeface="+mn-cs"/>
        </a:defRPr>
      </a:lvl3pPr>
      <a:lvl4pPr marL="956709" indent="-124881" algn="l" defTabSz="1219170" rtl="0" eaLnBrk="1" latinLnBrk="0" hangingPunct="1">
        <a:spcBef>
          <a:spcPts val="800"/>
        </a:spcBef>
        <a:buClr>
          <a:schemeClr val="accent2"/>
        </a:buClr>
        <a:buFont typeface="Arial" panose="020B0604020202020204" pitchFamily="34" charset="0"/>
        <a:buChar char="­"/>
        <a:defRPr sz="1400" kern="1200">
          <a:solidFill>
            <a:schemeClr val="tx1"/>
          </a:solidFill>
          <a:latin typeface="+mn-lt"/>
          <a:ea typeface="+mn-ea"/>
          <a:cs typeface="+mn-cs"/>
        </a:defRPr>
      </a:lvl4pPr>
      <a:lvl5pPr marL="1314418" indent="-118530" algn="l" defTabSz="1219170" rtl="0" eaLnBrk="1" latinLnBrk="0" hangingPunct="1">
        <a:spcBef>
          <a:spcPts val="800"/>
        </a:spcBef>
        <a:buClr>
          <a:schemeClr val="accent2"/>
        </a:buClr>
        <a:buSzPct val="80000"/>
        <a:buFont typeface="Arial" pitchFamily="34" charset="0"/>
        <a:buChar char="•"/>
        <a:defRPr sz="1400"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56">
          <p15:clr>
            <a:srgbClr val="F26B43"/>
          </p15:clr>
        </p15:guide>
        <p15:guide id="2" pos="171">
          <p15:clr>
            <a:srgbClr val="F26B43"/>
          </p15:clr>
        </p15:guide>
        <p15:guide id="3" orient="horz" pos="2801">
          <p15:clr>
            <a:srgbClr val="F26B43"/>
          </p15:clr>
        </p15:guide>
        <p15:guide id="4" pos="5589">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4"/>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5" y="1554939"/>
            <a:ext cx="11653521" cy="218145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31"/>
          <a:stretch>
            <a:fillRect/>
          </a:stretch>
        </p:blipFill>
        <p:spPr>
          <a:xfrm rot="5400000">
            <a:off x="9208750" y="2991036"/>
            <a:ext cx="6858623" cy="876557"/>
          </a:xfrm>
          <a:prstGeom prst="rect">
            <a:avLst/>
          </a:prstGeom>
        </p:spPr>
      </p:pic>
    </p:spTree>
    <p:extLst>
      <p:ext uri="{BB962C8B-B14F-4D97-AF65-F5344CB8AC3E}">
        <p14:creationId xmlns:p14="http://schemas.microsoft.com/office/powerpoint/2010/main" val="2006807858"/>
      </p:ext>
    </p:extLst>
  </p:cSld>
  <p:clrMap bg1="dk1" tx1="lt1" bg2="dk2" tx2="lt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 id="2147483721" r:id="rId12"/>
    <p:sldLayoutId id="2147483722" r:id="rId13"/>
    <p:sldLayoutId id="2147483723" r:id="rId14"/>
    <p:sldLayoutId id="2147483724" r:id="rId15"/>
    <p:sldLayoutId id="2147483725" r:id="rId16"/>
    <p:sldLayoutId id="2147483726" r:id="rId17"/>
    <p:sldLayoutId id="2147483727" r:id="rId18"/>
    <p:sldLayoutId id="2147483728" r:id="rId19"/>
    <p:sldLayoutId id="2147483729" r:id="rId20"/>
    <p:sldLayoutId id="2147483730" r:id="rId21"/>
    <p:sldLayoutId id="2147483731" r:id="rId22"/>
    <p:sldLayoutId id="2147483732" r:id="rId23"/>
    <p:sldLayoutId id="2147483733" r:id="rId24"/>
    <p:sldLayoutId id="2147483734" r:id="rId25"/>
    <p:sldLayoutId id="2147483735" r:id="rId26"/>
    <p:sldLayoutId id="2147483736" r:id="rId27"/>
    <p:sldLayoutId id="2147483737" r:id="rId28"/>
    <p:sldLayoutId id="2147483738" r:id="rId29"/>
  </p:sldLayoutIdLst>
  <p:transition>
    <p:fade/>
  </p:transition>
  <p:txStyles>
    <p:titleStyle>
      <a:lvl1pPr algn="l" defTabSz="913993"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06" marR="0" indent="-336006" algn="l" defTabSz="913993" rtl="0" eaLnBrk="1" fontAlgn="auto" latinLnBrk="0" hangingPunct="1">
        <a:lnSpc>
          <a:spcPct val="90000"/>
        </a:lnSpc>
        <a:spcBef>
          <a:spcPts val="18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56" marR="0" indent="-236449" algn="l" defTabSz="913993" rtl="0" eaLnBrk="1" fontAlgn="auto" latinLnBrk="0" hangingPunct="1">
        <a:lnSpc>
          <a:spcPct val="90000"/>
        </a:lnSpc>
        <a:spcBef>
          <a:spcPts val="365"/>
        </a:spcBef>
        <a:spcAft>
          <a:spcPts val="60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16" marR="0" indent="-224005" algn="l" defTabSz="913993"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21" marR="0" indent="-224005" algn="l" defTabSz="913993"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28" marR="0" indent="-224005" algn="l" defTabSz="913993"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480" indent="-228498" algn="l" defTabSz="9139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478" indent="-228498" algn="l" defTabSz="9139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476" indent="-228498" algn="l" defTabSz="9139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472" indent="-228498" algn="l" defTabSz="913993"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3993" rtl="0" eaLnBrk="1" latinLnBrk="0" hangingPunct="1">
        <a:defRPr sz="1765" kern="1200">
          <a:solidFill>
            <a:schemeClr val="tx1"/>
          </a:solidFill>
          <a:latin typeface="+mn-lt"/>
          <a:ea typeface="+mn-ea"/>
          <a:cs typeface="+mn-cs"/>
        </a:defRPr>
      </a:lvl1pPr>
      <a:lvl2pPr marL="456995" algn="l" defTabSz="913993" rtl="0" eaLnBrk="1" latinLnBrk="0" hangingPunct="1">
        <a:defRPr sz="1765" kern="1200">
          <a:solidFill>
            <a:schemeClr val="tx1"/>
          </a:solidFill>
          <a:latin typeface="+mn-lt"/>
          <a:ea typeface="+mn-ea"/>
          <a:cs typeface="+mn-cs"/>
        </a:defRPr>
      </a:lvl2pPr>
      <a:lvl3pPr marL="913993" algn="l" defTabSz="913993" rtl="0" eaLnBrk="1" latinLnBrk="0" hangingPunct="1">
        <a:defRPr sz="1765" kern="1200">
          <a:solidFill>
            <a:schemeClr val="tx1"/>
          </a:solidFill>
          <a:latin typeface="+mn-lt"/>
          <a:ea typeface="+mn-ea"/>
          <a:cs typeface="+mn-cs"/>
        </a:defRPr>
      </a:lvl3pPr>
      <a:lvl4pPr marL="1370990" algn="l" defTabSz="913993" rtl="0" eaLnBrk="1" latinLnBrk="0" hangingPunct="1">
        <a:defRPr sz="1765" kern="1200">
          <a:solidFill>
            <a:schemeClr val="tx1"/>
          </a:solidFill>
          <a:latin typeface="+mn-lt"/>
          <a:ea typeface="+mn-ea"/>
          <a:cs typeface="+mn-cs"/>
        </a:defRPr>
      </a:lvl4pPr>
      <a:lvl5pPr marL="1827986" algn="l" defTabSz="913993" rtl="0" eaLnBrk="1" latinLnBrk="0" hangingPunct="1">
        <a:defRPr sz="1765" kern="1200">
          <a:solidFill>
            <a:schemeClr val="tx1"/>
          </a:solidFill>
          <a:latin typeface="+mn-lt"/>
          <a:ea typeface="+mn-ea"/>
          <a:cs typeface="+mn-cs"/>
        </a:defRPr>
      </a:lvl5pPr>
      <a:lvl6pPr marL="2284983" algn="l" defTabSz="913993" rtl="0" eaLnBrk="1" latinLnBrk="0" hangingPunct="1">
        <a:defRPr sz="1765" kern="1200">
          <a:solidFill>
            <a:schemeClr val="tx1"/>
          </a:solidFill>
          <a:latin typeface="+mn-lt"/>
          <a:ea typeface="+mn-ea"/>
          <a:cs typeface="+mn-cs"/>
        </a:defRPr>
      </a:lvl6pPr>
      <a:lvl7pPr marL="2741979" algn="l" defTabSz="913993" rtl="0" eaLnBrk="1" latinLnBrk="0" hangingPunct="1">
        <a:defRPr sz="1765" kern="1200">
          <a:solidFill>
            <a:schemeClr val="tx1"/>
          </a:solidFill>
          <a:latin typeface="+mn-lt"/>
          <a:ea typeface="+mn-ea"/>
          <a:cs typeface="+mn-cs"/>
        </a:defRPr>
      </a:lvl7pPr>
      <a:lvl8pPr marL="3198975" algn="l" defTabSz="913993" rtl="0" eaLnBrk="1" latinLnBrk="0" hangingPunct="1">
        <a:defRPr sz="1765" kern="1200">
          <a:solidFill>
            <a:schemeClr val="tx1"/>
          </a:solidFill>
          <a:latin typeface="+mn-lt"/>
          <a:ea typeface="+mn-ea"/>
          <a:cs typeface="+mn-cs"/>
        </a:defRPr>
      </a:lvl8pPr>
      <a:lvl9pPr marL="3655974" algn="l" defTabSz="913993"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20">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guide id="27" orient="horz" pos="98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sv-SE" dirty="0"/>
              <a:t>Klicka här för att ändra format</a:t>
            </a:r>
          </a:p>
        </p:txBody>
      </p:sp>
      <p:sp>
        <p:nvSpPr>
          <p:cNvPr id="3" name="Platshållare för text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A15A317-E1FD-4430-9064-36E69D31F355}" type="datetimeFigureOut">
              <a:rPr lang="sv-SE" smtClean="0"/>
              <a:t>2019-04-30</a:t>
            </a:fld>
            <a:endParaRPr lang="sv-SE"/>
          </a:p>
        </p:txBody>
      </p:sp>
      <p:sp>
        <p:nvSpPr>
          <p:cNvPr id="5" name="Platshållare för sidfot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sv-SE"/>
          </a:p>
        </p:txBody>
      </p:sp>
      <p:sp>
        <p:nvSpPr>
          <p:cNvPr id="6" name="Platshållare för bildnumm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7223857-EF42-49B7-B1AE-BFF52E589DE0}" type="slidenum">
              <a:rPr lang="sv-SE" smtClean="0"/>
              <a:t>‹#›</a:t>
            </a:fld>
            <a:endParaRPr lang="sv-SE"/>
          </a:p>
        </p:txBody>
      </p:sp>
      <p:sp>
        <p:nvSpPr>
          <p:cNvPr id="8" name="Rektangel 7"/>
          <p:cNvSpPr/>
          <p:nvPr userDrawn="1"/>
        </p:nvSpPr>
        <p:spPr>
          <a:xfrm>
            <a:off x="0" y="0"/>
            <a:ext cx="12192000" cy="6858000"/>
          </a:xfrm>
          <a:prstGeom prst="rect">
            <a:avLst/>
          </a:prstGeom>
          <a:solidFill>
            <a:srgbClr val="00188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465141543"/>
      </p:ext>
    </p:extLst>
  </p:cSld>
  <p:clrMap bg1="lt1" tx1="dk1" bg2="lt2" tx2="dk2" accent1="accent1" accent2="accent2" accent3="accent3" accent4="accent4" accent5="accent5" accent6="accent6" hlink="hlink" folHlink="folHlink"/>
  <p:sldLayoutIdLst>
    <p:sldLayoutId id="2147483741" r:id="rId1"/>
    <p:sldLayoutId id="2147483742" r:id="rId2"/>
    <p:sldLayoutId id="2147483743" r:id="rId3"/>
    <p:sldLayoutId id="2147483744" r:id="rId4"/>
    <p:sldLayoutId id="2147483745" r:id="rId5"/>
    <p:sldLayoutId id="2147483746" r:id="rId6"/>
    <p:sldLayoutId id="2147483747" r:id="rId7"/>
  </p:sldLayoutIdLst>
  <p:txStyles>
    <p:titleStyle>
      <a:lvl1pPr algn="l" defTabSz="914400" rtl="0" eaLnBrk="1" latinLnBrk="0" hangingPunct="1">
        <a:lnSpc>
          <a:spcPct val="90000"/>
        </a:lnSpc>
        <a:spcBef>
          <a:spcPct val="0"/>
        </a:spcBef>
        <a:buNone/>
        <a:defRPr sz="4400" kern="1200">
          <a:solidFill>
            <a:schemeClr val="bg1"/>
          </a:solidFill>
          <a:latin typeface="Segoe UI Light" panose="020B0502040204020203"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Segoe UI Light" panose="020B05020402040202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Segoe UI Light" panose="020B050204020402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Segoe UI Light" panose="020B05020402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Segoe UI Light" panose="020B05020402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Segoe UI Light" panose="020B05020402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4" name="Platshållare för datum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bg1"/>
                </a:solidFill>
              </a:defRPr>
            </a:lvl1pPr>
          </a:lstStyle>
          <a:p>
            <a:fld id="{026EB9C9-4BCB-46E5-B3B3-09AD3677738B}" type="datetimeFigureOut">
              <a:rPr lang="sv-SE" smtClean="0"/>
              <a:pPr/>
              <a:t>2019-04-30</a:t>
            </a:fld>
            <a:endParaRPr lang="sv-SE" dirty="0"/>
          </a:p>
        </p:txBody>
      </p:sp>
      <p:sp>
        <p:nvSpPr>
          <p:cNvPr id="5" name="Platshållare för sidfot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sv-SE"/>
          </a:p>
        </p:txBody>
      </p:sp>
      <p:sp>
        <p:nvSpPr>
          <p:cNvPr id="6" name="Platshållare för bildnumm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B240767-FD45-408F-98F7-E57F15A24E3D}" type="slidenum">
              <a:rPr lang="sv-SE" smtClean="0"/>
              <a:t>‹#›</a:t>
            </a:fld>
            <a:endParaRPr lang="sv-SE"/>
          </a:p>
        </p:txBody>
      </p:sp>
    </p:spTree>
    <p:extLst>
      <p:ext uri="{BB962C8B-B14F-4D97-AF65-F5344CB8AC3E}">
        <p14:creationId xmlns:p14="http://schemas.microsoft.com/office/powerpoint/2010/main" val="3259010722"/>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51" r:id="rId3"/>
  </p:sldLayoutIdLst>
  <p:txStyles>
    <p:titleStyle>
      <a:lvl1pPr algn="l" defTabSz="914400" rtl="0" eaLnBrk="1" latinLnBrk="0" hangingPunct="1">
        <a:lnSpc>
          <a:spcPct val="90000"/>
        </a:lnSpc>
        <a:spcBef>
          <a:spcPct val="0"/>
        </a:spcBef>
        <a:buNone/>
        <a:defRPr sz="4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554938"/>
            <a:ext cx="11653521" cy="2111027"/>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31"/>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1298292334"/>
      </p:ext>
    </p:extLst>
  </p:cSld>
  <p:clrMap bg1="dk1" tx1="lt1" bg2="dk2" tx2="lt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 id="2147483762" r:id="rId10"/>
    <p:sldLayoutId id="2147483763" r:id="rId11"/>
    <p:sldLayoutId id="2147483764" r:id="rId12"/>
    <p:sldLayoutId id="2147483765" r:id="rId13"/>
    <p:sldLayoutId id="2147483766" r:id="rId14"/>
    <p:sldLayoutId id="2147483767" r:id="rId15"/>
    <p:sldLayoutId id="2147483768" r:id="rId16"/>
    <p:sldLayoutId id="2147483769" r:id="rId17"/>
    <p:sldLayoutId id="2147483770" r:id="rId18"/>
    <p:sldLayoutId id="2147483771" r:id="rId19"/>
    <p:sldLayoutId id="2147483772" r:id="rId20"/>
    <p:sldLayoutId id="2147483773" r:id="rId21"/>
    <p:sldLayoutId id="2147483774" r:id="rId22"/>
    <p:sldLayoutId id="2147483775" r:id="rId23"/>
    <p:sldLayoutId id="2147483776" r:id="rId24"/>
    <p:sldLayoutId id="2147483777" r:id="rId25"/>
    <p:sldLayoutId id="2147483778" r:id="rId26"/>
    <p:sldLayoutId id="2147483779" r:id="rId27"/>
    <p:sldLayoutId id="2147483780" r:id="rId28"/>
    <p:sldLayoutId id="2147483781" r:id="rId29"/>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ts val="18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ts val="365"/>
        </a:spcBef>
        <a:spcAft>
          <a:spcPts val="60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20">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guide id="27" orient="horz" pos="98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554938"/>
            <a:ext cx="11653521" cy="2111027"/>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32"/>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3444210768"/>
      </p:ext>
    </p:extLst>
  </p:cSld>
  <p:clrMap bg1="dk1" tx1="lt1" bg2="dk2" tx2="lt2" accent1="accent1" accent2="accent2" accent3="accent3" accent4="accent4" accent5="accent5" accent6="accent6" hlink="hlink" folHlink="folHlink"/>
  <p:sldLayoutIdLst>
    <p:sldLayoutId id="2147483807" r:id="rId1"/>
    <p:sldLayoutId id="2147483808" r:id="rId2"/>
    <p:sldLayoutId id="2147483809" r:id="rId3"/>
    <p:sldLayoutId id="2147483810" r:id="rId4"/>
    <p:sldLayoutId id="2147483811" r:id="rId5"/>
    <p:sldLayoutId id="2147483812" r:id="rId6"/>
    <p:sldLayoutId id="2147483813" r:id="rId7"/>
    <p:sldLayoutId id="2147483814" r:id="rId8"/>
    <p:sldLayoutId id="2147483815" r:id="rId9"/>
    <p:sldLayoutId id="2147483816" r:id="rId10"/>
    <p:sldLayoutId id="2147483817" r:id="rId11"/>
    <p:sldLayoutId id="2147483818" r:id="rId12"/>
    <p:sldLayoutId id="2147483819" r:id="rId13"/>
    <p:sldLayoutId id="2147483820" r:id="rId14"/>
    <p:sldLayoutId id="2147483821" r:id="rId15"/>
    <p:sldLayoutId id="2147483822" r:id="rId16"/>
    <p:sldLayoutId id="2147483823" r:id="rId17"/>
    <p:sldLayoutId id="2147483824" r:id="rId18"/>
    <p:sldLayoutId id="2147483825" r:id="rId19"/>
    <p:sldLayoutId id="2147483826" r:id="rId20"/>
    <p:sldLayoutId id="2147483828" r:id="rId21"/>
    <p:sldLayoutId id="2147483829" r:id="rId22"/>
    <p:sldLayoutId id="2147483830" r:id="rId23"/>
    <p:sldLayoutId id="2147483831" r:id="rId24"/>
    <p:sldLayoutId id="2147483832" r:id="rId25"/>
    <p:sldLayoutId id="2147483833" r:id="rId26"/>
    <p:sldLayoutId id="2147483834" r:id="rId27"/>
    <p:sldLayoutId id="2147483835" r:id="rId28"/>
    <p:sldLayoutId id="2147483836" r:id="rId29"/>
    <p:sldLayoutId id="2147483838" r:id="rId30"/>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ts val="18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ts val="365"/>
        </a:spcBef>
        <a:spcAft>
          <a:spcPts val="60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20">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guide id="27" orient="horz" pos="98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63166" y="1600202"/>
            <a:ext cx="11465668" cy="4325076"/>
          </a:xfrm>
          <a:prstGeom prst="rect">
            <a:avLst/>
          </a:prstGeom>
        </p:spPr>
        <p:txBody>
          <a:bodyPr vert="horz" lIns="0" tIns="45720" rIns="91440" bIns="45720" rtlCol="0">
            <a:noAutofit/>
          </a:body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a:p>
            <a:pPr lvl="4"/>
            <a:r>
              <a:rPr lang="en-GB" dirty="0" err="1"/>
              <a:t>Cinquième</a:t>
            </a:r>
            <a:r>
              <a:rPr lang="en-GB" dirty="0"/>
              <a:t> </a:t>
            </a:r>
            <a:r>
              <a:rPr lang="en-GB" dirty="0" err="1"/>
              <a:t>niveau</a:t>
            </a:r>
            <a:endParaRPr lang="en-GB" dirty="0"/>
          </a:p>
        </p:txBody>
      </p:sp>
      <p:pic>
        <p:nvPicPr>
          <p:cNvPr id="7" name="Image 6"/>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2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Title Placeholder 1"/>
          <p:cNvSpPr>
            <a:spLocks noGrp="1"/>
          </p:cNvSpPr>
          <p:nvPr>
            <p:ph type="title"/>
          </p:nvPr>
        </p:nvSpPr>
        <p:spPr>
          <a:xfrm>
            <a:off x="363166" y="366185"/>
            <a:ext cx="11465668" cy="470528"/>
          </a:xfrm>
          <a:prstGeom prst="rect">
            <a:avLst/>
          </a:prstGeom>
        </p:spPr>
        <p:txBody>
          <a:bodyPr vert="horz" lIns="91440" tIns="45720" rIns="91440" bIns="45720" rtlCol="0" anchor="ctr">
            <a:normAutofit/>
          </a:bodyPr>
          <a:lstStyle/>
          <a:p>
            <a:r>
              <a:rPr lang="en-GB" dirty="0" err="1"/>
              <a:t>Modifiez</a:t>
            </a:r>
            <a:r>
              <a:rPr lang="en-GB" dirty="0"/>
              <a:t> le style du titre</a:t>
            </a:r>
          </a:p>
        </p:txBody>
      </p:sp>
      <p:sp>
        <p:nvSpPr>
          <p:cNvPr id="4" name="Espace réservé du pied de page 3"/>
          <p:cNvSpPr>
            <a:spLocks noGrp="1"/>
          </p:cNvSpPr>
          <p:nvPr>
            <p:ph type="ftr" sz="quarter" idx="3"/>
          </p:nvPr>
        </p:nvSpPr>
        <p:spPr>
          <a:xfrm>
            <a:off x="1826652" y="6356351"/>
            <a:ext cx="4114800" cy="366183"/>
          </a:xfrm>
          <a:prstGeom prst="rect">
            <a:avLst/>
          </a:prstGeom>
        </p:spPr>
        <p:txBody>
          <a:bodyPr vert="horz" lIns="91440" tIns="45720" rIns="91440" bIns="45720" rtlCol="0" anchor="ctr"/>
          <a:lstStyle>
            <a:lvl1pPr algn="l">
              <a:defRPr sz="1067">
                <a:solidFill>
                  <a:schemeClr val="tx1">
                    <a:tint val="75000"/>
                  </a:schemeClr>
                </a:solidFill>
              </a:defRPr>
            </a:lvl1pPr>
          </a:lstStyle>
          <a:p>
            <a:r>
              <a:rPr lang="fr-FR" dirty="0"/>
              <a:t>| </a:t>
            </a:r>
            <a:r>
              <a:rPr lang="fr-FR" dirty="0" err="1"/>
              <a:t>Improving</a:t>
            </a:r>
            <a:r>
              <a:rPr lang="fr-FR" dirty="0"/>
              <a:t> </a:t>
            </a:r>
            <a:r>
              <a:rPr lang="fr-FR" dirty="0" err="1"/>
              <a:t>industrial</a:t>
            </a:r>
            <a:r>
              <a:rPr lang="fr-FR" dirty="0"/>
              <a:t> performance</a:t>
            </a:r>
          </a:p>
        </p:txBody>
      </p:sp>
    </p:spTree>
    <p:extLst>
      <p:ext uri="{BB962C8B-B14F-4D97-AF65-F5344CB8AC3E}">
        <p14:creationId xmlns:p14="http://schemas.microsoft.com/office/powerpoint/2010/main" val="4163022073"/>
      </p:ext>
    </p:extLst>
  </p:cSld>
  <p:clrMap bg1="lt1" tx1="dk1" bg2="lt2" tx2="dk2" accent1="accent1" accent2="accent2" accent3="accent3" accent4="accent4" accent5="accent5" accent6="accent6" hlink="hlink" folHlink="folHlink"/>
  <p:sldLayoutIdLst>
    <p:sldLayoutId id="2147483840" r:id="rId1"/>
    <p:sldLayoutId id="2147483841" r:id="rId2"/>
    <p:sldLayoutId id="2147483842" r:id="rId3"/>
    <p:sldLayoutId id="2147483843" r:id="rId4"/>
    <p:sldLayoutId id="2147483844" r:id="rId5"/>
    <p:sldLayoutId id="2147483845" r:id="rId6"/>
    <p:sldLayoutId id="2147483846" r:id="rId7"/>
    <p:sldLayoutId id="2147483847" r:id="rId8"/>
    <p:sldLayoutId id="2147483848" r:id="rId9"/>
    <p:sldLayoutId id="2147483849" r:id="rId10"/>
    <p:sldLayoutId id="2147483850" r:id="rId11"/>
    <p:sldLayoutId id="2147483851" r:id="rId12"/>
    <p:sldLayoutId id="2147483852" r:id="rId13"/>
    <p:sldLayoutId id="2147483853" r:id="rId14"/>
    <p:sldLayoutId id="2147483854" r:id="rId1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ctr" defTabSz="1219170" rtl="0" eaLnBrk="1" latinLnBrk="0" hangingPunct="1">
        <a:lnSpc>
          <a:spcPct val="80000"/>
        </a:lnSpc>
        <a:spcBef>
          <a:spcPct val="0"/>
        </a:spcBef>
        <a:buNone/>
        <a:defRPr sz="2933" b="1" kern="1200" cap="all" baseline="0">
          <a:solidFill>
            <a:schemeClr val="tx2"/>
          </a:solidFill>
          <a:latin typeface="+mj-lt"/>
          <a:ea typeface="+mj-ea"/>
          <a:cs typeface="+mj-cs"/>
        </a:defRPr>
      </a:lvl1pPr>
    </p:titleStyle>
    <p:bodyStyle>
      <a:lvl1pPr marL="122764" indent="-122764" algn="l" defTabSz="1219170" rtl="0" eaLnBrk="1" latinLnBrk="0" hangingPunct="1">
        <a:spcBef>
          <a:spcPts val="1600"/>
        </a:spcBef>
        <a:buFont typeface="Calibri" pitchFamily="34" charset="0"/>
        <a:buChar char=" "/>
        <a:defRPr sz="1867" b="1" kern="1200">
          <a:solidFill>
            <a:schemeClr val="accent1"/>
          </a:solidFill>
          <a:latin typeface="+mj-lt"/>
          <a:ea typeface="+mn-ea"/>
          <a:cs typeface="+mn-cs"/>
        </a:defRPr>
      </a:lvl1pPr>
      <a:lvl2pPr marL="374641" indent="-241294" algn="l" defTabSz="1219170" rtl="0" eaLnBrk="1" latinLnBrk="0" hangingPunct="1">
        <a:spcBef>
          <a:spcPts val="800"/>
        </a:spcBef>
        <a:buFontTx/>
        <a:buBlip>
          <a:blip r:embed="rId18"/>
        </a:buBlip>
        <a:defRPr sz="1600" kern="1200">
          <a:solidFill>
            <a:schemeClr val="tx1"/>
          </a:solidFill>
          <a:latin typeface="+mn-lt"/>
          <a:ea typeface="+mn-ea"/>
          <a:cs typeface="+mn-cs"/>
        </a:defRPr>
      </a:lvl2pPr>
      <a:lvl3pPr marL="596885" indent="-118530" algn="l" defTabSz="1219170" rtl="0" eaLnBrk="1" latinLnBrk="0" hangingPunct="1">
        <a:spcBef>
          <a:spcPts val="800"/>
        </a:spcBef>
        <a:buClr>
          <a:schemeClr val="accent2"/>
        </a:buClr>
        <a:buFontTx/>
        <a:buBlip>
          <a:blip r:embed="rId19"/>
        </a:buBlip>
        <a:defRPr sz="1467" kern="1200">
          <a:solidFill>
            <a:schemeClr val="tx1"/>
          </a:solidFill>
          <a:latin typeface="+mn-lt"/>
          <a:ea typeface="+mn-ea"/>
          <a:cs typeface="+mn-cs"/>
        </a:defRPr>
      </a:lvl3pPr>
      <a:lvl4pPr marL="956709" indent="-124881" algn="l" defTabSz="1219170" rtl="0" eaLnBrk="1" latinLnBrk="0" hangingPunct="1">
        <a:spcBef>
          <a:spcPts val="800"/>
        </a:spcBef>
        <a:buClr>
          <a:schemeClr val="accent2"/>
        </a:buClr>
        <a:buFont typeface="Arial" panose="020B0604020202020204" pitchFamily="34" charset="0"/>
        <a:buChar char="­"/>
        <a:defRPr sz="1400" kern="1200">
          <a:solidFill>
            <a:schemeClr val="tx1"/>
          </a:solidFill>
          <a:latin typeface="+mn-lt"/>
          <a:ea typeface="+mn-ea"/>
          <a:cs typeface="+mn-cs"/>
        </a:defRPr>
      </a:lvl4pPr>
      <a:lvl5pPr marL="1314418" indent="-118530" algn="l" defTabSz="1219170" rtl="0" eaLnBrk="1" latinLnBrk="0" hangingPunct="1">
        <a:spcBef>
          <a:spcPts val="800"/>
        </a:spcBef>
        <a:buClr>
          <a:schemeClr val="accent2"/>
        </a:buClr>
        <a:buSzPct val="80000"/>
        <a:buFont typeface="Arial" pitchFamily="34" charset="0"/>
        <a:buChar char="•"/>
        <a:defRPr sz="1400"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56">
          <p15:clr>
            <a:srgbClr val="F26B43"/>
          </p15:clr>
        </p15:guide>
        <p15:guide id="2" pos="171">
          <p15:clr>
            <a:srgbClr val="F26B43"/>
          </p15:clr>
        </p15:guide>
        <p15:guide id="3" orient="horz" pos="2801">
          <p15:clr>
            <a:srgbClr val="F26B43"/>
          </p15:clr>
        </p15:guide>
        <p15:guide id="4" pos="558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xml"/><Relationship Id="rId1" Type="http://schemas.openxmlformats.org/officeDocument/2006/relationships/slideLayout" Target="../slideLayouts/slideLayout16.xml"/></Relationships>
</file>

<file path=ppt/slides/_rels/slide10.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png"/><Relationship Id="rId1" Type="http://schemas.openxmlformats.org/officeDocument/2006/relationships/slideLayout" Target="../slideLayouts/slideLayout82.xml"/><Relationship Id="rId6" Type="http://schemas.openxmlformats.org/officeDocument/2006/relationships/image" Target="../media/image81.png"/><Relationship Id="rId5" Type="http://schemas.openxmlformats.org/officeDocument/2006/relationships/image" Target="../media/image80.png"/><Relationship Id="rId4" Type="http://schemas.openxmlformats.org/officeDocument/2006/relationships/image" Target="../media/image79.png"/></Relationships>
</file>

<file path=ppt/slides/_rels/slide11.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159.xml"/></Relationships>
</file>

<file path=ppt/slides/_rels/slide12.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5.xml"/><Relationship Id="rId1" Type="http://schemas.openxmlformats.org/officeDocument/2006/relationships/slideLayout" Target="../slideLayouts/slideLayout159.xml"/></Relationships>
</file>

<file path=ppt/slides/_rels/slide13.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159.xml"/></Relationships>
</file>

<file path=ppt/slides/_rels/slide1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6.xml"/><Relationship Id="rId1" Type="http://schemas.openxmlformats.org/officeDocument/2006/relationships/slideLayout" Target="../slideLayouts/slideLayout15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59.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6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59.xml"/></Relationships>
</file>

<file path=ppt/slides/_rels/slide18.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85.png"/><Relationship Id="rId1" Type="http://schemas.openxmlformats.org/officeDocument/2006/relationships/slideLayout" Target="../slideLayouts/slideLayout82.xml"/><Relationship Id="rId5" Type="http://schemas.openxmlformats.org/officeDocument/2006/relationships/image" Target="../media/image88.png"/><Relationship Id="rId4" Type="http://schemas.openxmlformats.org/officeDocument/2006/relationships/image" Target="../media/image87.png"/></Relationships>
</file>

<file path=ppt/slides/_rels/slide19.xml.rels><?xml version="1.0" encoding="UTF-8" standalone="yes"?>
<Relationships xmlns="http://schemas.openxmlformats.org/package/2006/relationships"><Relationship Id="rId2" Type="http://schemas.openxmlformats.org/officeDocument/2006/relationships/hyperlink" Target="https://restapi3.jasper.com/rws/api/v1" TargetMode="External"/><Relationship Id="rId1" Type="http://schemas.openxmlformats.org/officeDocument/2006/relationships/slideLayout" Target="../slideLayouts/slideLayout16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59.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59.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6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59.xml"/></Relationships>
</file>

<file path=ppt/slides/_rels/slide23.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7.xml"/><Relationship Id="rId1" Type="http://schemas.openxmlformats.org/officeDocument/2006/relationships/slideLayout" Target="../slideLayouts/slideLayout171.xml"/></Relationships>
</file>

<file path=ppt/slides/_rels/slide24.xml.rels><?xml version="1.0" encoding="UTF-8" standalone="yes"?>
<Relationships xmlns="http://schemas.openxmlformats.org/package/2006/relationships"><Relationship Id="rId8" Type="http://schemas.openxmlformats.org/officeDocument/2006/relationships/image" Target="../media/image95.png"/><Relationship Id="rId3" Type="http://schemas.openxmlformats.org/officeDocument/2006/relationships/image" Target="../media/image90.png"/><Relationship Id="rId7" Type="http://schemas.openxmlformats.org/officeDocument/2006/relationships/image" Target="../media/image94.png"/><Relationship Id="rId2" Type="http://schemas.openxmlformats.org/officeDocument/2006/relationships/notesSlide" Target="../notesSlides/notesSlide8.xml"/><Relationship Id="rId1" Type="http://schemas.openxmlformats.org/officeDocument/2006/relationships/slideLayout" Target="../slideLayouts/slideLayout171.xml"/><Relationship Id="rId6" Type="http://schemas.openxmlformats.org/officeDocument/2006/relationships/image" Target="../media/image93.png"/><Relationship Id="rId11" Type="http://schemas.openxmlformats.org/officeDocument/2006/relationships/image" Target="../media/image86.png"/><Relationship Id="rId5" Type="http://schemas.openxmlformats.org/officeDocument/2006/relationships/image" Target="../media/image92.png"/><Relationship Id="rId10" Type="http://schemas.openxmlformats.org/officeDocument/2006/relationships/image" Target="../media/image97.png"/><Relationship Id="rId4" Type="http://schemas.openxmlformats.org/officeDocument/2006/relationships/image" Target="../media/image91.png"/><Relationship Id="rId9" Type="http://schemas.openxmlformats.org/officeDocument/2006/relationships/image" Target="../media/image96.png"/></Relationships>
</file>

<file path=ppt/slides/_rels/slide25.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9.xml"/><Relationship Id="rId1" Type="http://schemas.openxmlformats.org/officeDocument/2006/relationships/slideLayout" Target="../slideLayouts/slideLayout171.xml"/><Relationship Id="rId5" Type="http://schemas.openxmlformats.org/officeDocument/2006/relationships/image" Target="../media/image97.png"/><Relationship Id="rId4" Type="http://schemas.openxmlformats.org/officeDocument/2006/relationships/image" Target="../media/image96.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59.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59.xml"/></Relationships>
</file>

<file path=ppt/slides/_rels/slide28.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98.png"/><Relationship Id="rId1" Type="http://schemas.openxmlformats.org/officeDocument/2006/relationships/slideLayout" Target="../slideLayouts/slideLayout159.xml"/><Relationship Id="rId5" Type="http://schemas.openxmlformats.org/officeDocument/2006/relationships/image" Target="../media/image101.png"/><Relationship Id="rId4" Type="http://schemas.openxmlformats.org/officeDocument/2006/relationships/image" Target="../media/image100.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59.xml"/></Relationships>
</file>

<file path=ppt/slides/_rels/slide3.xml.rels><?xml version="1.0" encoding="UTF-8" standalone="yes"?>
<Relationships xmlns="http://schemas.openxmlformats.org/package/2006/relationships"><Relationship Id="rId8" Type="http://schemas.openxmlformats.org/officeDocument/2006/relationships/image" Target="../media/image38.png"/><Relationship Id="rId13" Type="http://schemas.openxmlformats.org/officeDocument/2006/relationships/image" Target="../media/image43.png"/><Relationship Id="rId18" Type="http://schemas.openxmlformats.org/officeDocument/2006/relationships/image" Target="../media/image48.png"/><Relationship Id="rId26" Type="http://schemas.openxmlformats.org/officeDocument/2006/relationships/image" Target="../media/image56.png"/><Relationship Id="rId3" Type="http://schemas.openxmlformats.org/officeDocument/2006/relationships/image" Target="../media/image33.png"/><Relationship Id="rId21" Type="http://schemas.openxmlformats.org/officeDocument/2006/relationships/image" Target="../media/image51.png"/><Relationship Id="rId7" Type="http://schemas.openxmlformats.org/officeDocument/2006/relationships/image" Target="../media/image37.png"/><Relationship Id="rId12" Type="http://schemas.openxmlformats.org/officeDocument/2006/relationships/image" Target="../media/image42.png"/><Relationship Id="rId17" Type="http://schemas.openxmlformats.org/officeDocument/2006/relationships/image" Target="../media/image47.png"/><Relationship Id="rId25" Type="http://schemas.openxmlformats.org/officeDocument/2006/relationships/image" Target="../media/image55.png"/><Relationship Id="rId2" Type="http://schemas.openxmlformats.org/officeDocument/2006/relationships/notesSlide" Target="../notesSlides/notesSlide2.xml"/><Relationship Id="rId16" Type="http://schemas.openxmlformats.org/officeDocument/2006/relationships/image" Target="../media/image46.png"/><Relationship Id="rId20" Type="http://schemas.openxmlformats.org/officeDocument/2006/relationships/image" Target="../media/image50.png"/><Relationship Id="rId1" Type="http://schemas.openxmlformats.org/officeDocument/2006/relationships/slideLayout" Target="../slideLayouts/slideLayout43.xml"/><Relationship Id="rId6" Type="http://schemas.openxmlformats.org/officeDocument/2006/relationships/image" Target="../media/image36.png"/><Relationship Id="rId11" Type="http://schemas.openxmlformats.org/officeDocument/2006/relationships/image" Target="../media/image41.png"/><Relationship Id="rId24" Type="http://schemas.openxmlformats.org/officeDocument/2006/relationships/image" Target="../media/image54.png"/><Relationship Id="rId5" Type="http://schemas.openxmlformats.org/officeDocument/2006/relationships/image" Target="../media/image35.png"/><Relationship Id="rId15" Type="http://schemas.openxmlformats.org/officeDocument/2006/relationships/image" Target="../media/image45.png"/><Relationship Id="rId23" Type="http://schemas.openxmlformats.org/officeDocument/2006/relationships/image" Target="../media/image53.png"/><Relationship Id="rId28" Type="http://schemas.openxmlformats.org/officeDocument/2006/relationships/image" Target="../media/image58.png"/><Relationship Id="rId10" Type="http://schemas.openxmlformats.org/officeDocument/2006/relationships/image" Target="../media/image40.png"/><Relationship Id="rId19" Type="http://schemas.openxmlformats.org/officeDocument/2006/relationships/image" Target="../media/image49.png"/><Relationship Id="rId4" Type="http://schemas.openxmlformats.org/officeDocument/2006/relationships/image" Target="../media/image34.png"/><Relationship Id="rId9" Type="http://schemas.openxmlformats.org/officeDocument/2006/relationships/image" Target="../media/image39.png"/><Relationship Id="rId14" Type="http://schemas.openxmlformats.org/officeDocument/2006/relationships/image" Target="../media/image44.png"/><Relationship Id="rId22" Type="http://schemas.openxmlformats.org/officeDocument/2006/relationships/image" Target="../media/image52.png"/><Relationship Id="rId27" Type="http://schemas.openxmlformats.org/officeDocument/2006/relationships/image" Target="../media/image57.png"/></Relationships>
</file>

<file path=ppt/slides/_rels/slide30.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image" Target="../media/image102.png"/><Relationship Id="rId1" Type="http://schemas.openxmlformats.org/officeDocument/2006/relationships/slideLayout" Target="../slideLayouts/slideLayout159.xml"/><Relationship Id="rId5" Type="http://schemas.openxmlformats.org/officeDocument/2006/relationships/image" Target="../media/image105.png"/><Relationship Id="rId4" Type="http://schemas.openxmlformats.org/officeDocument/2006/relationships/image" Target="../media/image104.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59.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59.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59.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59.xml"/></Relationships>
</file>

<file path=ppt/slides/_rels/slide35.xml.rels><?xml version="1.0" encoding="UTF-8" standalone="yes"?>
<Relationships xmlns="http://schemas.openxmlformats.org/package/2006/relationships"><Relationship Id="rId3" Type="http://schemas.openxmlformats.org/officeDocument/2006/relationships/image" Target="../media/image106.png"/><Relationship Id="rId7" Type="http://schemas.openxmlformats.org/officeDocument/2006/relationships/image" Target="../media/image109.png"/><Relationship Id="rId2" Type="http://schemas.openxmlformats.org/officeDocument/2006/relationships/image" Target="../media/image86.png"/><Relationship Id="rId1" Type="http://schemas.openxmlformats.org/officeDocument/2006/relationships/slideLayout" Target="../slideLayouts/slideLayout82.xml"/><Relationship Id="rId6" Type="http://schemas.openxmlformats.org/officeDocument/2006/relationships/image" Target="../media/image108.png"/><Relationship Id="rId5" Type="http://schemas.openxmlformats.org/officeDocument/2006/relationships/image" Target="../media/image76.png"/><Relationship Id="rId4" Type="http://schemas.openxmlformats.org/officeDocument/2006/relationships/image" Target="../media/image107.pn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59.xml"/></Relationships>
</file>

<file path=ppt/slides/_rels/slide37.xml.rels><?xml version="1.0" encoding="UTF-8" standalone="yes"?>
<Relationships xmlns="http://schemas.openxmlformats.org/package/2006/relationships"><Relationship Id="rId8" Type="http://schemas.openxmlformats.org/officeDocument/2006/relationships/image" Target="../media/image115.png"/><Relationship Id="rId13" Type="http://schemas.openxmlformats.org/officeDocument/2006/relationships/image" Target="../media/image119.png"/><Relationship Id="rId3" Type="http://schemas.openxmlformats.org/officeDocument/2006/relationships/image" Target="../media/image111.png"/><Relationship Id="rId7" Type="http://schemas.openxmlformats.org/officeDocument/2006/relationships/image" Target="../media/image114.png"/><Relationship Id="rId12" Type="http://schemas.openxmlformats.org/officeDocument/2006/relationships/image" Target="../media/image118.png"/><Relationship Id="rId2" Type="http://schemas.openxmlformats.org/officeDocument/2006/relationships/image" Target="../media/image110.png"/><Relationship Id="rId1" Type="http://schemas.openxmlformats.org/officeDocument/2006/relationships/slideLayout" Target="../slideLayouts/slideLayout159.xml"/><Relationship Id="rId6" Type="http://schemas.openxmlformats.org/officeDocument/2006/relationships/image" Target="../media/image108.png"/><Relationship Id="rId11" Type="http://schemas.openxmlformats.org/officeDocument/2006/relationships/image" Target="../media/image117.png"/><Relationship Id="rId5" Type="http://schemas.openxmlformats.org/officeDocument/2006/relationships/image" Target="../media/image113.png"/><Relationship Id="rId10" Type="http://schemas.openxmlformats.org/officeDocument/2006/relationships/image" Target="../media/image116.png"/><Relationship Id="rId4" Type="http://schemas.openxmlformats.org/officeDocument/2006/relationships/image" Target="../media/image112.png"/><Relationship Id="rId9" Type="http://schemas.openxmlformats.org/officeDocument/2006/relationships/image" Target="../media/image86.png"/><Relationship Id="rId14" Type="http://schemas.openxmlformats.org/officeDocument/2006/relationships/image" Target="../media/image120.png"/></Relationships>
</file>

<file path=ppt/slides/_rels/slide4.xml.rels><?xml version="1.0" encoding="UTF-8" standalone="yes"?>
<Relationships xmlns="http://schemas.openxmlformats.org/package/2006/relationships"><Relationship Id="rId8" Type="http://schemas.openxmlformats.org/officeDocument/2006/relationships/image" Target="../media/image64.png"/><Relationship Id="rId13" Type="http://schemas.openxmlformats.org/officeDocument/2006/relationships/image" Target="../media/image56.png"/><Relationship Id="rId3" Type="http://schemas.openxmlformats.org/officeDocument/2006/relationships/image" Target="../media/image59.png"/><Relationship Id="rId7" Type="http://schemas.openxmlformats.org/officeDocument/2006/relationships/image" Target="../media/image63.png"/><Relationship Id="rId12" Type="http://schemas.openxmlformats.org/officeDocument/2006/relationships/image" Target="../media/image66.png"/><Relationship Id="rId2" Type="http://schemas.openxmlformats.org/officeDocument/2006/relationships/notesSlide" Target="../notesSlides/notesSlide3.xml"/><Relationship Id="rId1" Type="http://schemas.openxmlformats.org/officeDocument/2006/relationships/slideLayout" Target="../slideLayouts/slideLayout40.xml"/><Relationship Id="rId6" Type="http://schemas.openxmlformats.org/officeDocument/2006/relationships/image" Target="../media/image62.png"/><Relationship Id="rId11" Type="http://schemas.openxmlformats.org/officeDocument/2006/relationships/image" Target="../media/image57.png"/><Relationship Id="rId5" Type="http://schemas.openxmlformats.org/officeDocument/2006/relationships/image" Target="../media/image61.png"/><Relationship Id="rId10" Type="http://schemas.openxmlformats.org/officeDocument/2006/relationships/image" Target="../media/image55.png"/><Relationship Id="rId4" Type="http://schemas.openxmlformats.org/officeDocument/2006/relationships/image" Target="../media/image60.png"/><Relationship Id="rId9" Type="http://schemas.openxmlformats.org/officeDocument/2006/relationships/image" Target="../media/image65.png"/></Relationships>
</file>

<file path=ppt/slides/_rels/slide5.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image" Target="../media/image67.png"/><Relationship Id="rId7" Type="http://schemas.openxmlformats.org/officeDocument/2006/relationships/image" Target="../media/image71.png"/><Relationship Id="rId2" Type="http://schemas.openxmlformats.org/officeDocument/2006/relationships/image" Target="../media/image32.png"/><Relationship Id="rId1" Type="http://schemas.openxmlformats.org/officeDocument/2006/relationships/slideLayout" Target="../slideLayouts/slideLayout159.xml"/><Relationship Id="rId6" Type="http://schemas.openxmlformats.org/officeDocument/2006/relationships/image" Target="../media/image70.png"/><Relationship Id="rId5" Type="http://schemas.openxmlformats.org/officeDocument/2006/relationships/image" Target="../media/image69.png"/><Relationship Id="rId4" Type="http://schemas.openxmlformats.org/officeDocument/2006/relationships/image" Target="../media/image68.png"/></Relationships>
</file>

<file path=ppt/slides/_rels/slide6.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image" Target="../media/image74.png"/><Relationship Id="rId7" Type="http://schemas.openxmlformats.org/officeDocument/2006/relationships/image" Target="../media/image68.png"/><Relationship Id="rId2" Type="http://schemas.openxmlformats.org/officeDocument/2006/relationships/image" Target="../media/image73.png"/><Relationship Id="rId1" Type="http://schemas.openxmlformats.org/officeDocument/2006/relationships/slideLayout" Target="../slideLayouts/slideLayout159.xml"/><Relationship Id="rId6" Type="http://schemas.openxmlformats.org/officeDocument/2006/relationships/image" Target="../media/image67.png"/><Relationship Id="rId11" Type="http://schemas.openxmlformats.org/officeDocument/2006/relationships/image" Target="../media/image72.png"/><Relationship Id="rId5" Type="http://schemas.openxmlformats.org/officeDocument/2006/relationships/image" Target="../media/image32.png"/><Relationship Id="rId10" Type="http://schemas.openxmlformats.org/officeDocument/2006/relationships/image" Target="../media/image71.png"/><Relationship Id="rId4" Type="http://schemas.openxmlformats.org/officeDocument/2006/relationships/image" Target="../media/image75.png"/><Relationship Id="rId9" Type="http://schemas.openxmlformats.org/officeDocument/2006/relationships/image" Target="../media/image70.png"/></Relationships>
</file>

<file path=ppt/slides/_rels/slide7.xml.rels><?xml version="1.0" encoding="UTF-8" standalone="yes"?>
<Relationships xmlns="http://schemas.openxmlformats.org/package/2006/relationships"><Relationship Id="rId8" Type="http://schemas.openxmlformats.org/officeDocument/2006/relationships/image" Target="../media/image74.png"/><Relationship Id="rId3" Type="http://schemas.openxmlformats.org/officeDocument/2006/relationships/image" Target="../media/image32.png"/><Relationship Id="rId7" Type="http://schemas.openxmlformats.org/officeDocument/2006/relationships/image" Target="../media/image70.png"/><Relationship Id="rId2" Type="http://schemas.openxmlformats.org/officeDocument/2006/relationships/image" Target="../media/image73.png"/><Relationship Id="rId1" Type="http://schemas.openxmlformats.org/officeDocument/2006/relationships/slideLayout" Target="../slideLayouts/slideLayout159.xml"/><Relationship Id="rId6" Type="http://schemas.openxmlformats.org/officeDocument/2006/relationships/image" Target="../media/image69.png"/><Relationship Id="rId5" Type="http://schemas.openxmlformats.org/officeDocument/2006/relationships/image" Target="../media/image68.png"/><Relationship Id="rId4" Type="http://schemas.openxmlformats.org/officeDocument/2006/relationships/image" Target="../media/image67.png"/><Relationship Id="rId9" Type="http://schemas.openxmlformats.org/officeDocument/2006/relationships/image" Target="../media/image75.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59.xml"/></Relationships>
</file>

<file path=ppt/slides/_rels/slide9.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8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E807ED9-CD91-4246-9EA0-12AD75C7444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76787" y="2483997"/>
            <a:ext cx="1368013" cy="1122803"/>
          </a:xfrm>
          <a:prstGeom prst="rect">
            <a:avLst/>
          </a:prstGeom>
        </p:spPr>
      </p:pic>
      <p:sp>
        <p:nvSpPr>
          <p:cNvPr id="9" name="TextBox 8">
            <a:extLst>
              <a:ext uri="{FF2B5EF4-FFF2-40B4-BE49-F238E27FC236}">
                <a16:creationId xmlns:a16="http://schemas.microsoft.com/office/drawing/2014/main" id="{FFB90D89-3DA1-4199-A817-0DD27696A071}"/>
              </a:ext>
            </a:extLst>
          </p:cNvPr>
          <p:cNvSpPr txBox="1"/>
          <p:nvPr/>
        </p:nvSpPr>
        <p:spPr>
          <a:xfrm>
            <a:off x="110509" y="3606800"/>
            <a:ext cx="5178725" cy="1384995"/>
          </a:xfrm>
          <a:prstGeom prst="rect">
            <a:avLst/>
          </a:prstGeom>
          <a:noFill/>
        </p:spPr>
        <p:txBody>
          <a:bodyPr wrap="none" rtlCol="0">
            <a:spAutoFit/>
          </a:bodyPr>
          <a:lstStyle/>
          <a:p>
            <a:r>
              <a:rPr lang="sv-SE" sz="4400" b="1" dirty="0">
                <a:solidFill>
                  <a:schemeClr val="bg1"/>
                </a:solidFill>
                <a:latin typeface="Segoe UI Light" panose="020B0502040204020203" pitchFamily="34" charset="0"/>
                <a:cs typeface="Segoe UI Light" panose="020B0502040204020203" pitchFamily="34" charset="0"/>
              </a:rPr>
              <a:t>microServiceBus.com</a:t>
            </a:r>
          </a:p>
          <a:p>
            <a:r>
              <a:rPr lang="sv-SE" sz="4000" dirty="0" err="1">
                <a:solidFill>
                  <a:schemeClr val="bg1"/>
                </a:solidFill>
                <a:latin typeface="Segoe UI Light" panose="020B0502040204020203" pitchFamily="34" charset="0"/>
                <a:cs typeface="Segoe UI Light" panose="020B0502040204020203" pitchFamily="34" charset="0"/>
              </a:rPr>
              <a:t>tutorial</a:t>
            </a:r>
            <a:endParaRPr lang="en-US" sz="2000" dirty="0">
              <a:solidFill>
                <a:schemeClr val="bg1"/>
              </a:solidFill>
              <a:latin typeface="Segoe UI Light" panose="020B0502040204020203" pitchFamily="34" charset="0"/>
              <a:cs typeface="Segoe UI Light" panose="020B0502040204020203" pitchFamily="34" charset="0"/>
            </a:endParaRPr>
          </a:p>
        </p:txBody>
      </p:sp>
      <p:sp>
        <p:nvSpPr>
          <p:cNvPr id="4" name="Rectangle 3">
            <a:extLst>
              <a:ext uri="{FF2B5EF4-FFF2-40B4-BE49-F238E27FC236}">
                <a16:creationId xmlns:a16="http://schemas.microsoft.com/office/drawing/2014/main" id="{6B750FBF-B372-436C-BE30-F1C96F72840B}"/>
              </a:ext>
            </a:extLst>
          </p:cNvPr>
          <p:cNvSpPr/>
          <p:nvPr/>
        </p:nvSpPr>
        <p:spPr bwMode="auto">
          <a:xfrm>
            <a:off x="7208196" y="3429001"/>
            <a:ext cx="4983804" cy="3526276"/>
          </a:xfrm>
          <a:prstGeom prst="rect">
            <a:avLst/>
          </a:prstGeom>
          <a:solidFill>
            <a:schemeClr val="bg1">
              <a:alpha val="74000"/>
            </a:schemeClr>
          </a:solidFill>
          <a:ln w="12700" cap="flat" cmpd="sng">
            <a:noFill/>
            <a:prstDash val="solid"/>
            <a:round/>
            <a:headEnd/>
            <a:tailEnd/>
          </a:ln>
          <a:effectLst/>
        </p:spPr>
        <p:txBody>
          <a:bodyPr vert="horz" wrap="square" lIns="91440" tIns="45720" rIns="91440" bIns="45720" numCol="1" rtlCol="0" anchor="ctr" anchorCtr="0" compatLnSpc="1">
            <a:prstTxWarp prst="textNoShape">
              <a:avLst/>
            </a:prstTxWarp>
          </a:bodyPr>
          <a:lstStyle/>
          <a:p>
            <a:pPr algn="ctr"/>
            <a:endParaRPr lang="en-US" dirty="0"/>
          </a:p>
        </p:txBody>
      </p:sp>
      <p:sp>
        <p:nvSpPr>
          <p:cNvPr id="5" name="TextBox 4">
            <a:extLst>
              <a:ext uri="{FF2B5EF4-FFF2-40B4-BE49-F238E27FC236}">
                <a16:creationId xmlns:a16="http://schemas.microsoft.com/office/drawing/2014/main" id="{9333F0FE-4B68-4408-B333-6AA7CF6DF467}"/>
              </a:ext>
            </a:extLst>
          </p:cNvPr>
          <p:cNvSpPr txBox="1"/>
          <p:nvPr/>
        </p:nvSpPr>
        <p:spPr>
          <a:xfrm>
            <a:off x="7629242" y="3668645"/>
            <a:ext cx="4141711" cy="3046988"/>
          </a:xfrm>
          <a:prstGeom prst="rect">
            <a:avLst/>
          </a:prstGeom>
          <a:noFill/>
        </p:spPr>
        <p:txBody>
          <a:bodyPr wrap="none" rtlCol="0">
            <a:spAutoFit/>
          </a:bodyPr>
          <a:lstStyle/>
          <a:p>
            <a:r>
              <a:rPr lang="en-US" sz="2400" b="1" dirty="0">
                <a:solidFill>
                  <a:srgbClr val="000000"/>
                </a:solidFill>
              </a:rPr>
              <a:t>Mikael Hakansson</a:t>
            </a:r>
          </a:p>
          <a:p>
            <a:r>
              <a:rPr lang="en-US" sz="2400" dirty="0">
                <a:solidFill>
                  <a:srgbClr val="000000"/>
                </a:solidFill>
              </a:rPr>
              <a:t>mikael.hakansson@axians.com</a:t>
            </a:r>
          </a:p>
          <a:p>
            <a:endParaRPr lang="en-US" sz="2400" dirty="0">
              <a:solidFill>
                <a:srgbClr val="000000"/>
              </a:solidFill>
            </a:endParaRPr>
          </a:p>
          <a:p>
            <a:r>
              <a:rPr lang="en-US" sz="2400" b="1" dirty="0">
                <a:solidFill>
                  <a:srgbClr val="000000"/>
                </a:solidFill>
              </a:rPr>
              <a:t>Aleyois </a:t>
            </a:r>
            <a:r>
              <a:rPr lang="en-US" sz="2400" b="1" dirty="0" err="1">
                <a:solidFill>
                  <a:srgbClr val="000000"/>
                </a:solidFill>
              </a:rPr>
              <a:t>Boix</a:t>
            </a:r>
            <a:r>
              <a:rPr lang="en-US" sz="2400" b="1" dirty="0">
                <a:solidFill>
                  <a:srgbClr val="000000"/>
                </a:solidFill>
              </a:rPr>
              <a:t> </a:t>
            </a:r>
            <a:r>
              <a:rPr lang="en-US" sz="2400" b="1" dirty="0" err="1">
                <a:solidFill>
                  <a:srgbClr val="000000"/>
                </a:solidFill>
              </a:rPr>
              <a:t>Chova</a:t>
            </a:r>
            <a:endParaRPr lang="en-US" sz="2400" b="1" dirty="0">
              <a:solidFill>
                <a:srgbClr val="000000"/>
              </a:solidFill>
            </a:endParaRPr>
          </a:p>
          <a:p>
            <a:r>
              <a:rPr lang="en-US" sz="2400" dirty="0">
                <a:solidFill>
                  <a:srgbClr val="000000"/>
                </a:solidFill>
              </a:rPr>
              <a:t>aleyois.boix-chova@axians.com</a:t>
            </a:r>
          </a:p>
          <a:p>
            <a:endParaRPr lang="en-US" sz="2400" dirty="0">
              <a:solidFill>
                <a:srgbClr val="000000"/>
              </a:solidFill>
            </a:endParaRPr>
          </a:p>
          <a:p>
            <a:r>
              <a:rPr lang="en-US" sz="2400" b="1" dirty="0">
                <a:solidFill>
                  <a:srgbClr val="000000"/>
                </a:solidFill>
              </a:rPr>
              <a:t>Patrik Sohlman</a:t>
            </a:r>
          </a:p>
          <a:p>
            <a:r>
              <a:rPr lang="en-US" sz="2400" dirty="0">
                <a:solidFill>
                  <a:srgbClr val="000000"/>
                </a:solidFill>
              </a:rPr>
              <a:t>patrik.sohlman@axians.com</a:t>
            </a:r>
          </a:p>
        </p:txBody>
      </p:sp>
    </p:spTree>
    <p:extLst>
      <p:ext uri="{BB962C8B-B14F-4D97-AF65-F5344CB8AC3E}">
        <p14:creationId xmlns:p14="http://schemas.microsoft.com/office/powerpoint/2010/main" val="380057950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206B45-574C-418F-95E7-6F68706B6022}"/>
              </a:ext>
            </a:extLst>
          </p:cNvPr>
          <p:cNvSpPr>
            <a:spLocks noGrp="1"/>
          </p:cNvSpPr>
          <p:nvPr>
            <p:ph type="title"/>
          </p:nvPr>
        </p:nvSpPr>
        <p:spPr>
          <a:xfrm>
            <a:off x="938823" y="1425328"/>
            <a:ext cx="10515600" cy="1325563"/>
          </a:xfrm>
        </p:spPr>
        <p:txBody>
          <a:bodyPr/>
          <a:lstStyle/>
          <a:p>
            <a:pPr algn="ctr"/>
            <a:r>
              <a:rPr lang="en-US" dirty="0"/>
              <a:t>microServiceBus.com and related projects </a:t>
            </a:r>
            <a:r>
              <a:rPr lang="en-US" b="1" u="sng" dirty="0"/>
              <a:t>are property of Vinci-Energies!</a:t>
            </a:r>
          </a:p>
        </p:txBody>
      </p:sp>
      <p:pic>
        <p:nvPicPr>
          <p:cNvPr id="4" name="Picture 3">
            <a:extLst>
              <a:ext uri="{FF2B5EF4-FFF2-40B4-BE49-F238E27FC236}">
                <a16:creationId xmlns:a16="http://schemas.microsoft.com/office/drawing/2014/main" id="{7391A822-0B63-4BDA-877D-1BC9434F64A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82272" y="3965533"/>
            <a:ext cx="2000529" cy="781159"/>
          </a:xfrm>
          <a:prstGeom prst="rect">
            <a:avLst/>
          </a:prstGeom>
        </p:spPr>
      </p:pic>
      <p:pic>
        <p:nvPicPr>
          <p:cNvPr id="6" name="Picture 5">
            <a:extLst>
              <a:ext uri="{FF2B5EF4-FFF2-40B4-BE49-F238E27FC236}">
                <a16:creationId xmlns:a16="http://schemas.microsoft.com/office/drawing/2014/main" id="{7ADBE4B6-C748-4E23-A6BC-A23E76C38A3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22859" y="4296831"/>
            <a:ext cx="1886213" cy="476316"/>
          </a:xfrm>
          <a:prstGeom prst="rect">
            <a:avLst/>
          </a:prstGeom>
        </p:spPr>
      </p:pic>
      <p:pic>
        <p:nvPicPr>
          <p:cNvPr id="8" name="Picture 7">
            <a:extLst>
              <a:ext uri="{FF2B5EF4-FFF2-40B4-BE49-F238E27FC236}">
                <a16:creationId xmlns:a16="http://schemas.microsoft.com/office/drawing/2014/main" id="{CA17ED8D-3B41-43F7-BA4D-32DC2FDCEF0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152364" y="5367915"/>
            <a:ext cx="2000529" cy="485843"/>
          </a:xfrm>
          <a:prstGeom prst="rect">
            <a:avLst/>
          </a:prstGeom>
        </p:spPr>
      </p:pic>
      <p:pic>
        <p:nvPicPr>
          <p:cNvPr id="10" name="Picture 9">
            <a:extLst>
              <a:ext uri="{FF2B5EF4-FFF2-40B4-BE49-F238E27FC236}">
                <a16:creationId xmlns:a16="http://schemas.microsoft.com/office/drawing/2014/main" id="{F683F768-CC54-4DB7-876C-21E91C83D79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709792" y="4222744"/>
            <a:ext cx="2000529" cy="523948"/>
          </a:xfrm>
          <a:prstGeom prst="rect">
            <a:avLst/>
          </a:prstGeom>
        </p:spPr>
      </p:pic>
      <p:pic>
        <p:nvPicPr>
          <p:cNvPr id="12" name="Picture 11">
            <a:extLst>
              <a:ext uri="{FF2B5EF4-FFF2-40B4-BE49-F238E27FC236}">
                <a16:creationId xmlns:a16="http://schemas.microsoft.com/office/drawing/2014/main" id="{7C9A9F63-F41E-4ECD-912B-D7EE4BA86A2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99300" y="5307025"/>
            <a:ext cx="2000529" cy="476316"/>
          </a:xfrm>
          <a:prstGeom prst="rect">
            <a:avLst/>
          </a:prstGeom>
        </p:spPr>
      </p:pic>
    </p:spTree>
    <p:extLst>
      <p:ext uri="{BB962C8B-B14F-4D97-AF65-F5344CB8AC3E}">
        <p14:creationId xmlns:p14="http://schemas.microsoft.com/office/powerpoint/2010/main" val="4079445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err="1"/>
              <a:t>What</a:t>
            </a:r>
            <a:r>
              <a:rPr lang="sv-SE" dirty="0"/>
              <a:t> is Node.js?</a:t>
            </a:r>
          </a:p>
        </p:txBody>
      </p:sp>
      <p:sp>
        <p:nvSpPr>
          <p:cNvPr id="3" name="Content Placeholder 2"/>
          <p:cNvSpPr>
            <a:spLocks noGrp="1"/>
          </p:cNvSpPr>
          <p:nvPr>
            <p:ph idx="1"/>
          </p:nvPr>
        </p:nvSpPr>
        <p:spPr>
          <a:xfrm>
            <a:off x="1066800" y="3556000"/>
            <a:ext cx="10414000" cy="2499568"/>
          </a:xfrm>
        </p:spPr>
        <p:txBody>
          <a:bodyPr>
            <a:normAutofit/>
          </a:bodyPr>
          <a:lstStyle/>
          <a:p>
            <a:pPr marL="0" indent="0">
              <a:buNone/>
            </a:pPr>
            <a:r>
              <a:rPr lang="en-US" dirty="0"/>
              <a:t>Node.js® is a JavaScript runtime built on Chrome's V8 JavaScript engine. </a:t>
            </a:r>
          </a:p>
          <a:p>
            <a:pPr marL="0" indent="0">
              <a:buNone/>
            </a:pPr>
            <a:r>
              <a:rPr lang="en-US" dirty="0"/>
              <a:t>Node.js uses an single threaded, event-driven, non-blocking I/O model that makes it lightweight and efficient. </a:t>
            </a:r>
          </a:p>
          <a:p>
            <a:pPr marL="0" indent="0">
              <a:buNone/>
            </a:pPr>
            <a:r>
              <a:rPr lang="en-US" dirty="0"/>
              <a:t>Node.js is platform independent.</a:t>
            </a:r>
          </a:p>
        </p:txBody>
      </p:sp>
      <p:pic>
        <p:nvPicPr>
          <p:cNvPr id="1026" name="Picture 2" descr="node.j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07909" y="1690688"/>
            <a:ext cx="2337392" cy="1431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8464115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err="1"/>
              <a:t>What</a:t>
            </a:r>
            <a:r>
              <a:rPr lang="sv-SE" dirty="0"/>
              <a:t> is JavaScript?</a:t>
            </a:r>
          </a:p>
        </p:txBody>
      </p:sp>
      <p:sp>
        <p:nvSpPr>
          <p:cNvPr id="3" name="Content Placeholder 2"/>
          <p:cNvSpPr>
            <a:spLocks noGrp="1"/>
          </p:cNvSpPr>
          <p:nvPr>
            <p:ph idx="1"/>
          </p:nvPr>
        </p:nvSpPr>
        <p:spPr>
          <a:xfrm>
            <a:off x="1130300" y="3995728"/>
            <a:ext cx="9781623" cy="2059840"/>
          </a:xfrm>
        </p:spPr>
        <p:txBody>
          <a:bodyPr/>
          <a:lstStyle/>
          <a:p>
            <a:pPr marL="0" indent="0">
              <a:buNone/>
            </a:pPr>
            <a:r>
              <a:rPr lang="en-US" dirty="0"/>
              <a:t>A </a:t>
            </a:r>
            <a:r>
              <a:rPr lang="en-US" b="1" dirty="0"/>
              <a:t>high-level</a:t>
            </a:r>
            <a:r>
              <a:rPr lang="en-US" dirty="0"/>
              <a:t>, </a:t>
            </a:r>
            <a:r>
              <a:rPr lang="en-US" b="1" dirty="0"/>
              <a:t>dynamic</a:t>
            </a:r>
            <a:r>
              <a:rPr lang="en-US" dirty="0"/>
              <a:t>, </a:t>
            </a:r>
            <a:r>
              <a:rPr lang="en-US" b="1" dirty="0"/>
              <a:t>untyped</a:t>
            </a:r>
            <a:r>
              <a:rPr lang="en-US" dirty="0"/>
              <a:t>, and </a:t>
            </a:r>
            <a:r>
              <a:rPr lang="en-US" b="1" dirty="0"/>
              <a:t>interpreted</a:t>
            </a:r>
            <a:r>
              <a:rPr lang="en-US" dirty="0"/>
              <a:t> programming language. It has been standardized in the ECMAScript language specification</a:t>
            </a:r>
            <a:endParaRPr lang="sv-SE" dirty="0"/>
          </a:p>
        </p:txBody>
      </p:sp>
      <p:pic>
        <p:nvPicPr>
          <p:cNvPr id="2050" name="Picture 2" descr="Image result for javascript logo"/>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18627" y="1558795"/>
            <a:ext cx="4154746" cy="2335718"/>
          </a:xfrm>
          <a:prstGeom prst="rect">
            <a:avLst/>
          </a:prstGeom>
          <a:noFill/>
          <a:extLst>
            <a:ext uri="{909E8E84-426E-40DD-AFC4-6F175D3DCCD1}">
              <a14:hiddenFill xmlns:a14="http://schemas.microsoft.com/office/drawing/2010/main">
                <a:solidFill>
                  <a:srgbClr val="FFFFFF"/>
                </a:solidFill>
              </a14:hiddenFill>
            </a:ext>
          </a:extLst>
        </p:spPr>
      </p:pic>
      <p:cxnSp>
        <p:nvCxnSpPr>
          <p:cNvPr id="7" name="Straight Connector 6"/>
          <p:cNvCxnSpPr/>
          <p:nvPr/>
        </p:nvCxnSpPr>
        <p:spPr>
          <a:xfrm>
            <a:off x="6630463" y="4236099"/>
            <a:ext cx="1735494" cy="933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053902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Node Package Manager (NPM)</a:t>
            </a:r>
          </a:p>
        </p:txBody>
      </p:sp>
      <p:pic>
        <p:nvPicPr>
          <p:cNvPr id="8194" name="Picture 2" descr="Image result for npm logo"/>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14439" y="1737836"/>
            <a:ext cx="3847170" cy="1496789"/>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a:off x="1553132" y="3571559"/>
            <a:ext cx="9085735" cy="3108543"/>
          </a:xfrm>
          <a:prstGeom prst="rect">
            <a:avLst/>
          </a:prstGeom>
          <a:noFill/>
        </p:spPr>
        <p:txBody>
          <a:bodyPr wrap="square" rtlCol="0">
            <a:spAutoFit/>
          </a:bodyPr>
          <a:lstStyle/>
          <a:p>
            <a:r>
              <a:rPr lang="en-US" sz="2800" dirty="0">
                <a:latin typeface="Segoe UI Light" panose="020B0502040204020203" pitchFamily="34" charset="0"/>
                <a:cs typeface="Segoe UI Light" panose="020B0502040204020203" pitchFamily="34" charset="0"/>
              </a:rPr>
              <a:t>npm is the default package manager for the JavaScript runtime environment Node.js and allows users to consume and distribute JavaScript modules that are available on the registry.</a:t>
            </a:r>
          </a:p>
          <a:p>
            <a:endParaRPr lang="sv-SE" sz="2800" dirty="0">
              <a:latin typeface="Segoe UI Light" panose="020B0502040204020203" pitchFamily="34" charset="0"/>
              <a:cs typeface="Segoe UI Light" panose="020B0502040204020203" pitchFamily="34" charset="0"/>
            </a:endParaRPr>
          </a:p>
          <a:p>
            <a:r>
              <a:rPr lang="sv-SE" sz="2800" dirty="0">
                <a:latin typeface="Segoe UI Light" panose="020B0502040204020203" pitchFamily="34" charset="0"/>
                <a:cs typeface="Segoe UI Light" panose="020B0502040204020203" pitchFamily="34" charset="0"/>
              </a:rPr>
              <a:t>N</a:t>
            </a:r>
            <a:r>
              <a:rPr lang="en-US" sz="2800" dirty="0">
                <a:latin typeface="Segoe UI Light" panose="020B0502040204020203" pitchFamily="34" charset="0"/>
                <a:cs typeface="Segoe UI Light" panose="020B0502040204020203" pitchFamily="34" charset="0"/>
              </a:rPr>
              <a:t>pm has over 500K+ packages today, which is almost as much as Java, </a:t>
            </a:r>
            <a:r>
              <a:rPr lang="en-US" sz="2800" dirty="0" err="1">
                <a:latin typeface="Segoe UI Light" panose="020B0502040204020203" pitchFamily="34" charset="0"/>
                <a:cs typeface="Segoe UI Light" panose="020B0502040204020203" pitchFamily="34" charset="0"/>
              </a:rPr>
              <a:t>.Net</a:t>
            </a:r>
            <a:r>
              <a:rPr lang="en-US" sz="2800" dirty="0">
                <a:latin typeface="Segoe UI Light" panose="020B0502040204020203" pitchFamily="34" charset="0"/>
                <a:cs typeface="Segoe UI Light" panose="020B0502040204020203" pitchFamily="34" charset="0"/>
              </a:rPr>
              <a:t> and Python combined!</a:t>
            </a:r>
            <a:endParaRPr lang="en-GB" sz="2800"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335461206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4"/>
          <p:cNvSpPr txBox="1">
            <a:spLocks/>
          </p:cNvSpPr>
          <p:nvPr/>
        </p:nvSpPr>
        <p:spPr>
          <a:xfrm>
            <a:off x="6230257" y="1825625"/>
            <a:ext cx="5816599"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sv-S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 name="Title 2">
            <a:extLst>
              <a:ext uri="{FF2B5EF4-FFF2-40B4-BE49-F238E27FC236}">
                <a16:creationId xmlns:a16="http://schemas.microsoft.com/office/drawing/2014/main" id="{35E8DF43-8007-495D-8369-23551B0B03F2}"/>
              </a:ext>
            </a:extLst>
          </p:cNvPr>
          <p:cNvSpPr>
            <a:spLocks noGrp="1"/>
          </p:cNvSpPr>
          <p:nvPr>
            <p:ph type="title"/>
          </p:nvPr>
        </p:nvSpPr>
        <p:spPr/>
        <p:txBody>
          <a:bodyPr/>
          <a:lstStyle/>
          <a:p>
            <a:r>
              <a:rPr lang="en-US" dirty="0"/>
              <a:t>microServiceBus.com - Key concepts</a:t>
            </a:r>
          </a:p>
        </p:txBody>
      </p:sp>
      <p:sp>
        <p:nvSpPr>
          <p:cNvPr id="5" name="Oval 4">
            <a:extLst>
              <a:ext uri="{FF2B5EF4-FFF2-40B4-BE49-F238E27FC236}">
                <a16:creationId xmlns:a16="http://schemas.microsoft.com/office/drawing/2014/main" id="{78E0D486-600C-472F-9E33-069C85B4C646}"/>
              </a:ext>
            </a:extLst>
          </p:cNvPr>
          <p:cNvSpPr/>
          <p:nvPr/>
        </p:nvSpPr>
        <p:spPr>
          <a:xfrm>
            <a:off x="4316015" y="2046429"/>
            <a:ext cx="3559969" cy="3559969"/>
          </a:xfrm>
          <a:prstGeom prst="ellipse">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61EBA816-EBDC-4271-83E3-CA28E638535A}"/>
              </a:ext>
            </a:extLst>
          </p:cNvPr>
          <p:cNvSpPr txBox="1"/>
          <p:nvPr/>
        </p:nvSpPr>
        <p:spPr>
          <a:xfrm>
            <a:off x="5028623" y="1523209"/>
            <a:ext cx="2134752"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Organization</a:t>
            </a:r>
            <a:endParaRPr kumimoji="0" lang="en-US"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8" name="TextBox 7">
            <a:extLst>
              <a:ext uri="{FF2B5EF4-FFF2-40B4-BE49-F238E27FC236}">
                <a16:creationId xmlns:a16="http://schemas.microsoft.com/office/drawing/2014/main" id="{57988DF6-35C6-4E82-8AA2-A04230C1BB3D}"/>
              </a:ext>
            </a:extLst>
          </p:cNvPr>
          <p:cNvSpPr txBox="1"/>
          <p:nvPr/>
        </p:nvSpPr>
        <p:spPr>
          <a:xfrm>
            <a:off x="7915568" y="3564803"/>
            <a:ext cx="1162498"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Nodes</a:t>
            </a:r>
            <a:endParaRPr kumimoji="0" lang="en-US"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9" name="TextBox 8">
            <a:extLst>
              <a:ext uri="{FF2B5EF4-FFF2-40B4-BE49-F238E27FC236}">
                <a16:creationId xmlns:a16="http://schemas.microsoft.com/office/drawing/2014/main" id="{766D67A9-3B6C-4029-9787-6DF3981A6D7B}"/>
              </a:ext>
            </a:extLst>
          </p:cNvPr>
          <p:cNvSpPr txBox="1"/>
          <p:nvPr/>
        </p:nvSpPr>
        <p:spPr>
          <a:xfrm>
            <a:off x="5590892" y="5630070"/>
            <a:ext cx="1010213"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Flows</a:t>
            </a:r>
            <a:endParaRPr kumimoji="0" lang="en-US"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10" name="TextBox 9">
            <a:extLst>
              <a:ext uri="{FF2B5EF4-FFF2-40B4-BE49-F238E27FC236}">
                <a16:creationId xmlns:a16="http://schemas.microsoft.com/office/drawing/2014/main" id="{FA7A9C00-7823-48B7-BB74-93B387A6A17F}"/>
              </a:ext>
            </a:extLst>
          </p:cNvPr>
          <p:cNvSpPr txBox="1"/>
          <p:nvPr/>
        </p:nvSpPr>
        <p:spPr>
          <a:xfrm>
            <a:off x="2915182" y="3564803"/>
            <a:ext cx="1400833"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Services</a:t>
            </a:r>
            <a:endParaRPr kumimoji="0" lang="en-US"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11" name="Callout: Line with Accent Bar 10">
            <a:extLst>
              <a:ext uri="{FF2B5EF4-FFF2-40B4-BE49-F238E27FC236}">
                <a16:creationId xmlns:a16="http://schemas.microsoft.com/office/drawing/2014/main" id="{6BF53855-1F6A-493F-B876-7DF6FAEFAA22}"/>
              </a:ext>
            </a:extLst>
          </p:cNvPr>
          <p:cNvSpPr/>
          <p:nvPr/>
        </p:nvSpPr>
        <p:spPr>
          <a:xfrm>
            <a:off x="373134" y="4345129"/>
            <a:ext cx="2243065" cy="797508"/>
          </a:xfrm>
          <a:prstGeom prst="accentCallout1">
            <a:avLst>
              <a:gd name="adj1" fmla="val 17158"/>
              <a:gd name="adj2" fmla="val 99629"/>
              <a:gd name="adj3" fmla="val -32414"/>
              <a:gd name="adj4" fmla="val 118288"/>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rPr>
              <a:t>Code interacting with HW or other services</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i="1" dirty="0">
                <a:solidFill>
                  <a:prstClr val="white"/>
                </a:solidFill>
                <a:latin typeface="Calibri" panose="020F0502020204030204"/>
              </a:rPr>
              <a:t>Inbound service</a:t>
            </a:r>
          </a:p>
          <a:p>
            <a:pPr marL="285750" lvl="0" indent="-285750">
              <a:buFont typeface="Arial" panose="020B0604020202020204" pitchFamily="34" charset="0"/>
              <a:buChar char="•"/>
            </a:pPr>
            <a:r>
              <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rPr>
              <a:t>Outbound</a:t>
            </a:r>
            <a:r>
              <a:rPr lang="en-US" i="1" dirty="0">
                <a:solidFill>
                  <a:prstClr val="white"/>
                </a:solidFill>
              </a:rPr>
              <a:t> service</a:t>
            </a:r>
            <a:endPar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endParaRPr>
          </a:p>
          <a:p>
            <a:pPr marL="285750" lvl="0" indent="-285750">
              <a:buFont typeface="Arial" panose="020B0604020202020204" pitchFamily="34" charset="0"/>
              <a:buChar char="•"/>
            </a:pPr>
            <a:r>
              <a:rPr lang="en-US" i="1" dirty="0">
                <a:solidFill>
                  <a:prstClr val="white"/>
                </a:solidFill>
                <a:latin typeface="Calibri" panose="020F0502020204030204"/>
              </a:rPr>
              <a:t>Other</a:t>
            </a:r>
            <a:r>
              <a:rPr lang="en-US" i="1" dirty="0">
                <a:solidFill>
                  <a:prstClr val="white"/>
                </a:solidFill>
              </a:rPr>
              <a:t> service</a:t>
            </a:r>
            <a:endPar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2" name="Callout: Line with Accent Bar 11">
            <a:extLst>
              <a:ext uri="{FF2B5EF4-FFF2-40B4-BE49-F238E27FC236}">
                <a16:creationId xmlns:a16="http://schemas.microsoft.com/office/drawing/2014/main" id="{B6135EB1-0935-4684-AA72-CE495058B22F}"/>
              </a:ext>
            </a:extLst>
          </p:cNvPr>
          <p:cNvSpPr/>
          <p:nvPr/>
        </p:nvSpPr>
        <p:spPr>
          <a:xfrm>
            <a:off x="2806700" y="5897192"/>
            <a:ext cx="1996017" cy="797508"/>
          </a:xfrm>
          <a:prstGeom prst="accentCallout1">
            <a:avLst>
              <a:gd name="adj1" fmla="val 52192"/>
              <a:gd name="adj2" fmla="val 101327"/>
              <a:gd name="adj3" fmla="val 7397"/>
              <a:gd name="adj4" fmla="val 133008"/>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rPr>
              <a:t>Process execution of services</a:t>
            </a:r>
          </a:p>
        </p:txBody>
      </p:sp>
      <p:sp>
        <p:nvSpPr>
          <p:cNvPr id="13" name="Callout: Line with Accent Bar 12">
            <a:extLst>
              <a:ext uri="{FF2B5EF4-FFF2-40B4-BE49-F238E27FC236}">
                <a16:creationId xmlns:a16="http://schemas.microsoft.com/office/drawing/2014/main" id="{0F44F524-6F5F-4AE7-B08C-281A3AC38482}"/>
              </a:ext>
            </a:extLst>
          </p:cNvPr>
          <p:cNvSpPr/>
          <p:nvPr/>
        </p:nvSpPr>
        <p:spPr>
          <a:xfrm>
            <a:off x="9581201" y="4024115"/>
            <a:ext cx="2243065" cy="797508"/>
          </a:xfrm>
          <a:prstGeom prst="accentCallout1">
            <a:avLst>
              <a:gd name="adj1" fmla="val 23528"/>
              <a:gd name="adj2" fmla="val -587"/>
              <a:gd name="adj3" fmla="val 1028"/>
              <a:gd name="adj4" fmla="val -21561"/>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rPr>
              <a:t>Cloud connected agent, hosting one or more flows</a:t>
            </a:r>
          </a:p>
        </p:txBody>
      </p:sp>
      <p:sp>
        <p:nvSpPr>
          <p:cNvPr id="14" name="Callout: Line with Accent Bar 13">
            <a:extLst>
              <a:ext uri="{FF2B5EF4-FFF2-40B4-BE49-F238E27FC236}">
                <a16:creationId xmlns:a16="http://schemas.microsoft.com/office/drawing/2014/main" id="{9107E6F8-0740-473E-82B4-82E1D4BED642}"/>
              </a:ext>
            </a:extLst>
          </p:cNvPr>
          <p:cNvSpPr/>
          <p:nvPr/>
        </p:nvSpPr>
        <p:spPr>
          <a:xfrm>
            <a:off x="8009785" y="1909554"/>
            <a:ext cx="2587477" cy="797508"/>
          </a:xfrm>
          <a:prstGeom prst="accentCallout1">
            <a:avLst>
              <a:gd name="adj1" fmla="val 23528"/>
              <a:gd name="adj2" fmla="val -587"/>
              <a:gd name="adj3" fmla="val -2156"/>
              <a:gd name="adj4" fmla="val -24958"/>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rPr>
              <a:t>“Subscription” owning flows, services &amp; nodes</a:t>
            </a:r>
          </a:p>
        </p:txBody>
      </p:sp>
      <p:pic>
        <p:nvPicPr>
          <p:cNvPr id="15" name="Picture 14">
            <a:extLst>
              <a:ext uri="{FF2B5EF4-FFF2-40B4-BE49-F238E27FC236}">
                <a16:creationId xmlns:a16="http://schemas.microsoft.com/office/drawing/2014/main" id="{B56BAD91-B656-4614-8CC8-52E3B2E5414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21389" y="3065004"/>
            <a:ext cx="1901711" cy="1560839"/>
          </a:xfrm>
          <a:prstGeom prst="rect">
            <a:avLst/>
          </a:prstGeom>
        </p:spPr>
      </p:pic>
    </p:spTree>
    <p:extLst>
      <p:ext uri="{BB962C8B-B14F-4D97-AF65-F5344CB8AC3E}">
        <p14:creationId xmlns:p14="http://schemas.microsoft.com/office/powerpoint/2010/main" val="20326057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15" presetClass="emph" presetSubtype="0" grpId="0" nodeType="withEffect">
                                  <p:stCondLst>
                                    <p:cond delay="0"/>
                                  </p:stCondLst>
                                  <p:iterate type="lt">
                                    <p:tmAbs val="25"/>
                                  </p:iterate>
                                  <p:childTnLst>
                                    <p:set>
                                      <p:cBhvr override="childStyle">
                                        <p:cTn id="9" dur="indefinite"/>
                                        <p:tgtEl>
                                          <p:spTgt spid="10"/>
                                        </p:tgtEl>
                                        <p:attrNameLst>
                                          <p:attrName>style.fontWeight</p:attrName>
                                        </p:attrNameLst>
                                      </p:cBhvr>
                                      <p:to>
                                        <p:strVal val="bold"/>
                                      </p:to>
                                    </p:set>
                                  </p:childTnLst>
                                </p:cTn>
                              </p:par>
                            </p:childTnLst>
                          </p:cTn>
                        </p:par>
                      </p:childTnLst>
                    </p:cTn>
                  </p:par>
                  <p:par>
                    <p:cTn id="10" fill="hold">
                      <p:stCondLst>
                        <p:cond delay="indefinite"/>
                      </p:stCondLst>
                      <p:childTnLst>
                        <p:par>
                          <p:cTn id="11" fill="hold">
                            <p:stCondLst>
                              <p:cond delay="0"/>
                            </p:stCondLst>
                            <p:childTnLst>
                              <p:par>
                                <p:cTn id="12" presetID="10" presetClass="exit" presetSubtype="0" fill="hold" grpId="1" nodeType="clickEffect">
                                  <p:stCondLst>
                                    <p:cond delay="0"/>
                                  </p:stCondLst>
                                  <p:childTnLst>
                                    <p:animEffect transition="out" filter="fade">
                                      <p:cBhvr>
                                        <p:cTn id="13" dur="500"/>
                                        <p:tgtEl>
                                          <p:spTgt spid="11"/>
                                        </p:tgtEl>
                                      </p:cBhvr>
                                    </p:animEffect>
                                    <p:set>
                                      <p:cBhvr>
                                        <p:cTn id="14" dur="1" fill="hold">
                                          <p:stCondLst>
                                            <p:cond delay="499"/>
                                          </p:stCondLst>
                                        </p:cTn>
                                        <p:tgtEl>
                                          <p:spTgt spid="11"/>
                                        </p:tgtEl>
                                        <p:attrNameLst>
                                          <p:attrName>style.visibility</p:attrName>
                                        </p:attrNameLst>
                                      </p:cBhvr>
                                      <p:to>
                                        <p:strVal val="hidden"/>
                                      </p:to>
                                    </p:set>
                                  </p:childTnLst>
                                </p:cTn>
                              </p:par>
                            </p:childTnLst>
                          </p:cTn>
                        </p:par>
                        <p:par>
                          <p:cTn id="15" fill="hold">
                            <p:stCondLst>
                              <p:cond delay="500"/>
                            </p:stCondLst>
                            <p:childTnLst>
                              <p:par>
                                <p:cTn id="16" presetID="10" presetClass="entr" presetSubtype="0" fill="hold" grpId="0" nodeType="after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fade">
                                      <p:cBhvr>
                                        <p:cTn id="18" dur="500"/>
                                        <p:tgtEl>
                                          <p:spTgt spid="12"/>
                                        </p:tgtEl>
                                      </p:cBhvr>
                                    </p:animEffect>
                                  </p:childTnLst>
                                </p:cTn>
                              </p:par>
                            </p:childTnLst>
                          </p:cTn>
                        </p:par>
                        <p:par>
                          <p:cTn id="19" fill="hold">
                            <p:stCondLst>
                              <p:cond delay="1000"/>
                            </p:stCondLst>
                            <p:childTnLst>
                              <p:par>
                                <p:cTn id="20" presetID="15" presetClass="emph" presetSubtype="0" grpId="0" nodeType="afterEffect">
                                  <p:stCondLst>
                                    <p:cond delay="0"/>
                                  </p:stCondLst>
                                  <p:iterate type="lt">
                                    <p:tmAbs val="25"/>
                                  </p:iterate>
                                  <p:childTnLst>
                                    <p:set>
                                      <p:cBhvr override="childStyle">
                                        <p:cTn id="21" dur="indefinite"/>
                                        <p:tgtEl>
                                          <p:spTgt spid="9"/>
                                        </p:tgtEl>
                                        <p:attrNameLst>
                                          <p:attrName>style.fontWeight</p:attrName>
                                        </p:attrNameLst>
                                      </p:cBhvr>
                                      <p:to>
                                        <p:strVal val="bold"/>
                                      </p:to>
                                    </p:set>
                                  </p:childTnLst>
                                </p:cTn>
                              </p:par>
                            </p:childTnLst>
                          </p:cTn>
                        </p:par>
                      </p:childTnLst>
                    </p:cTn>
                  </p:par>
                  <p:par>
                    <p:cTn id="22" fill="hold">
                      <p:stCondLst>
                        <p:cond delay="indefinite"/>
                      </p:stCondLst>
                      <p:childTnLst>
                        <p:par>
                          <p:cTn id="23" fill="hold">
                            <p:stCondLst>
                              <p:cond delay="0"/>
                            </p:stCondLst>
                            <p:childTnLst>
                              <p:par>
                                <p:cTn id="24" presetID="10" presetClass="exit" presetSubtype="0" fill="hold" grpId="1" nodeType="clickEffect">
                                  <p:stCondLst>
                                    <p:cond delay="0"/>
                                  </p:stCondLst>
                                  <p:childTnLst>
                                    <p:animEffect transition="out" filter="fade">
                                      <p:cBhvr>
                                        <p:cTn id="25" dur="500"/>
                                        <p:tgtEl>
                                          <p:spTgt spid="12"/>
                                        </p:tgtEl>
                                      </p:cBhvr>
                                    </p:animEffect>
                                    <p:set>
                                      <p:cBhvr>
                                        <p:cTn id="26" dur="1" fill="hold">
                                          <p:stCondLst>
                                            <p:cond delay="499"/>
                                          </p:stCondLst>
                                        </p:cTn>
                                        <p:tgtEl>
                                          <p:spTgt spid="12"/>
                                        </p:tgtEl>
                                        <p:attrNameLst>
                                          <p:attrName>style.visibility</p:attrName>
                                        </p:attrNameLst>
                                      </p:cBhvr>
                                      <p:to>
                                        <p:strVal val="hidden"/>
                                      </p:to>
                                    </p:set>
                                  </p:childTnLst>
                                </p:cTn>
                              </p:par>
                            </p:childTnLst>
                          </p:cTn>
                        </p:par>
                        <p:par>
                          <p:cTn id="27" fill="hold">
                            <p:stCondLst>
                              <p:cond delay="500"/>
                            </p:stCondLst>
                            <p:childTnLst>
                              <p:par>
                                <p:cTn id="28" presetID="10" presetClass="entr" presetSubtype="0" fill="hold" grpId="0" nodeType="afterEffect">
                                  <p:stCondLst>
                                    <p:cond delay="0"/>
                                  </p:stCondLst>
                                  <p:childTnLst>
                                    <p:set>
                                      <p:cBhvr>
                                        <p:cTn id="29" dur="1" fill="hold">
                                          <p:stCondLst>
                                            <p:cond delay="0"/>
                                          </p:stCondLst>
                                        </p:cTn>
                                        <p:tgtEl>
                                          <p:spTgt spid="13"/>
                                        </p:tgtEl>
                                        <p:attrNameLst>
                                          <p:attrName>style.visibility</p:attrName>
                                        </p:attrNameLst>
                                      </p:cBhvr>
                                      <p:to>
                                        <p:strVal val="visible"/>
                                      </p:to>
                                    </p:set>
                                    <p:animEffect transition="in" filter="fade">
                                      <p:cBhvr>
                                        <p:cTn id="30" dur="500"/>
                                        <p:tgtEl>
                                          <p:spTgt spid="13"/>
                                        </p:tgtEl>
                                      </p:cBhvr>
                                    </p:animEffect>
                                  </p:childTnLst>
                                </p:cTn>
                              </p:par>
                            </p:childTnLst>
                          </p:cTn>
                        </p:par>
                        <p:par>
                          <p:cTn id="31" fill="hold">
                            <p:stCondLst>
                              <p:cond delay="1000"/>
                            </p:stCondLst>
                            <p:childTnLst>
                              <p:par>
                                <p:cTn id="32" presetID="15" presetClass="emph" presetSubtype="0" grpId="0" nodeType="afterEffect">
                                  <p:stCondLst>
                                    <p:cond delay="0"/>
                                  </p:stCondLst>
                                  <p:iterate type="lt">
                                    <p:tmAbs val="25"/>
                                  </p:iterate>
                                  <p:childTnLst>
                                    <p:set>
                                      <p:cBhvr override="childStyle">
                                        <p:cTn id="33" dur="indefinite"/>
                                        <p:tgtEl>
                                          <p:spTgt spid="8"/>
                                        </p:tgtEl>
                                        <p:attrNameLst>
                                          <p:attrName>style.fontWeight</p:attrName>
                                        </p:attrNameLst>
                                      </p:cBhvr>
                                      <p:to>
                                        <p:strVal val="bold"/>
                                      </p:to>
                                    </p:set>
                                  </p:childTnLst>
                                </p:cTn>
                              </p:par>
                            </p:childTnLst>
                          </p:cTn>
                        </p:par>
                      </p:childTnLst>
                    </p:cTn>
                  </p:par>
                  <p:par>
                    <p:cTn id="34" fill="hold">
                      <p:stCondLst>
                        <p:cond delay="indefinite"/>
                      </p:stCondLst>
                      <p:childTnLst>
                        <p:par>
                          <p:cTn id="35" fill="hold">
                            <p:stCondLst>
                              <p:cond delay="0"/>
                            </p:stCondLst>
                            <p:childTnLst>
                              <p:par>
                                <p:cTn id="36" presetID="10" presetClass="exit" presetSubtype="0" fill="hold" grpId="1" nodeType="clickEffect">
                                  <p:stCondLst>
                                    <p:cond delay="0"/>
                                  </p:stCondLst>
                                  <p:childTnLst>
                                    <p:animEffect transition="out" filter="fade">
                                      <p:cBhvr>
                                        <p:cTn id="37" dur="500"/>
                                        <p:tgtEl>
                                          <p:spTgt spid="13"/>
                                        </p:tgtEl>
                                      </p:cBhvr>
                                    </p:animEffect>
                                    <p:set>
                                      <p:cBhvr>
                                        <p:cTn id="38" dur="1" fill="hold">
                                          <p:stCondLst>
                                            <p:cond delay="499"/>
                                          </p:stCondLst>
                                        </p:cTn>
                                        <p:tgtEl>
                                          <p:spTgt spid="13"/>
                                        </p:tgtEl>
                                        <p:attrNameLst>
                                          <p:attrName>style.visibility</p:attrName>
                                        </p:attrNameLst>
                                      </p:cBhvr>
                                      <p:to>
                                        <p:strVal val="hidden"/>
                                      </p:to>
                                    </p:set>
                                  </p:childTnLst>
                                </p:cTn>
                              </p:par>
                            </p:childTnLst>
                          </p:cTn>
                        </p:par>
                        <p:par>
                          <p:cTn id="39" fill="hold">
                            <p:stCondLst>
                              <p:cond delay="500"/>
                            </p:stCondLst>
                            <p:childTnLst>
                              <p:par>
                                <p:cTn id="40" presetID="10" presetClass="entr" presetSubtype="0" fill="hold" grpId="0" nodeType="afterEffect">
                                  <p:stCondLst>
                                    <p:cond delay="0"/>
                                  </p:stCondLst>
                                  <p:childTnLst>
                                    <p:set>
                                      <p:cBhvr>
                                        <p:cTn id="41" dur="1" fill="hold">
                                          <p:stCondLst>
                                            <p:cond delay="0"/>
                                          </p:stCondLst>
                                        </p:cTn>
                                        <p:tgtEl>
                                          <p:spTgt spid="14"/>
                                        </p:tgtEl>
                                        <p:attrNameLst>
                                          <p:attrName>style.visibility</p:attrName>
                                        </p:attrNameLst>
                                      </p:cBhvr>
                                      <p:to>
                                        <p:strVal val="visible"/>
                                      </p:to>
                                    </p:set>
                                    <p:animEffect transition="in" filter="fade">
                                      <p:cBhvr>
                                        <p:cTn id="42" dur="500"/>
                                        <p:tgtEl>
                                          <p:spTgt spid="14"/>
                                        </p:tgtEl>
                                      </p:cBhvr>
                                    </p:animEffect>
                                  </p:childTnLst>
                                </p:cTn>
                              </p:par>
                            </p:childTnLst>
                          </p:cTn>
                        </p:par>
                        <p:par>
                          <p:cTn id="43" fill="hold">
                            <p:stCondLst>
                              <p:cond delay="1000"/>
                            </p:stCondLst>
                            <p:childTnLst>
                              <p:par>
                                <p:cTn id="44" presetID="15" presetClass="emph" presetSubtype="0" grpId="0" nodeType="afterEffect">
                                  <p:stCondLst>
                                    <p:cond delay="0"/>
                                  </p:stCondLst>
                                  <p:iterate type="lt">
                                    <p:tmAbs val="25"/>
                                  </p:iterate>
                                  <p:childTnLst>
                                    <p:set>
                                      <p:cBhvr override="childStyle">
                                        <p:cTn id="45" dur="indefinite"/>
                                        <p:tgtEl>
                                          <p:spTgt spid="7"/>
                                        </p:tgtEl>
                                        <p:attrNameLst>
                                          <p:attrName>style.fontWeight</p:attrName>
                                        </p:attrNameLst>
                                      </p:cBhvr>
                                      <p:to>
                                        <p:strVal val="bold"/>
                                      </p:to>
                                    </p:set>
                                  </p:childTnLst>
                                </p:cTn>
                              </p:par>
                            </p:childTnLst>
                          </p:cTn>
                        </p:par>
                      </p:childTnLst>
                    </p:cTn>
                  </p:par>
                  <p:par>
                    <p:cTn id="46" fill="hold">
                      <p:stCondLst>
                        <p:cond delay="indefinite"/>
                      </p:stCondLst>
                      <p:childTnLst>
                        <p:par>
                          <p:cTn id="47" fill="hold">
                            <p:stCondLst>
                              <p:cond delay="0"/>
                            </p:stCondLst>
                            <p:childTnLst>
                              <p:par>
                                <p:cTn id="48" presetID="10" presetClass="exit" presetSubtype="0" fill="hold" grpId="1" nodeType="clickEffect">
                                  <p:stCondLst>
                                    <p:cond delay="0"/>
                                  </p:stCondLst>
                                  <p:childTnLst>
                                    <p:animEffect transition="out" filter="fade">
                                      <p:cBhvr>
                                        <p:cTn id="49" dur="500"/>
                                        <p:tgtEl>
                                          <p:spTgt spid="14"/>
                                        </p:tgtEl>
                                      </p:cBhvr>
                                    </p:animEffect>
                                    <p:set>
                                      <p:cBhvr>
                                        <p:cTn id="50" dur="1" fill="hold">
                                          <p:stCondLst>
                                            <p:cond delay="499"/>
                                          </p:stCondLst>
                                        </p:cTn>
                                        <p:tgtEl>
                                          <p:spTgt spid="1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P spid="9" grpId="0"/>
      <p:bldP spid="10" grpId="0"/>
      <p:bldP spid="11" grpId="0" animBg="1"/>
      <p:bldP spid="11" grpId="1" animBg="1"/>
      <p:bldP spid="12" grpId="0" animBg="1"/>
      <p:bldP spid="12" grpId="1" animBg="1"/>
      <p:bldP spid="13" grpId="0" animBg="1"/>
      <p:bldP spid="13" grpId="1" animBg="1"/>
      <p:bldP spid="14" grpId="0" animBg="1"/>
      <p:bldP spid="14" grpId="1"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08D574-BF0A-4EEB-B339-6EA85904C3B2}"/>
              </a:ext>
            </a:extLst>
          </p:cNvPr>
          <p:cNvSpPr>
            <a:spLocks noGrp="1"/>
          </p:cNvSpPr>
          <p:nvPr>
            <p:ph type="title"/>
          </p:nvPr>
        </p:nvSpPr>
        <p:spPr/>
        <p:txBody>
          <a:bodyPr/>
          <a:lstStyle/>
          <a:p>
            <a:r>
              <a:rPr lang="sv-SE" dirty="0"/>
              <a:t>Day 2</a:t>
            </a:r>
          </a:p>
        </p:txBody>
      </p:sp>
      <p:sp>
        <p:nvSpPr>
          <p:cNvPr id="3" name="Content Placeholder 2">
            <a:extLst>
              <a:ext uri="{FF2B5EF4-FFF2-40B4-BE49-F238E27FC236}">
                <a16:creationId xmlns:a16="http://schemas.microsoft.com/office/drawing/2014/main" id="{1D683399-EE7E-472A-AADC-EF679476DB11}"/>
              </a:ext>
            </a:extLst>
          </p:cNvPr>
          <p:cNvSpPr>
            <a:spLocks noGrp="1"/>
          </p:cNvSpPr>
          <p:nvPr>
            <p:ph idx="1"/>
          </p:nvPr>
        </p:nvSpPr>
        <p:spPr>
          <a:xfrm>
            <a:off x="838200" y="1325563"/>
            <a:ext cx="10515600" cy="4851400"/>
          </a:xfrm>
        </p:spPr>
        <p:txBody>
          <a:bodyPr>
            <a:normAutofit lnSpcReduction="10000"/>
          </a:bodyPr>
          <a:lstStyle/>
          <a:p>
            <a:r>
              <a:rPr lang="sv-SE" dirty="0"/>
              <a:t>Day 1 Recap</a:t>
            </a:r>
          </a:p>
          <a:p>
            <a:r>
              <a:rPr lang="sv-SE" b="1" dirty="0"/>
              <a:t>Create IoT Hub and mSB Organization</a:t>
            </a:r>
          </a:p>
          <a:p>
            <a:r>
              <a:rPr lang="sv-SE" dirty="0">
                <a:solidFill>
                  <a:schemeClr val="tx1">
                    <a:lumMod val="50000"/>
                  </a:schemeClr>
                </a:solidFill>
              </a:rPr>
              <a:t>Integrate Cisco Jasper</a:t>
            </a:r>
          </a:p>
          <a:p>
            <a:r>
              <a:rPr lang="sv-SE" dirty="0">
                <a:solidFill>
                  <a:schemeClr val="tx1">
                    <a:lumMod val="50000"/>
                  </a:schemeClr>
                </a:solidFill>
              </a:rPr>
              <a:t>Provisioning new gateways</a:t>
            </a:r>
          </a:p>
          <a:p>
            <a:r>
              <a:rPr lang="sv-SE" dirty="0">
                <a:solidFill>
                  <a:schemeClr val="tx1">
                    <a:lumMod val="50000"/>
                  </a:schemeClr>
                </a:solidFill>
              </a:rPr>
              <a:t>IoT Message Exchange Patterns</a:t>
            </a:r>
          </a:p>
          <a:p>
            <a:r>
              <a:rPr lang="sv-SE" dirty="0">
                <a:solidFill>
                  <a:schemeClr val="tx1">
                    <a:lumMod val="50000"/>
                  </a:schemeClr>
                </a:solidFill>
              </a:rPr>
              <a:t>Common IoT </a:t>
            </a:r>
            <a:r>
              <a:rPr lang="sv-SE" dirty="0" err="1">
                <a:solidFill>
                  <a:schemeClr val="tx1">
                    <a:lumMod val="50000"/>
                  </a:schemeClr>
                </a:solidFill>
              </a:rPr>
              <a:t>protocols</a:t>
            </a:r>
            <a:endParaRPr lang="sv-SE" dirty="0">
              <a:solidFill>
                <a:schemeClr val="tx1">
                  <a:lumMod val="50000"/>
                </a:schemeClr>
              </a:solidFill>
            </a:endParaRPr>
          </a:p>
          <a:p>
            <a:r>
              <a:rPr lang="sv-SE" dirty="0">
                <a:solidFill>
                  <a:schemeClr val="tx1">
                    <a:lumMod val="50000"/>
                  </a:schemeClr>
                </a:solidFill>
              </a:rPr>
              <a:t>Build a real world sensor to cloud solution </a:t>
            </a:r>
          </a:p>
          <a:p>
            <a:pPr lvl="1"/>
            <a:r>
              <a:rPr lang="sv-SE" dirty="0">
                <a:solidFill>
                  <a:schemeClr val="tx1">
                    <a:lumMod val="50000"/>
                  </a:schemeClr>
                </a:solidFill>
              </a:rPr>
              <a:t>Lab</a:t>
            </a:r>
          </a:p>
          <a:p>
            <a:pPr lvl="2"/>
            <a:r>
              <a:rPr lang="sv-SE" dirty="0">
                <a:solidFill>
                  <a:schemeClr val="tx1">
                    <a:lumMod val="50000"/>
                  </a:schemeClr>
                </a:solidFill>
              </a:rPr>
              <a:t>1. </a:t>
            </a:r>
            <a:r>
              <a:rPr lang="sv-SE" dirty="0" err="1">
                <a:solidFill>
                  <a:schemeClr val="tx1">
                    <a:lumMod val="50000"/>
                  </a:schemeClr>
                </a:solidFill>
              </a:rPr>
              <a:t>Receive</a:t>
            </a:r>
            <a:r>
              <a:rPr lang="sv-SE" dirty="0">
                <a:solidFill>
                  <a:schemeClr val="tx1">
                    <a:lumMod val="50000"/>
                  </a:schemeClr>
                </a:solidFill>
              </a:rPr>
              <a:t> </a:t>
            </a:r>
            <a:r>
              <a:rPr lang="sv-SE" dirty="0" err="1">
                <a:solidFill>
                  <a:schemeClr val="tx1">
                    <a:lumMod val="50000"/>
                  </a:schemeClr>
                </a:solidFill>
              </a:rPr>
              <a:t>whitelist</a:t>
            </a:r>
            <a:r>
              <a:rPr lang="sv-SE" dirty="0">
                <a:solidFill>
                  <a:schemeClr val="tx1">
                    <a:lumMod val="50000"/>
                  </a:schemeClr>
                </a:solidFill>
              </a:rPr>
              <a:t> </a:t>
            </a:r>
            <a:r>
              <a:rPr lang="sv-SE" dirty="0" err="1">
                <a:solidFill>
                  <a:schemeClr val="tx1">
                    <a:lumMod val="50000"/>
                  </a:schemeClr>
                </a:solidFill>
              </a:rPr>
              <a:t>through</a:t>
            </a:r>
            <a:r>
              <a:rPr lang="sv-SE" dirty="0">
                <a:solidFill>
                  <a:schemeClr val="tx1">
                    <a:lumMod val="50000"/>
                  </a:schemeClr>
                </a:solidFill>
              </a:rPr>
              <a:t> state</a:t>
            </a:r>
          </a:p>
          <a:p>
            <a:pPr lvl="2"/>
            <a:r>
              <a:rPr lang="sv-SE" dirty="0">
                <a:solidFill>
                  <a:schemeClr val="tx1">
                    <a:lumMod val="50000"/>
                  </a:schemeClr>
                </a:solidFill>
              </a:rPr>
              <a:t>2. Read telegrams from sensors and send to </a:t>
            </a:r>
            <a:r>
              <a:rPr lang="sv-SE" dirty="0" err="1">
                <a:solidFill>
                  <a:schemeClr val="tx1">
                    <a:lumMod val="50000"/>
                  </a:schemeClr>
                </a:solidFill>
              </a:rPr>
              <a:t>cloud</a:t>
            </a:r>
            <a:endParaRPr lang="sv-SE" dirty="0">
              <a:solidFill>
                <a:schemeClr val="tx1">
                  <a:lumMod val="50000"/>
                </a:schemeClr>
              </a:solidFill>
            </a:endParaRPr>
          </a:p>
          <a:p>
            <a:pPr lvl="2"/>
            <a:r>
              <a:rPr lang="sv-SE" dirty="0">
                <a:solidFill>
                  <a:schemeClr val="tx1">
                    <a:lumMod val="50000"/>
                  </a:schemeClr>
                </a:solidFill>
              </a:rPr>
              <a:t>3. </a:t>
            </a:r>
            <a:r>
              <a:rPr lang="sv-SE" dirty="0" err="1">
                <a:solidFill>
                  <a:schemeClr val="tx1">
                    <a:lumMod val="50000"/>
                  </a:schemeClr>
                </a:solidFill>
              </a:rPr>
              <a:t>Create</a:t>
            </a:r>
            <a:r>
              <a:rPr lang="sv-SE" dirty="0">
                <a:solidFill>
                  <a:schemeClr val="tx1">
                    <a:lumMod val="50000"/>
                  </a:schemeClr>
                </a:solidFill>
              </a:rPr>
              <a:t> Azure Event </a:t>
            </a:r>
            <a:r>
              <a:rPr lang="sv-SE" dirty="0" err="1">
                <a:solidFill>
                  <a:schemeClr val="tx1">
                    <a:lumMod val="50000"/>
                  </a:schemeClr>
                </a:solidFill>
              </a:rPr>
              <a:t>Hub</a:t>
            </a:r>
            <a:r>
              <a:rPr lang="sv-SE" dirty="0">
                <a:solidFill>
                  <a:schemeClr val="tx1">
                    <a:lumMod val="50000"/>
                  </a:schemeClr>
                </a:solidFill>
              </a:rPr>
              <a:t> and </a:t>
            </a:r>
            <a:r>
              <a:rPr lang="sv-SE" dirty="0" err="1">
                <a:solidFill>
                  <a:schemeClr val="tx1">
                    <a:lumMod val="50000"/>
                  </a:schemeClr>
                </a:solidFill>
              </a:rPr>
              <a:t>Time</a:t>
            </a:r>
            <a:r>
              <a:rPr lang="sv-SE" dirty="0">
                <a:solidFill>
                  <a:schemeClr val="tx1">
                    <a:lumMod val="50000"/>
                  </a:schemeClr>
                </a:solidFill>
              </a:rPr>
              <a:t> Series </a:t>
            </a:r>
            <a:r>
              <a:rPr lang="sv-SE" dirty="0" err="1">
                <a:solidFill>
                  <a:schemeClr val="tx1">
                    <a:lumMod val="50000"/>
                  </a:schemeClr>
                </a:solidFill>
              </a:rPr>
              <a:t>Insight</a:t>
            </a:r>
            <a:endParaRPr lang="sv-SE" dirty="0">
              <a:solidFill>
                <a:schemeClr val="tx1">
                  <a:lumMod val="50000"/>
                </a:schemeClr>
              </a:solidFill>
            </a:endParaRPr>
          </a:p>
        </p:txBody>
      </p:sp>
    </p:spTree>
    <p:extLst>
      <p:ext uri="{BB962C8B-B14F-4D97-AF65-F5344CB8AC3E}">
        <p14:creationId xmlns:p14="http://schemas.microsoft.com/office/powerpoint/2010/main" val="283768479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6EF38F-62C1-4FFC-AAAD-11E1A7C3F2AD}"/>
              </a:ext>
            </a:extLst>
          </p:cNvPr>
          <p:cNvSpPr>
            <a:spLocks noGrp="1"/>
          </p:cNvSpPr>
          <p:nvPr>
            <p:ph type="title"/>
          </p:nvPr>
        </p:nvSpPr>
        <p:spPr>
          <a:xfrm>
            <a:off x="838200" y="2535936"/>
            <a:ext cx="10515600" cy="1325563"/>
          </a:xfrm>
        </p:spPr>
        <p:txBody>
          <a:bodyPr>
            <a:normAutofit fontScale="90000"/>
          </a:bodyPr>
          <a:lstStyle/>
          <a:p>
            <a:pPr algn="ctr"/>
            <a:r>
              <a:rPr lang="sv-SE" sz="6000" b="1" dirty="0"/>
              <a:t>Lab #1 </a:t>
            </a:r>
            <a:br>
              <a:rPr lang="sv-SE" b="1" dirty="0"/>
            </a:br>
            <a:r>
              <a:rPr lang="sv-SE" b="1" dirty="0" err="1"/>
              <a:t>Create</a:t>
            </a:r>
            <a:r>
              <a:rPr lang="sv-SE" b="1" dirty="0"/>
              <a:t> IoT </a:t>
            </a:r>
            <a:r>
              <a:rPr lang="sv-SE" b="1" dirty="0" err="1"/>
              <a:t>Hub</a:t>
            </a:r>
            <a:r>
              <a:rPr lang="sv-SE" b="1" dirty="0"/>
              <a:t> and </a:t>
            </a:r>
            <a:r>
              <a:rPr lang="sv-SE" b="1" dirty="0" err="1"/>
              <a:t>mSB</a:t>
            </a:r>
            <a:r>
              <a:rPr lang="sv-SE" b="1" dirty="0"/>
              <a:t> </a:t>
            </a:r>
            <a:r>
              <a:rPr lang="sv-SE" b="1" dirty="0" err="1"/>
              <a:t>Organization</a:t>
            </a:r>
            <a:endParaRPr lang="en-US" dirty="0"/>
          </a:p>
        </p:txBody>
      </p:sp>
    </p:spTree>
    <p:extLst>
      <p:ext uri="{BB962C8B-B14F-4D97-AF65-F5344CB8AC3E}">
        <p14:creationId xmlns:p14="http://schemas.microsoft.com/office/powerpoint/2010/main" val="208905812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08D574-BF0A-4EEB-B339-6EA85904C3B2}"/>
              </a:ext>
            </a:extLst>
          </p:cNvPr>
          <p:cNvSpPr>
            <a:spLocks noGrp="1"/>
          </p:cNvSpPr>
          <p:nvPr>
            <p:ph type="title"/>
          </p:nvPr>
        </p:nvSpPr>
        <p:spPr/>
        <p:txBody>
          <a:bodyPr/>
          <a:lstStyle/>
          <a:p>
            <a:r>
              <a:rPr lang="sv-SE" dirty="0"/>
              <a:t>Day 2</a:t>
            </a:r>
          </a:p>
        </p:txBody>
      </p:sp>
      <p:sp>
        <p:nvSpPr>
          <p:cNvPr id="3" name="Content Placeholder 2">
            <a:extLst>
              <a:ext uri="{FF2B5EF4-FFF2-40B4-BE49-F238E27FC236}">
                <a16:creationId xmlns:a16="http://schemas.microsoft.com/office/drawing/2014/main" id="{1D683399-EE7E-472A-AADC-EF679476DB11}"/>
              </a:ext>
            </a:extLst>
          </p:cNvPr>
          <p:cNvSpPr>
            <a:spLocks noGrp="1"/>
          </p:cNvSpPr>
          <p:nvPr>
            <p:ph idx="1"/>
          </p:nvPr>
        </p:nvSpPr>
        <p:spPr>
          <a:xfrm>
            <a:off x="838200" y="1325563"/>
            <a:ext cx="10515600" cy="4851400"/>
          </a:xfrm>
        </p:spPr>
        <p:txBody>
          <a:bodyPr>
            <a:normAutofit lnSpcReduction="10000"/>
          </a:bodyPr>
          <a:lstStyle/>
          <a:p>
            <a:r>
              <a:rPr lang="sv-SE" dirty="0"/>
              <a:t>Day 1 Recap</a:t>
            </a:r>
          </a:p>
          <a:p>
            <a:r>
              <a:rPr lang="sv-SE" dirty="0"/>
              <a:t>Create IoT Hub and mSB Organization</a:t>
            </a:r>
          </a:p>
          <a:p>
            <a:r>
              <a:rPr lang="sv-SE" b="1" dirty="0"/>
              <a:t>Integrate Cisco Jasper</a:t>
            </a:r>
          </a:p>
          <a:p>
            <a:r>
              <a:rPr lang="sv-SE" dirty="0">
                <a:solidFill>
                  <a:schemeClr val="tx1">
                    <a:lumMod val="50000"/>
                  </a:schemeClr>
                </a:solidFill>
              </a:rPr>
              <a:t>Provisioning new gateways</a:t>
            </a:r>
          </a:p>
          <a:p>
            <a:r>
              <a:rPr lang="sv-SE" dirty="0">
                <a:solidFill>
                  <a:schemeClr val="tx1">
                    <a:lumMod val="50000"/>
                  </a:schemeClr>
                </a:solidFill>
              </a:rPr>
              <a:t>IoT Message Exchange Patterns</a:t>
            </a:r>
          </a:p>
          <a:p>
            <a:r>
              <a:rPr lang="sv-SE" dirty="0">
                <a:solidFill>
                  <a:schemeClr val="tx1">
                    <a:lumMod val="50000"/>
                  </a:schemeClr>
                </a:solidFill>
              </a:rPr>
              <a:t>Common IoT </a:t>
            </a:r>
            <a:r>
              <a:rPr lang="sv-SE" dirty="0" err="1">
                <a:solidFill>
                  <a:schemeClr val="tx1">
                    <a:lumMod val="50000"/>
                  </a:schemeClr>
                </a:solidFill>
              </a:rPr>
              <a:t>protocols</a:t>
            </a:r>
            <a:endParaRPr lang="sv-SE" dirty="0">
              <a:solidFill>
                <a:schemeClr val="tx1">
                  <a:lumMod val="50000"/>
                </a:schemeClr>
              </a:solidFill>
            </a:endParaRPr>
          </a:p>
          <a:p>
            <a:r>
              <a:rPr lang="sv-SE" dirty="0" err="1">
                <a:solidFill>
                  <a:schemeClr val="tx1">
                    <a:lumMod val="50000"/>
                  </a:schemeClr>
                </a:solidFill>
              </a:rPr>
              <a:t>Build</a:t>
            </a:r>
            <a:r>
              <a:rPr lang="sv-SE" dirty="0">
                <a:solidFill>
                  <a:schemeClr val="tx1">
                    <a:lumMod val="50000"/>
                  </a:schemeClr>
                </a:solidFill>
              </a:rPr>
              <a:t> a real </a:t>
            </a:r>
            <a:r>
              <a:rPr lang="sv-SE" dirty="0" err="1">
                <a:solidFill>
                  <a:schemeClr val="tx1">
                    <a:lumMod val="50000"/>
                  </a:schemeClr>
                </a:solidFill>
              </a:rPr>
              <a:t>world</a:t>
            </a:r>
            <a:r>
              <a:rPr lang="sv-SE" dirty="0">
                <a:solidFill>
                  <a:schemeClr val="tx1">
                    <a:lumMod val="50000"/>
                  </a:schemeClr>
                </a:solidFill>
              </a:rPr>
              <a:t> sensor to </a:t>
            </a:r>
            <a:r>
              <a:rPr lang="sv-SE" dirty="0" err="1">
                <a:solidFill>
                  <a:schemeClr val="tx1">
                    <a:lumMod val="50000"/>
                  </a:schemeClr>
                </a:solidFill>
              </a:rPr>
              <a:t>cloud</a:t>
            </a:r>
            <a:r>
              <a:rPr lang="sv-SE" dirty="0">
                <a:solidFill>
                  <a:schemeClr val="tx1">
                    <a:lumMod val="50000"/>
                  </a:schemeClr>
                </a:solidFill>
              </a:rPr>
              <a:t> solution </a:t>
            </a:r>
          </a:p>
          <a:p>
            <a:pPr lvl="1"/>
            <a:r>
              <a:rPr lang="sv-SE" dirty="0">
                <a:solidFill>
                  <a:schemeClr val="tx1">
                    <a:lumMod val="50000"/>
                  </a:schemeClr>
                </a:solidFill>
              </a:rPr>
              <a:t>Lab</a:t>
            </a:r>
          </a:p>
          <a:p>
            <a:pPr lvl="2"/>
            <a:r>
              <a:rPr lang="sv-SE" dirty="0">
                <a:solidFill>
                  <a:schemeClr val="tx1">
                    <a:lumMod val="50000"/>
                  </a:schemeClr>
                </a:solidFill>
              </a:rPr>
              <a:t>1. </a:t>
            </a:r>
            <a:r>
              <a:rPr lang="sv-SE" dirty="0" err="1">
                <a:solidFill>
                  <a:schemeClr val="tx1">
                    <a:lumMod val="50000"/>
                  </a:schemeClr>
                </a:solidFill>
              </a:rPr>
              <a:t>Receive</a:t>
            </a:r>
            <a:r>
              <a:rPr lang="sv-SE" dirty="0">
                <a:solidFill>
                  <a:schemeClr val="tx1">
                    <a:lumMod val="50000"/>
                  </a:schemeClr>
                </a:solidFill>
              </a:rPr>
              <a:t> </a:t>
            </a:r>
            <a:r>
              <a:rPr lang="sv-SE" dirty="0" err="1">
                <a:solidFill>
                  <a:schemeClr val="tx1">
                    <a:lumMod val="50000"/>
                  </a:schemeClr>
                </a:solidFill>
              </a:rPr>
              <a:t>whitelist</a:t>
            </a:r>
            <a:r>
              <a:rPr lang="sv-SE" dirty="0">
                <a:solidFill>
                  <a:schemeClr val="tx1">
                    <a:lumMod val="50000"/>
                  </a:schemeClr>
                </a:solidFill>
              </a:rPr>
              <a:t> </a:t>
            </a:r>
            <a:r>
              <a:rPr lang="sv-SE" dirty="0" err="1">
                <a:solidFill>
                  <a:schemeClr val="tx1">
                    <a:lumMod val="50000"/>
                  </a:schemeClr>
                </a:solidFill>
              </a:rPr>
              <a:t>through</a:t>
            </a:r>
            <a:r>
              <a:rPr lang="sv-SE" dirty="0">
                <a:solidFill>
                  <a:schemeClr val="tx1">
                    <a:lumMod val="50000"/>
                  </a:schemeClr>
                </a:solidFill>
              </a:rPr>
              <a:t> state</a:t>
            </a:r>
          </a:p>
          <a:p>
            <a:pPr lvl="2"/>
            <a:r>
              <a:rPr lang="sv-SE" dirty="0">
                <a:solidFill>
                  <a:schemeClr val="tx1">
                    <a:lumMod val="50000"/>
                  </a:schemeClr>
                </a:solidFill>
              </a:rPr>
              <a:t>2. Read telegrams from sensors and send to </a:t>
            </a:r>
            <a:r>
              <a:rPr lang="sv-SE" dirty="0" err="1">
                <a:solidFill>
                  <a:schemeClr val="tx1">
                    <a:lumMod val="50000"/>
                  </a:schemeClr>
                </a:solidFill>
              </a:rPr>
              <a:t>cloud</a:t>
            </a:r>
            <a:endParaRPr lang="sv-SE" dirty="0">
              <a:solidFill>
                <a:schemeClr val="tx1">
                  <a:lumMod val="50000"/>
                </a:schemeClr>
              </a:solidFill>
            </a:endParaRPr>
          </a:p>
          <a:p>
            <a:pPr lvl="2"/>
            <a:r>
              <a:rPr lang="sv-SE" dirty="0">
                <a:solidFill>
                  <a:schemeClr val="tx1">
                    <a:lumMod val="50000"/>
                  </a:schemeClr>
                </a:solidFill>
              </a:rPr>
              <a:t>3. </a:t>
            </a:r>
            <a:r>
              <a:rPr lang="sv-SE" dirty="0" err="1">
                <a:solidFill>
                  <a:schemeClr val="tx1">
                    <a:lumMod val="50000"/>
                  </a:schemeClr>
                </a:solidFill>
              </a:rPr>
              <a:t>Create</a:t>
            </a:r>
            <a:r>
              <a:rPr lang="sv-SE" dirty="0">
                <a:solidFill>
                  <a:schemeClr val="tx1">
                    <a:lumMod val="50000"/>
                  </a:schemeClr>
                </a:solidFill>
              </a:rPr>
              <a:t> Azure Event </a:t>
            </a:r>
            <a:r>
              <a:rPr lang="sv-SE" dirty="0" err="1">
                <a:solidFill>
                  <a:schemeClr val="tx1">
                    <a:lumMod val="50000"/>
                  </a:schemeClr>
                </a:solidFill>
              </a:rPr>
              <a:t>Hub</a:t>
            </a:r>
            <a:r>
              <a:rPr lang="sv-SE" dirty="0">
                <a:solidFill>
                  <a:schemeClr val="tx1">
                    <a:lumMod val="50000"/>
                  </a:schemeClr>
                </a:solidFill>
              </a:rPr>
              <a:t> and </a:t>
            </a:r>
            <a:r>
              <a:rPr lang="sv-SE" dirty="0" err="1">
                <a:solidFill>
                  <a:schemeClr val="tx1">
                    <a:lumMod val="50000"/>
                  </a:schemeClr>
                </a:solidFill>
              </a:rPr>
              <a:t>Time</a:t>
            </a:r>
            <a:r>
              <a:rPr lang="sv-SE" dirty="0">
                <a:solidFill>
                  <a:schemeClr val="tx1">
                    <a:lumMod val="50000"/>
                  </a:schemeClr>
                </a:solidFill>
              </a:rPr>
              <a:t> Series </a:t>
            </a:r>
            <a:r>
              <a:rPr lang="sv-SE" dirty="0" err="1">
                <a:solidFill>
                  <a:schemeClr val="tx1">
                    <a:lumMod val="50000"/>
                  </a:schemeClr>
                </a:solidFill>
              </a:rPr>
              <a:t>Insight</a:t>
            </a:r>
            <a:endParaRPr lang="sv-SE" dirty="0">
              <a:solidFill>
                <a:schemeClr val="tx1">
                  <a:lumMod val="50000"/>
                </a:schemeClr>
              </a:solidFill>
            </a:endParaRPr>
          </a:p>
        </p:txBody>
      </p:sp>
    </p:spTree>
    <p:extLst>
      <p:ext uri="{BB962C8B-B14F-4D97-AF65-F5344CB8AC3E}">
        <p14:creationId xmlns:p14="http://schemas.microsoft.com/office/powerpoint/2010/main" val="263149782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CC0843B-1394-43C8-8024-E83262E6D349}"/>
              </a:ext>
            </a:extLst>
          </p:cNvPr>
          <p:cNvSpPr>
            <a:spLocks noGrp="1"/>
          </p:cNvSpPr>
          <p:nvPr>
            <p:ph type="title"/>
          </p:nvPr>
        </p:nvSpPr>
        <p:spPr/>
        <p:txBody>
          <a:bodyPr/>
          <a:lstStyle/>
          <a:p>
            <a:r>
              <a:rPr lang="en-US" dirty="0"/>
              <a:t>On-boarding</a:t>
            </a:r>
          </a:p>
        </p:txBody>
      </p:sp>
      <p:grpSp>
        <p:nvGrpSpPr>
          <p:cNvPr id="37" name="Group 36">
            <a:extLst>
              <a:ext uri="{FF2B5EF4-FFF2-40B4-BE49-F238E27FC236}">
                <a16:creationId xmlns:a16="http://schemas.microsoft.com/office/drawing/2014/main" id="{3D7C7D19-77AA-4FFD-9BE1-BC97013B32E9}"/>
              </a:ext>
            </a:extLst>
          </p:cNvPr>
          <p:cNvGrpSpPr/>
          <p:nvPr/>
        </p:nvGrpSpPr>
        <p:grpSpPr>
          <a:xfrm>
            <a:off x="9225112" y="1847435"/>
            <a:ext cx="2461800" cy="1570854"/>
            <a:chOff x="9225112" y="1847435"/>
            <a:chExt cx="2461800" cy="1570854"/>
          </a:xfrm>
        </p:grpSpPr>
        <p:sp>
          <p:nvSpPr>
            <p:cNvPr id="4" name="Rectangle: Rounded Corners 4">
              <a:extLst>
                <a:ext uri="{FF2B5EF4-FFF2-40B4-BE49-F238E27FC236}">
                  <a16:creationId xmlns:a16="http://schemas.microsoft.com/office/drawing/2014/main" id="{730CEEA5-76EB-43F2-849A-50049C49175C}"/>
                </a:ext>
              </a:extLst>
            </p:cNvPr>
            <p:cNvSpPr/>
            <p:nvPr/>
          </p:nvSpPr>
          <p:spPr bwMode="auto">
            <a:xfrm>
              <a:off x="9225112" y="1847435"/>
              <a:ext cx="2461800" cy="1570854"/>
            </a:xfrm>
            <a:prstGeom prst="roundRect">
              <a:avLst>
                <a:gd name="adj" fmla="val 0"/>
              </a:avLst>
            </a:prstGeom>
            <a:solidFill>
              <a:sysClr val="window" lastClr="FFFFFF"/>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sv-SE" sz="2000" b="0" i="0" u="none" strike="noStrike" kern="0" cap="none" spc="0" normalizeH="0" baseline="0" noProof="0" dirty="0">
                <a:ln>
                  <a:noFill/>
                </a:ln>
                <a:gradFill>
                  <a:gsLst>
                    <a:gs pos="5417">
                      <a:srgbClr val="B9D80A"/>
                    </a:gs>
                    <a:gs pos="100000">
                      <a:srgbClr val="B9D80A"/>
                    </a:gs>
                  </a:gsLst>
                  <a:lin ang="5400000" scaled="0"/>
                </a:gradFill>
                <a:effectLst/>
                <a:uLnTx/>
                <a:uFillTx/>
                <a:latin typeface="Segoe UI"/>
                <a:ea typeface="+mn-ea"/>
                <a:cs typeface="+mn-cs"/>
              </a:endParaRPr>
            </a:p>
          </p:txBody>
        </p:sp>
        <p:pic>
          <p:nvPicPr>
            <p:cNvPr id="5" name="Picture 3">
              <a:extLst>
                <a:ext uri="{FF2B5EF4-FFF2-40B4-BE49-F238E27FC236}">
                  <a16:creationId xmlns:a16="http://schemas.microsoft.com/office/drawing/2014/main" id="{83DDD89F-6767-4F52-8433-931EB05E214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512158" y="2414119"/>
              <a:ext cx="1905770" cy="400212"/>
            </a:xfrm>
            <a:prstGeom prst="rect">
              <a:avLst/>
            </a:prstGeom>
          </p:spPr>
        </p:pic>
      </p:grpSp>
      <p:grpSp>
        <p:nvGrpSpPr>
          <p:cNvPr id="38" name="Group 37">
            <a:extLst>
              <a:ext uri="{FF2B5EF4-FFF2-40B4-BE49-F238E27FC236}">
                <a16:creationId xmlns:a16="http://schemas.microsoft.com/office/drawing/2014/main" id="{7931146E-922A-445D-AFE7-EAE5F3640667}"/>
              </a:ext>
            </a:extLst>
          </p:cNvPr>
          <p:cNvGrpSpPr/>
          <p:nvPr/>
        </p:nvGrpSpPr>
        <p:grpSpPr>
          <a:xfrm>
            <a:off x="1171627" y="1847435"/>
            <a:ext cx="2461800" cy="1570854"/>
            <a:chOff x="1171627" y="1847435"/>
            <a:chExt cx="2461800" cy="1570854"/>
          </a:xfrm>
        </p:grpSpPr>
        <p:sp>
          <p:nvSpPr>
            <p:cNvPr id="6" name="Rectangle 24">
              <a:extLst>
                <a:ext uri="{FF2B5EF4-FFF2-40B4-BE49-F238E27FC236}">
                  <a16:creationId xmlns:a16="http://schemas.microsoft.com/office/drawing/2014/main" id="{CF023058-9494-46D5-9803-1165A15FC0D4}"/>
                </a:ext>
              </a:extLst>
            </p:cNvPr>
            <p:cNvSpPr/>
            <p:nvPr/>
          </p:nvSpPr>
          <p:spPr>
            <a:xfrm>
              <a:off x="1171627" y="1847435"/>
              <a:ext cx="2461800" cy="1570854"/>
            </a:xfrm>
            <a:prstGeom prst="rect">
              <a:avLst/>
            </a:prstGeom>
            <a:solidFill>
              <a:sysClr val="windowText" lastClr="000000"/>
            </a:solidFill>
            <a:ln w="10795" cap="flat" cmpd="sng" algn="ctr">
              <a:solidFill>
                <a:sysClr val="window" lastClr="FFFFFF"/>
              </a:solidFill>
              <a:prstDash val="solid"/>
            </a:ln>
            <a:effectLst/>
          </p:spPr>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Segoe UI"/>
                  <a:ea typeface="+mn-ea"/>
                  <a:cs typeface="+mn-cs"/>
                </a:rPr>
                <a:t>IoT Hub</a:t>
              </a:r>
            </a:p>
          </p:txBody>
        </p:sp>
        <p:pic>
          <p:nvPicPr>
            <p:cNvPr id="12" name="Picture 11">
              <a:extLst>
                <a:ext uri="{FF2B5EF4-FFF2-40B4-BE49-F238E27FC236}">
                  <a16:creationId xmlns:a16="http://schemas.microsoft.com/office/drawing/2014/main" id="{FB4AA1E9-9A74-4552-9794-794E5E45B22A}"/>
                </a:ext>
              </a:extLst>
            </p:cNvPr>
            <p:cNvPicPr>
              <a:picLocks noChangeAspect="1"/>
            </p:cNvPicPr>
            <p:nvPr/>
          </p:nvPicPr>
          <p:blipFill>
            <a:blip r:embed="rId3"/>
            <a:stretch>
              <a:fillRect/>
            </a:stretch>
          </p:blipFill>
          <p:spPr>
            <a:xfrm>
              <a:off x="1879107" y="2184581"/>
              <a:ext cx="1046840" cy="859288"/>
            </a:xfrm>
            <a:prstGeom prst="rect">
              <a:avLst/>
            </a:prstGeom>
          </p:spPr>
        </p:pic>
      </p:grpSp>
      <p:grpSp>
        <p:nvGrpSpPr>
          <p:cNvPr id="13" name="Group 9">
            <a:extLst>
              <a:ext uri="{FF2B5EF4-FFF2-40B4-BE49-F238E27FC236}">
                <a16:creationId xmlns:a16="http://schemas.microsoft.com/office/drawing/2014/main" id="{44E4FFC1-1D55-42E9-9B7F-56FE6D203D17}"/>
              </a:ext>
            </a:extLst>
          </p:cNvPr>
          <p:cNvGrpSpPr/>
          <p:nvPr/>
        </p:nvGrpSpPr>
        <p:grpSpPr>
          <a:xfrm>
            <a:off x="5204008" y="1847435"/>
            <a:ext cx="2461800" cy="1570854"/>
            <a:chOff x="2843978" y="2057254"/>
            <a:chExt cx="2461800" cy="1570854"/>
          </a:xfrm>
        </p:grpSpPr>
        <p:sp>
          <p:nvSpPr>
            <p:cNvPr id="14" name="Rectangle 7">
              <a:extLst>
                <a:ext uri="{FF2B5EF4-FFF2-40B4-BE49-F238E27FC236}">
                  <a16:creationId xmlns:a16="http://schemas.microsoft.com/office/drawing/2014/main" id="{A8FE68E9-2D3B-467F-9790-4C44E62F2BEC}"/>
                </a:ext>
              </a:extLst>
            </p:cNvPr>
            <p:cNvSpPr/>
            <p:nvPr/>
          </p:nvSpPr>
          <p:spPr>
            <a:xfrm>
              <a:off x="2843978" y="2057254"/>
              <a:ext cx="2461800" cy="1570854"/>
            </a:xfrm>
            <a:prstGeom prst="rect">
              <a:avLst/>
            </a:prstGeom>
            <a:solidFill>
              <a:sysClr val="windowText" lastClr="000000"/>
            </a:solidFill>
            <a:ln w="10795" cap="flat" cmpd="sng" algn="ctr">
              <a:solidFill>
                <a:sysClr val="window" lastClr="FFFFFF"/>
              </a:solidFill>
              <a:prstDash val="solid"/>
            </a:ln>
            <a:effectLst/>
          </p:spPr>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Segoe UI"/>
                  <a:ea typeface="+mn-ea"/>
                  <a:cs typeface="+mn-cs"/>
                </a:rPr>
                <a:t>microServiceBus.com</a:t>
              </a:r>
            </a:p>
          </p:txBody>
        </p:sp>
        <p:pic>
          <p:nvPicPr>
            <p:cNvPr id="15" name="Picture 8">
              <a:extLst>
                <a:ext uri="{FF2B5EF4-FFF2-40B4-BE49-F238E27FC236}">
                  <a16:creationId xmlns:a16="http://schemas.microsoft.com/office/drawing/2014/main" id="{FBDBDF87-6B26-4C9C-85B7-A286C83473C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635044" y="2434752"/>
              <a:ext cx="879667" cy="721991"/>
            </a:xfrm>
            <a:prstGeom prst="rect">
              <a:avLst/>
            </a:prstGeom>
          </p:spPr>
        </p:pic>
      </p:grpSp>
      <p:pic>
        <p:nvPicPr>
          <p:cNvPr id="17" name="Picture 16">
            <a:extLst>
              <a:ext uri="{FF2B5EF4-FFF2-40B4-BE49-F238E27FC236}">
                <a16:creationId xmlns:a16="http://schemas.microsoft.com/office/drawing/2014/main" id="{91A27C0A-1BF9-4049-84C4-CD189C3A1DC7}"/>
              </a:ext>
            </a:extLst>
          </p:cNvPr>
          <p:cNvPicPr>
            <a:picLocks noChangeAspect="1"/>
          </p:cNvPicPr>
          <p:nvPr/>
        </p:nvPicPr>
        <p:blipFill>
          <a:blip r:embed="rId5"/>
          <a:stretch>
            <a:fillRect/>
          </a:stretch>
        </p:blipFill>
        <p:spPr>
          <a:xfrm>
            <a:off x="5628610" y="4914941"/>
            <a:ext cx="1612593" cy="1333767"/>
          </a:xfrm>
          <a:prstGeom prst="rect">
            <a:avLst/>
          </a:prstGeom>
        </p:spPr>
      </p:pic>
      <p:sp>
        <p:nvSpPr>
          <p:cNvPr id="18" name="Rectangle 24">
            <a:extLst>
              <a:ext uri="{FF2B5EF4-FFF2-40B4-BE49-F238E27FC236}">
                <a16:creationId xmlns:a16="http://schemas.microsoft.com/office/drawing/2014/main" id="{1DF8D479-BADF-477D-A768-5E890C76D7C4}"/>
              </a:ext>
            </a:extLst>
          </p:cNvPr>
          <p:cNvSpPr/>
          <p:nvPr/>
        </p:nvSpPr>
        <p:spPr>
          <a:xfrm>
            <a:off x="1173378" y="1847064"/>
            <a:ext cx="2461800" cy="1570854"/>
          </a:xfrm>
          <a:prstGeom prst="rect">
            <a:avLst/>
          </a:prstGeom>
          <a:solidFill>
            <a:sysClr val="windowText" lastClr="000000"/>
          </a:solidFill>
          <a:ln w="10795" cap="flat" cmpd="sng" algn="ctr">
            <a:solidFill>
              <a:sysClr val="window" lastClr="FFFFFF"/>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Segoe UI"/>
                <a:ea typeface="+mn-ea"/>
                <a:cs typeface="+mn-cs"/>
              </a:rPr>
              <a:t>IOT HUB</a:t>
            </a:r>
          </a:p>
        </p:txBody>
      </p:sp>
      <p:sp>
        <p:nvSpPr>
          <p:cNvPr id="19" name="Rectangle 24">
            <a:extLst>
              <a:ext uri="{FF2B5EF4-FFF2-40B4-BE49-F238E27FC236}">
                <a16:creationId xmlns:a16="http://schemas.microsoft.com/office/drawing/2014/main" id="{7620A679-7A13-4807-9A97-C9561DD5CE1D}"/>
              </a:ext>
            </a:extLst>
          </p:cNvPr>
          <p:cNvSpPr/>
          <p:nvPr/>
        </p:nvSpPr>
        <p:spPr>
          <a:xfrm>
            <a:off x="5205759" y="1847522"/>
            <a:ext cx="2461800" cy="1570854"/>
          </a:xfrm>
          <a:prstGeom prst="rect">
            <a:avLst/>
          </a:prstGeom>
          <a:solidFill>
            <a:sysClr val="windowText" lastClr="000000"/>
          </a:solidFill>
          <a:ln w="10795" cap="flat" cmpd="sng" algn="ctr">
            <a:solidFill>
              <a:sysClr val="window" lastClr="FFFFFF"/>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Segoe UI"/>
                <a:ea typeface="+mn-ea"/>
                <a:cs typeface="+mn-cs"/>
              </a:rPr>
              <a:t>DEVICE MANAGEMENT</a:t>
            </a:r>
          </a:p>
        </p:txBody>
      </p:sp>
      <p:sp>
        <p:nvSpPr>
          <p:cNvPr id="20" name="Rectangle 24">
            <a:extLst>
              <a:ext uri="{FF2B5EF4-FFF2-40B4-BE49-F238E27FC236}">
                <a16:creationId xmlns:a16="http://schemas.microsoft.com/office/drawing/2014/main" id="{D0EA35BE-3059-488D-BDE0-F1CFD13C2753}"/>
              </a:ext>
            </a:extLst>
          </p:cNvPr>
          <p:cNvSpPr/>
          <p:nvPr/>
        </p:nvSpPr>
        <p:spPr>
          <a:xfrm>
            <a:off x="9225112" y="1842301"/>
            <a:ext cx="2461800" cy="1570854"/>
          </a:xfrm>
          <a:prstGeom prst="rect">
            <a:avLst/>
          </a:prstGeom>
          <a:solidFill>
            <a:sysClr val="windowText" lastClr="000000"/>
          </a:solidFill>
          <a:ln w="10795" cap="flat" cmpd="sng" algn="ctr">
            <a:solidFill>
              <a:sysClr val="window" lastClr="FFFFFF"/>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Segoe UI"/>
                <a:ea typeface="+mn-ea"/>
                <a:cs typeface="+mn-cs"/>
              </a:rPr>
              <a:t>SIM CARD MANAGEMENT</a:t>
            </a:r>
          </a:p>
        </p:txBody>
      </p:sp>
      <p:cxnSp>
        <p:nvCxnSpPr>
          <p:cNvPr id="22" name="Connector: Elbow 21">
            <a:extLst>
              <a:ext uri="{FF2B5EF4-FFF2-40B4-BE49-F238E27FC236}">
                <a16:creationId xmlns:a16="http://schemas.microsoft.com/office/drawing/2014/main" id="{5B0DC1C9-E7A9-4F65-AFA0-305B14EFDE34}"/>
              </a:ext>
            </a:extLst>
          </p:cNvPr>
          <p:cNvCxnSpPr>
            <a:stCxn id="17" idx="3"/>
            <a:endCxn id="4" idx="2"/>
          </p:cNvCxnSpPr>
          <p:nvPr/>
        </p:nvCxnSpPr>
        <p:spPr>
          <a:xfrm flipV="1">
            <a:off x="7241203" y="3418289"/>
            <a:ext cx="3214809" cy="2163536"/>
          </a:xfrm>
          <a:prstGeom prst="bentConnector2">
            <a:avLst/>
          </a:prstGeom>
          <a:ln w="381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74E517B8-3C24-4DED-B12D-AC4F01C106B7}"/>
              </a:ext>
            </a:extLst>
          </p:cNvPr>
          <p:cNvSpPr txBox="1"/>
          <p:nvPr/>
        </p:nvSpPr>
        <p:spPr>
          <a:xfrm>
            <a:off x="7895998" y="5724118"/>
            <a:ext cx="2658228"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1. Activate SIM card</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5F459B95-58FD-454D-9A5B-D2E5591AF6BD}"/>
              </a:ext>
            </a:extLst>
          </p:cNvPr>
          <p:cNvSpPr txBox="1"/>
          <p:nvPr/>
        </p:nvSpPr>
        <p:spPr>
          <a:xfrm>
            <a:off x="6874741" y="4017225"/>
            <a:ext cx="2325893"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2. Request config</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26" name="Straight Arrow Connector 25">
            <a:extLst>
              <a:ext uri="{FF2B5EF4-FFF2-40B4-BE49-F238E27FC236}">
                <a16:creationId xmlns:a16="http://schemas.microsoft.com/office/drawing/2014/main" id="{4FC4FAD5-A348-4742-A5A0-E53EE763037A}"/>
              </a:ext>
            </a:extLst>
          </p:cNvPr>
          <p:cNvCxnSpPr/>
          <p:nvPr/>
        </p:nvCxnSpPr>
        <p:spPr>
          <a:xfrm flipV="1">
            <a:off x="6756400" y="3423139"/>
            <a:ext cx="0" cy="1484996"/>
          </a:xfrm>
          <a:prstGeom prst="straightConnector1">
            <a:avLst/>
          </a:prstGeom>
          <a:ln w="381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D980A0D2-4837-48BF-984A-EE23620E6580}"/>
              </a:ext>
            </a:extLst>
          </p:cNvPr>
          <p:cNvCxnSpPr>
            <a:cxnSpLocks/>
          </p:cNvCxnSpPr>
          <p:nvPr/>
        </p:nvCxnSpPr>
        <p:spPr>
          <a:xfrm flipH="1">
            <a:off x="7665808" y="2099462"/>
            <a:ext cx="1559304" cy="0"/>
          </a:xfrm>
          <a:prstGeom prst="straightConnector1">
            <a:avLst/>
          </a:prstGeom>
          <a:ln w="381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BE18FEB5-7905-4A04-814C-7B9B67DBCA47}"/>
              </a:ext>
            </a:extLst>
          </p:cNvPr>
          <p:cNvSpPr txBox="1"/>
          <p:nvPr/>
        </p:nvSpPr>
        <p:spPr>
          <a:xfrm>
            <a:off x="8015469" y="1223889"/>
            <a:ext cx="1953740"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3. Notification</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31" name="Straight Arrow Connector 30">
            <a:extLst>
              <a:ext uri="{FF2B5EF4-FFF2-40B4-BE49-F238E27FC236}">
                <a16:creationId xmlns:a16="http://schemas.microsoft.com/office/drawing/2014/main" id="{B843DAE2-ABF4-4B13-9E36-D8A035A3FF90}"/>
              </a:ext>
            </a:extLst>
          </p:cNvPr>
          <p:cNvCxnSpPr>
            <a:cxnSpLocks/>
          </p:cNvCxnSpPr>
          <p:nvPr/>
        </p:nvCxnSpPr>
        <p:spPr>
          <a:xfrm flipH="1">
            <a:off x="3644704" y="2095804"/>
            <a:ext cx="1559304" cy="0"/>
          </a:xfrm>
          <a:prstGeom prst="straightConnector1">
            <a:avLst/>
          </a:prstGeom>
          <a:ln w="381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2A297812-2B7C-46DF-9824-AD98FD5F58A6}"/>
              </a:ext>
            </a:extLst>
          </p:cNvPr>
          <p:cNvSpPr txBox="1"/>
          <p:nvPr/>
        </p:nvSpPr>
        <p:spPr>
          <a:xfrm>
            <a:off x="3900669" y="1231448"/>
            <a:ext cx="2370329"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4. Register device</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33" name="Straight Arrow Connector 32">
            <a:extLst>
              <a:ext uri="{FF2B5EF4-FFF2-40B4-BE49-F238E27FC236}">
                <a16:creationId xmlns:a16="http://schemas.microsoft.com/office/drawing/2014/main" id="{6E86D54F-76B9-46FE-A864-A7D573399625}"/>
              </a:ext>
            </a:extLst>
          </p:cNvPr>
          <p:cNvCxnSpPr>
            <a:cxnSpLocks/>
          </p:cNvCxnSpPr>
          <p:nvPr/>
        </p:nvCxnSpPr>
        <p:spPr>
          <a:xfrm>
            <a:off x="3633427" y="3081969"/>
            <a:ext cx="1559304" cy="0"/>
          </a:xfrm>
          <a:prstGeom prst="straightConnector1">
            <a:avLst/>
          </a:prstGeom>
          <a:ln w="381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4D734326-B0EE-4713-92F9-B1FC7EEAD6FD}"/>
              </a:ext>
            </a:extLst>
          </p:cNvPr>
          <p:cNvSpPr txBox="1"/>
          <p:nvPr/>
        </p:nvSpPr>
        <p:spPr>
          <a:xfrm>
            <a:off x="3900669" y="3448566"/>
            <a:ext cx="1892954"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5. Credentials</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35" name="Straight Arrow Connector 34">
            <a:extLst>
              <a:ext uri="{FF2B5EF4-FFF2-40B4-BE49-F238E27FC236}">
                <a16:creationId xmlns:a16="http://schemas.microsoft.com/office/drawing/2014/main" id="{B99915A8-035E-4F94-BB1E-2958E1471F5D}"/>
              </a:ext>
            </a:extLst>
          </p:cNvPr>
          <p:cNvCxnSpPr>
            <a:cxnSpLocks/>
          </p:cNvCxnSpPr>
          <p:nvPr/>
        </p:nvCxnSpPr>
        <p:spPr>
          <a:xfrm>
            <a:off x="5995074" y="3423139"/>
            <a:ext cx="0" cy="1484996"/>
          </a:xfrm>
          <a:prstGeom prst="straightConnector1">
            <a:avLst/>
          </a:prstGeom>
          <a:ln w="381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0066F67A-B755-4A34-AFB8-AC1C16F688EC}"/>
              </a:ext>
            </a:extLst>
          </p:cNvPr>
          <p:cNvSpPr txBox="1"/>
          <p:nvPr/>
        </p:nvSpPr>
        <p:spPr>
          <a:xfrm>
            <a:off x="4445369" y="4009471"/>
            <a:ext cx="1280928"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6. Config</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9" name="TextBox 38">
            <a:extLst>
              <a:ext uri="{FF2B5EF4-FFF2-40B4-BE49-F238E27FC236}">
                <a16:creationId xmlns:a16="http://schemas.microsoft.com/office/drawing/2014/main" id="{55B05269-FFED-4BC9-84E8-BDF5610AD8E2}"/>
              </a:ext>
            </a:extLst>
          </p:cNvPr>
          <p:cNvSpPr txBox="1"/>
          <p:nvPr/>
        </p:nvSpPr>
        <p:spPr>
          <a:xfrm>
            <a:off x="5726297" y="6315427"/>
            <a:ext cx="1345240"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Segoe UI"/>
                <a:ea typeface="+mn-ea"/>
                <a:cs typeface="+mn-cs"/>
              </a:rPr>
              <a:t>IOT DEVICE</a:t>
            </a:r>
          </a:p>
        </p:txBody>
      </p:sp>
      <p:cxnSp>
        <p:nvCxnSpPr>
          <p:cNvPr id="41" name="Connector: Elbow 40">
            <a:extLst>
              <a:ext uri="{FF2B5EF4-FFF2-40B4-BE49-F238E27FC236}">
                <a16:creationId xmlns:a16="http://schemas.microsoft.com/office/drawing/2014/main" id="{4A7438CF-77F9-4BDA-A86B-ECECF66F241A}"/>
              </a:ext>
            </a:extLst>
          </p:cNvPr>
          <p:cNvCxnSpPr>
            <a:stCxn id="17" idx="1"/>
            <a:endCxn id="18" idx="2"/>
          </p:cNvCxnSpPr>
          <p:nvPr/>
        </p:nvCxnSpPr>
        <p:spPr>
          <a:xfrm rot="10800000">
            <a:off x="2404278" y="3417919"/>
            <a:ext cx="3224332" cy="2163907"/>
          </a:xfrm>
          <a:prstGeom prst="bentConnector2">
            <a:avLst/>
          </a:prstGeom>
          <a:ln w="38100">
            <a:solidFill>
              <a:schemeClr val="bg1"/>
            </a:solidFill>
            <a:prstDash val="sys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A64C4C20-23E8-4C8A-B3ED-E6C5957E3FFE}"/>
              </a:ext>
            </a:extLst>
          </p:cNvPr>
          <p:cNvSpPr txBox="1"/>
          <p:nvPr/>
        </p:nvSpPr>
        <p:spPr>
          <a:xfrm>
            <a:off x="1690550" y="5686942"/>
            <a:ext cx="2412455"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7. Send &amp; Receive</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49" name="Group 48">
            <a:extLst>
              <a:ext uri="{FF2B5EF4-FFF2-40B4-BE49-F238E27FC236}">
                <a16:creationId xmlns:a16="http://schemas.microsoft.com/office/drawing/2014/main" id="{5150E51D-3FA4-45BB-B7AC-3E72374AB011}"/>
              </a:ext>
            </a:extLst>
          </p:cNvPr>
          <p:cNvGrpSpPr/>
          <p:nvPr/>
        </p:nvGrpSpPr>
        <p:grpSpPr>
          <a:xfrm>
            <a:off x="2404278" y="3417919"/>
            <a:ext cx="3224332" cy="2423820"/>
            <a:chOff x="2404278" y="3417919"/>
            <a:chExt cx="3224332" cy="2423820"/>
          </a:xfrm>
        </p:grpSpPr>
        <p:cxnSp>
          <p:nvCxnSpPr>
            <p:cNvPr id="45" name="Connector: Elbow 44">
              <a:extLst>
                <a:ext uri="{FF2B5EF4-FFF2-40B4-BE49-F238E27FC236}">
                  <a16:creationId xmlns:a16="http://schemas.microsoft.com/office/drawing/2014/main" id="{ED42F508-486A-4EBD-8E45-739AB57833B8}"/>
                </a:ext>
              </a:extLst>
            </p:cNvPr>
            <p:cNvCxnSpPr>
              <a:cxnSpLocks/>
              <a:stCxn id="17" idx="1"/>
              <a:endCxn id="18" idx="2"/>
            </p:cNvCxnSpPr>
            <p:nvPr/>
          </p:nvCxnSpPr>
          <p:spPr>
            <a:xfrm rot="10800000">
              <a:off x="2404278" y="3417919"/>
              <a:ext cx="3224332" cy="2163907"/>
            </a:xfrm>
            <a:prstGeom prst="bentConnector2">
              <a:avLst/>
            </a:prstGeom>
            <a:ln w="38100">
              <a:solidFill>
                <a:schemeClr val="bg1"/>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47" name="Rectangle 46">
              <a:extLst>
                <a:ext uri="{FF2B5EF4-FFF2-40B4-BE49-F238E27FC236}">
                  <a16:creationId xmlns:a16="http://schemas.microsoft.com/office/drawing/2014/main" id="{6FD9F930-A9DB-4728-BACB-D953CA77E611}"/>
                </a:ext>
              </a:extLst>
            </p:cNvPr>
            <p:cNvSpPr/>
            <p:nvPr/>
          </p:nvSpPr>
          <p:spPr>
            <a:xfrm>
              <a:off x="3429218" y="5321909"/>
              <a:ext cx="673787" cy="51983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800" b="1" i="0" u="none" strike="noStrike" kern="1200" cap="none" spc="0" normalizeH="0" baseline="0" noProof="0" dirty="0">
                  <a:ln>
                    <a:noFill/>
                  </a:ln>
                  <a:solidFill>
                    <a:prstClr val="white"/>
                  </a:solidFill>
                  <a:effectLst/>
                  <a:uLnTx/>
                  <a:uFillTx/>
                  <a:latin typeface="Calibri" panose="020F0502020204030204"/>
                  <a:ea typeface="+mn-ea"/>
                  <a:cs typeface="+mn-cs"/>
                </a:rPr>
                <a:t>?</a:t>
              </a:r>
              <a:endParaRPr kumimoji="0" lang="sv-SE" sz="18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
        <p:nvSpPr>
          <p:cNvPr id="2" name="Rectangle 1">
            <a:extLst>
              <a:ext uri="{FF2B5EF4-FFF2-40B4-BE49-F238E27FC236}">
                <a16:creationId xmlns:a16="http://schemas.microsoft.com/office/drawing/2014/main" id="{3704C83C-E5FA-4650-8597-C88858C4D823}"/>
              </a:ext>
            </a:extLst>
          </p:cNvPr>
          <p:cNvSpPr/>
          <p:nvPr/>
        </p:nvSpPr>
        <p:spPr>
          <a:xfrm>
            <a:off x="5129819" y="1753401"/>
            <a:ext cx="6557093" cy="1723365"/>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705846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49"/>
                                        </p:tgtEl>
                                      </p:cBhvr>
                                    </p:animEffect>
                                    <p:set>
                                      <p:cBhvr>
                                        <p:cTn id="7" dur="1" fill="hold">
                                          <p:stCondLst>
                                            <p:cond delay="499"/>
                                          </p:stCondLst>
                                        </p:cTn>
                                        <p:tgtEl>
                                          <p:spTgt spid="49"/>
                                        </p:tgtEl>
                                        <p:attrNameLst>
                                          <p:attrName>style.visibility</p:attrName>
                                        </p:attrNameLst>
                                      </p:cBhvr>
                                      <p:to>
                                        <p:strVal val="hidden"/>
                                      </p:to>
                                    </p:set>
                                  </p:childTnLst>
                                </p:cTn>
                              </p:par>
                            </p:childTnLst>
                          </p:cTn>
                        </p:par>
                        <p:par>
                          <p:cTn id="8" fill="hold">
                            <p:stCondLst>
                              <p:cond delay="500"/>
                            </p:stCondLst>
                            <p:childTnLst>
                              <p:par>
                                <p:cTn id="9" presetID="10" presetClass="exit" presetSubtype="0" fill="hold" grpId="0" nodeType="afterEffect">
                                  <p:stCondLst>
                                    <p:cond delay="0"/>
                                  </p:stCondLst>
                                  <p:childTnLst>
                                    <p:animEffect transition="out" filter="fade">
                                      <p:cBhvr>
                                        <p:cTn id="10" dur="500"/>
                                        <p:tgtEl>
                                          <p:spTgt spid="2"/>
                                        </p:tgtEl>
                                      </p:cBhvr>
                                    </p:animEffect>
                                    <p:set>
                                      <p:cBhvr>
                                        <p:cTn id="11" dur="1" fill="hold">
                                          <p:stCondLst>
                                            <p:cond delay="499"/>
                                          </p:stCondLst>
                                        </p:cTn>
                                        <p:tgtEl>
                                          <p:spTgt spid="2"/>
                                        </p:tgtEl>
                                        <p:attrNameLst>
                                          <p:attrName>style.visibility</p:attrName>
                                        </p:attrNameLst>
                                      </p:cBhvr>
                                      <p:to>
                                        <p:strVal val="hidden"/>
                                      </p:to>
                                    </p:se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22"/>
                                        </p:tgtEl>
                                        <p:attrNameLst>
                                          <p:attrName>style.visibility</p:attrName>
                                        </p:attrNameLst>
                                      </p:cBhvr>
                                      <p:to>
                                        <p:strVal val="visible"/>
                                      </p:to>
                                    </p:set>
                                    <p:animEffect transition="in" filter="fade">
                                      <p:cBhvr>
                                        <p:cTn id="16" dur="500"/>
                                        <p:tgtEl>
                                          <p:spTgt spid="22"/>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3"/>
                                        </p:tgtEl>
                                        <p:attrNameLst>
                                          <p:attrName>style.visibility</p:attrName>
                                        </p:attrNameLst>
                                      </p:cBhvr>
                                      <p:to>
                                        <p:strVal val="visible"/>
                                      </p:to>
                                    </p:set>
                                    <p:animEffect transition="in" filter="fade">
                                      <p:cBhvr>
                                        <p:cTn id="19" dur="500"/>
                                        <p:tgtEl>
                                          <p:spTgt spid="23"/>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xit" presetSubtype="0" fill="hold" grpId="0" nodeType="clickEffect">
                                  <p:stCondLst>
                                    <p:cond delay="0"/>
                                  </p:stCondLst>
                                  <p:childTnLst>
                                    <p:animEffect transition="out" filter="fade">
                                      <p:cBhvr>
                                        <p:cTn id="23" dur="500"/>
                                        <p:tgtEl>
                                          <p:spTgt spid="20"/>
                                        </p:tgtEl>
                                      </p:cBhvr>
                                    </p:animEffect>
                                    <p:set>
                                      <p:cBhvr>
                                        <p:cTn id="24" dur="1" fill="hold">
                                          <p:stCondLst>
                                            <p:cond delay="499"/>
                                          </p:stCondLst>
                                        </p:cTn>
                                        <p:tgtEl>
                                          <p:spTgt spid="20"/>
                                        </p:tgtEl>
                                        <p:attrNameLst>
                                          <p:attrName>style.visibility</p:attrName>
                                        </p:attrNameLst>
                                      </p:cBhvr>
                                      <p:to>
                                        <p:strVal val="hidden"/>
                                      </p:to>
                                    </p:se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26"/>
                                        </p:tgtEl>
                                        <p:attrNameLst>
                                          <p:attrName>style.visibility</p:attrName>
                                        </p:attrNameLst>
                                      </p:cBhvr>
                                      <p:to>
                                        <p:strVal val="visible"/>
                                      </p:to>
                                    </p:set>
                                    <p:animEffect transition="in" filter="fade">
                                      <p:cBhvr>
                                        <p:cTn id="29" dur="500"/>
                                        <p:tgtEl>
                                          <p:spTgt spid="26"/>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24"/>
                                        </p:tgtEl>
                                        <p:attrNameLst>
                                          <p:attrName>style.visibility</p:attrName>
                                        </p:attrNameLst>
                                      </p:cBhvr>
                                      <p:to>
                                        <p:strVal val="visible"/>
                                      </p:to>
                                    </p:set>
                                    <p:animEffect transition="in" filter="fade">
                                      <p:cBhvr>
                                        <p:cTn id="32" dur="500"/>
                                        <p:tgtEl>
                                          <p:spTgt spid="24"/>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27"/>
                                        </p:tgtEl>
                                        <p:attrNameLst>
                                          <p:attrName>style.visibility</p:attrName>
                                        </p:attrNameLst>
                                      </p:cBhvr>
                                      <p:to>
                                        <p:strVal val="visible"/>
                                      </p:to>
                                    </p:set>
                                    <p:animEffect transition="in" filter="fade">
                                      <p:cBhvr>
                                        <p:cTn id="37" dur="500"/>
                                        <p:tgtEl>
                                          <p:spTgt spid="27"/>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30"/>
                                        </p:tgtEl>
                                        <p:attrNameLst>
                                          <p:attrName>style.visibility</p:attrName>
                                        </p:attrNameLst>
                                      </p:cBhvr>
                                      <p:to>
                                        <p:strVal val="visible"/>
                                      </p:to>
                                    </p:set>
                                    <p:animEffect transition="in" filter="fade">
                                      <p:cBhvr>
                                        <p:cTn id="40" dur="500"/>
                                        <p:tgtEl>
                                          <p:spTgt spid="30"/>
                                        </p:tgtEl>
                                      </p:cBhvr>
                                    </p:animEffect>
                                  </p:childTnLst>
                                </p:cTn>
                              </p:par>
                            </p:childTnLst>
                          </p:cTn>
                        </p:par>
                        <p:par>
                          <p:cTn id="41" fill="hold">
                            <p:stCondLst>
                              <p:cond delay="500"/>
                            </p:stCondLst>
                            <p:childTnLst>
                              <p:par>
                                <p:cTn id="42" presetID="10" presetClass="exit" presetSubtype="0" fill="hold" nodeType="afterEffect">
                                  <p:stCondLst>
                                    <p:cond delay="0"/>
                                  </p:stCondLst>
                                  <p:childTnLst>
                                    <p:animEffect transition="out" filter="fade">
                                      <p:cBhvr>
                                        <p:cTn id="43" dur="500"/>
                                        <p:tgtEl>
                                          <p:spTgt spid="22"/>
                                        </p:tgtEl>
                                      </p:cBhvr>
                                    </p:animEffect>
                                    <p:set>
                                      <p:cBhvr>
                                        <p:cTn id="44" dur="1" fill="hold">
                                          <p:stCondLst>
                                            <p:cond delay="499"/>
                                          </p:stCondLst>
                                        </p:cTn>
                                        <p:tgtEl>
                                          <p:spTgt spid="22"/>
                                        </p:tgtEl>
                                        <p:attrNameLst>
                                          <p:attrName>style.visibility</p:attrName>
                                        </p:attrNameLst>
                                      </p:cBhvr>
                                      <p:to>
                                        <p:strVal val="hidden"/>
                                      </p:to>
                                    </p:set>
                                  </p:childTnLst>
                                </p:cTn>
                              </p:par>
                              <p:par>
                                <p:cTn id="45" presetID="10" presetClass="exit" presetSubtype="0" fill="hold" grpId="1" nodeType="withEffect">
                                  <p:stCondLst>
                                    <p:cond delay="0"/>
                                  </p:stCondLst>
                                  <p:childTnLst>
                                    <p:animEffect transition="out" filter="fade">
                                      <p:cBhvr>
                                        <p:cTn id="46" dur="500"/>
                                        <p:tgtEl>
                                          <p:spTgt spid="23"/>
                                        </p:tgtEl>
                                      </p:cBhvr>
                                    </p:animEffect>
                                    <p:set>
                                      <p:cBhvr>
                                        <p:cTn id="47" dur="1" fill="hold">
                                          <p:stCondLst>
                                            <p:cond delay="499"/>
                                          </p:stCondLst>
                                        </p:cTn>
                                        <p:tgtEl>
                                          <p:spTgt spid="23"/>
                                        </p:tgtEl>
                                        <p:attrNameLst>
                                          <p:attrName>style.visibility</p:attrName>
                                        </p:attrNameLst>
                                      </p:cBhvr>
                                      <p:to>
                                        <p:strVal val="hidden"/>
                                      </p:to>
                                    </p:set>
                                  </p:childTnLst>
                                </p:cTn>
                              </p:par>
                            </p:childTnLst>
                          </p:cTn>
                        </p:par>
                      </p:childTnLst>
                    </p:cTn>
                  </p:par>
                  <p:par>
                    <p:cTn id="48" fill="hold">
                      <p:stCondLst>
                        <p:cond delay="indefinite"/>
                      </p:stCondLst>
                      <p:childTnLst>
                        <p:par>
                          <p:cTn id="49" fill="hold">
                            <p:stCondLst>
                              <p:cond delay="0"/>
                            </p:stCondLst>
                            <p:childTnLst>
                              <p:par>
                                <p:cTn id="50" presetID="10" presetClass="exit" presetSubtype="0" fill="hold" grpId="0" nodeType="clickEffect">
                                  <p:stCondLst>
                                    <p:cond delay="0"/>
                                  </p:stCondLst>
                                  <p:childTnLst>
                                    <p:animEffect transition="out" filter="fade">
                                      <p:cBhvr>
                                        <p:cTn id="51" dur="500"/>
                                        <p:tgtEl>
                                          <p:spTgt spid="19"/>
                                        </p:tgtEl>
                                      </p:cBhvr>
                                    </p:animEffect>
                                    <p:set>
                                      <p:cBhvr>
                                        <p:cTn id="52" dur="1" fill="hold">
                                          <p:stCondLst>
                                            <p:cond delay="499"/>
                                          </p:stCondLst>
                                        </p:cTn>
                                        <p:tgtEl>
                                          <p:spTgt spid="19"/>
                                        </p:tgtEl>
                                        <p:attrNameLst>
                                          <p:attrName>style.visibility</p:attrName>
                                        </p:attrNameLst>
                                      </p:cBhvr>
                                      <p:to>
                                        <p:strVal val="hidden"/>
                                      </p:to>
                                    </p:set>
                                  </p:childTnLst>
                                </p:cTn>
                              </p:par>
                            </p:childTnLst>
                          </p:cTn>
                        </p:par>
                      </p:childTnLst>
                    </p:cTn>
                  </p:par>
                  <p:par>
                    <p:cTn id="53" fill="hold">
                      <p:stCondLst>
                        <p:cond delay="indefinite"/>
                      </p:stCondLst>
                      <p:childTnLst>
                        <p:par>
                          <p:cTn id="54" fill="hold">
                            <p:stCondLst>
                              <p:cond delay="0"/>
                            </p:stCondLst>
                            <p:childTnLst>
                              <p:par>
                                <p:cTn id="55" presetID="10" presetClass="exit" presetSubtype="0" fill="hold" grpId="0" nodeType="clickEffect">
                                  <p:stCondLst>
                                    <p:cond delay="0"/>
                                  </p:stCondLst>
                                  <p:childTnLst>
                                    <p:animEffect transition="out" filter="fade">
                                      <p:cBhvr>
                                        <p:cTn id="56" dur="500"/>
                                        <p:tgtEl>
                                          <p:spTgt spid="18"/>
                                        </p:tgtEl>
                                      </p:cBhvr>
                                    </p:animEffect>
                                    <p:set>
                                      <p:cBhvr>
                                        <p:cTn id="57" dur="1" fill="hold">
                                          <p:stCondLst>
                                            <p:cond delay="499"/>
                                          </p:stCondLst>
                                        </p:cTn>
                                        <p:tgtEl>
                                          <p:spTgt spid="18"/>
                                        </p:tgtEl>
                                        <p:attrNameLst>
                                          <p:attrName>style.visibility</p:attrName>
                                        </p:attrNameLst>
                                      </p:cBhvr>
                                      <p:to>
                                        <p:strVal val="hidden"/>
                                      </p:to>
                                    </p:se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nodeType="clickEffect">
                                  <p:stCondLst>
                                    <p:cond delay="0"/>
                                  </p:stCondLst>
                                  <p:childTnLst>
                                    <p:set>
                                      <p:cBhvr>
                                        <p:cTn id="61" dur="1" fill="hold">
                                          <p:stCondLst>
                                            <p:cond delay="0"/>
                                          </p:stCondLst>
                                        </p:cTn>
                                        <p:tgtEl>
                                          <p:spTgt spid="31"/>
                                        </p:tgtEl>
                                        <p:attrNameLst>
                                          <p:attrName>style.visibility</p:attrName>
                                        </p:attrNameLst>
                                      </p:cBhvr>
                                      <p:to>
                                        <p:strVal val="visible"/>
                                      </p:to>
                                    </p:set>
                                    <p:animEffect transition="in" filter="fade">
                                      <p:cBhvr>
                                        <p:cTn id="62" dur="500"/>
                                        <p:tgtEl>
                                          <p:spTgt spid="31"/>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32"/>
                                        </p:tgtEl>
                                        <p:attrNameLst>
                                          <p:attrName>style.visibility</p:attrName>
                                        </p:attrNameLst>
                                      </p:cBhvr>
                                      <p:to>
                                        <p:strVal val="visible"/>
                                      </p:to>
                                    </p:set>
                                    <p:animEffect transition="in" filter="fade">
                                      <p:cBhvr>
                                        <p:cTn id="65" dur="500"/>
                                        <p:tgtEl>
                                          <p:spTgt spid="32"/>
                                        </p:tgtEl>
                                      </p:cBhvr>
                                    </p:animEffect>
                                  </p:childTnLst>
                                </p:cTn>
                              </p:par>
                            </p:childTnLst>
                          </p:cTn>
                        </p:par>
                        <p:par>
                          <p:cTn id="66" fill="hold">
                            <p:stCondLst>
                              <p:cond delay="500"/>
                            </p:stCondLst>
                            <p:childTnLst>
                              <p:par>
                                <p:cTn id="67" presetID="10" presetClass="exit" presetSubtype="0" fill="hold" nodeType="afterEffect">
                                  <p:stCondLst>
                                    <p:cond delay="0"/>
                                  </p:stCondLst>
                                  <p:childTnLst>
                                    <p:animEffect transition="out" filter="fade">
                                      <p:cBhvr>
                                        <p:cTn id="68" dur="500"/>
                                        <p:tgtEl>
                                          <p:spTgt spid="27"/>
                                        </p:tgtEl>
                                      </p:cBhvr>
                                    </p:animEffect>
                                    <p:set>
                                      <p:cBhvr>
                                        <p:cTn id="69" dur="1" fill="hold">
                                          <p:stCondLst>
                                            <p:cond delay="499"/>
                                          </p:stCondLst>
                                        </p:cTn>
                                        <p:tgtEl>
                                          <p:spTgt spid="27"/>
                                        </p:tgtEl>
                                        <p:attrNameLst>
                                          <p:attrName>style.visibility</p:attrName>
                                        </p:attrNameLst>
                                      </p:cBhvr>
                                      <p:to>
                                        <p:strVal val="hidden"/>
                                      </p:to>
                                    </p:set>
                                  </p:childTnLst>
                                </p:cTn>
                              </p:par>
                              <p:par>
                                <p:cTn id="70" presetID="10" presetClass="exit" presetSubtype="0" fill="hold" grpId="1" nodeType="withEffect">
                                  <p:stCondLst>
                                    <p:cond delay="0"/>
                                  </p:stCondLst>
                                  <p:childTnLst>
                                    <p:animEffect transition="out" filter="fade">
                                      <p:cBhvr>
                                        <p:cTn id="71" dur="500"/>
                                        <p:tgtEl>
                                          <p:spTgt spid="30"/>
                                        </p:tgtEl>
                                      </p:cBhvr>
                                    </p:animEffect>
                                    <p:set>
                                      <p:cBhvr>
                                        <p:cTn id="72" dur="1" fill="hold">
                                          <p:stCondLst>
                                            <p:cond delay="499"/>
                                          </p:stCondLst>
                                        </p:cTn>
                                        <p:tgtEl>
                                          <p:spTgt spid="30"/>
                                        </p:tgtEl>
                                        <p:attrNameLst>
                                          <p:attrName>style.visibility</p:attrName>
                                        </p:attrNameLst>
                                      </p:cBhvr>
                                      <p:to>
                                        <p:strVal val="hidden"/>
                                      </p:to>
                                    </p:set>
                                  </p:childTnLst>
                                </p:cTn>
                              </p:par>
                            </p:childTnLst>
                          </p:cTn>
                        </p:par>
                      </p:childTnLst>
                    </p:cTn>
                  </p:par>
                  <p:par>
                    <p:cTn id="73" fill="hold">
                      <p:stCondLst>
                        <p:cond delay="indefinite"/>
                      </p:stCondLst>
                      <p:childTnLst>
                        <p:par>
                          <p:cTn id="74" fill="hold">
                            <p:stCondLst>
                              <p:cond delay="0"/>
                            </p:stCondLst>
                            <p:childTnLst>
                              <p:par>
                                <p:cTn id="75" presetID="10" presetClass="entr" presetSubtype="0" fill="hold" nodeType="clickEffect">
                                  <p:stCondLst>
                                    <p:cond delay="0"/>
                                  </p:stCondLst>
                                  <p:childTnLst>
                                    <p:set>
                                      <p:cBhvr>
                                        <p:cTn id="76" dur="1" fill="hold">
                                          <p:stCondLst>
                                            <p:cond delay="0"/>
                                          </p:stCondLst>
                                        </p:cTn>
                                        <p:tgtEl>
                                          <p:spTgt spid="33"/>
                                        </p:tgtEl>
                                        <p:attrNameLst>
                                          <p:attrName>style.visibility</p:attrName>
                                        </p:attrNameLst>
                                      </p:cBhvr>
                                      <p:to>
                                        <p:strVal val="visible"/>
                                      </p:to>
                                    </p:set>
                                    <p:animEffect transition="in" filter="fade">
                                      <p:cBhvr>
                                        <p:cTn id="77" dur="500"/>
                                        <p:tgtEl>
                                          <p:spTgt spid="33"/>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34"/>
                                        </p:tgtEl>
                                        <p:attrNameLst>
                                          <p:attrName>style.visibility</p:attrName>
                                        </p:attrNameLst>
                                      </p:cBhvr>
                                      <p:to>
                                        <p:strVal val="visible"/>
                                      </p:to>
                                    </p:set>
                                    <p:animEffect transition="in" filter="fade">
                                      <p:cBhvr>
                                        <p:cTn id="80" dur="500"/>
                                        <p:tgtEl>
                                          <p:spTgt spid="34"/>
                                        </p:tgtEl>
                                      </p:cBhvr>
                                    </p:animEffect>
                                  </p:childTnLst>
                                </p:cTn>
                              </p:par>
                            </p:childTnLst>
                          </p:cTn>
                        </p:par>
                        <p:par>
                          <p:cTn id="81" fill="hold">
                            <p:stCondLst>
                              <p:cond delay="500"/>
                            </p:stCondLst>
                            <p:childTnLst>
                              <p:par>
                                <p:cTn id="82" presetID="10" presetClass="exit" presetSubtype="0" fill="hold" nodeType="afterEffect">
                                  <p:stCondLst>
                                    <p:cond delay="0"/>
                                  </p:stCondLst>
                                  <p:childTnLst>
                                    <p:animEffect transition="out" filter="fade">
                                      <p:cBhvr>
                                        <p:cTn id="83" dur="500"/>
                                        <p:tgtEl>
                                          <p:spTgt spid="31"/>
                                        </p:tgtEl>
                                      </p:cBhvr>
                                    </p:animEffect>
                                    <p:set>
                                      <p:cBhvr>
                                        <p:cTn id="84" dur="1" fill="hold">
                                          <p:stCondLst>
                                            <p:cond delay="499"/>
                                          </p:stCondLst>
                                        </p:cTn>
                                        <p:tgtEl>
                                          <p:spTgt spid="31"/>
                                        </p:tgtEl>
                                        <p:attrNameLst>
                                          <p:attrName>style.visibility</p:attrName>
                                        </p:attrNameLst>
                                      </p:cBhvr>
                                      <p:to>
                                        <p:strVal val="hidden"/>
                                      </p:to>
                                    </p:set>
                                  </p:childTnLst>
                                </p:cTn>
                              </p:par>
                            </p:childTnLst>
                          </p:cTn>
                        </p:par>
                        <p:par>
                          <p:cTn id="85" fill="hold">
                            <p:stCondLst>
                              <p:cond delay="1000"/>
                            </p:stCondLst>
                            <p:childTnLst>
                              <p:par>
                                <p:cTn id="86" presetID="10" presetClass="exit" presetSubtype="0" fill="hold" grpId="1" nodeType="afterEffect">
                                  <p:stCondLst>
                                    <p:cond delay="0"/>
                                  </p:stCondLst>
                                  <p:childTnLst>
                                    <p:animEffect transition="out" filter="fade">
                                      <p:cBhvr>
                                        <p:cTn id="87" dur="500"/>
                                        <p:tgtEl>
                                          <p:spTgt spid="32"/>
                                        </p:tgtEl>
                                      </p:cBhvr>
                                    </p:animEffect>
                                    <p:set>
                                      <p:cBhvr>
                                        <p:cTn id="88" dur="1" fill="hold">
                                          <p:stCondLst>
                                            <p:cond delay="499"/>
                                          </p:stCondLst>
                                        </p:cTn>
                                        <p:tgtEl>
                                          <p:spTgt spid="32"/>
                                        </p:tgtEl>
                                        <p:attrNameLst>
                                          <p:attrName>style.visibility</p:attrName>
                                        </p:attrNameLst>
                                      </p:cBhvr>
                                      <p:to>
                                        <p:strVal val="hidden"/>
                                      </p:to>
                                    </p:set>
                                  </p:childTnLst>
                                </p:cTn>
                              </p:par>
                            </p:childTnLst>
                          </p:cTn>
                        </p:par>
                      </p:childTnLst>
                    </p:cTn>
                  </p:par>
                  <p:par>
                    <p:cTn id="89" fill="hold">
                      <p:stCondLst>
                        <p:cond delay="indefinite"/>
                      </p:stCondLst>
                      <p:childTnLst>
                        <p:par>
                          <p:cTn id="90" fill="hold">
                            <p:stCondLst>
                              <p:cond delay="0"/>
                            </p:stCondLst>
                            <p:childTnLst>
                              <p:par>
                                <p:cTn id="91" presetID="10" presetClass="exit" presetSubtype="0" fill="hold" nodeType="clickEffect">
                                  <p:stCondLst>
                                    <p:cond delay="0"/>
                                  </p:stCondLst>
                                  <p:childTnLst>
                                    <p:animEffect transition="out" filter="fade">
                                      <p:cBhvr>
                                        <p:cTn id="92" dur="500"/>
                                        <p:tgtEl>
                                          <p:spTgt spid="33"/>
                                        </p:tgtEl>
                                      </p:cBhvr>
                                    </p:animEffect>
                                    <p:set>
                                      <p:cBhvr>
                                        <p:cTn id="93" dur="1" fill="hold">
                                          <p:stCondLst>
                                            <p:cond delay="499"/>
                                          </p:stCondLst>
                                        </p:cTn>
                                        <p:tgtEl>
                                          <p:spTgt spid="33"/>
                                        </p:tgtEl>
                                        <p:attrNameLst>
                                          <p:attrName>style.visibility</p:attrName>
                                        </p:attrNameLst>
                                      </p:cBhvr>
                                      <p:to>
                                        <p:strVal val="hidden"/>
                                      </p:to>
                                    </p:set>
                                  </p:childTnLst>
                                </p:cTn>
                              </p:par>
                              <p:par>
                                <p:cTn id="94" presetID="10" presetClass="exit" presetSubtype="0" fill="hold" grpId="1" nodeType="withEffect">
                                  <p:stCondLst>
                                    <p:cond delay="0"/>
                                  </p:stCondLst>
                                  <p:childTnLst>
                                    <p:animEffect transition="out" filter="fade">
                                      <p:cBhvr>
                                        <p:cTn id="95" dur="500"/>
                                        <p:tgtEl>
                                          <p:spTgt spid="34"/>
                                        </p:tgtEl>
                                      </p:cBhvr>
                                    </p:animEffect>
                                    <p:set>
                                      <p:cBhvr>
                                        <p:cTn id="96" dur="1" fill="hold">
                                          <p:stCondLst>
                                            <p:cond delay="499"/>
                                          </p:stCondLst>
                                        </p:cTn>
                                        <p:tgtEl>
                                          <p:spTgt spid="34"/>
                                        </p:tgtEl>
                                        <p:attrNameLst>
                                          <p:attrName>style.visibility</p:attrName>
                                        </p:attrNameLst>
                                      </p:cBhvr>
                                      <p:to>
                                        <p:strVal val="hidden"/>
                                      </p:to>
                                    </p:se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nodeType="clickEffect">
                                  <p:stCondLst>
                                    <p:cond delay="0"/>
                                  </p:stCondLst>
                                  <p:childTnLst>
                                    <p:set>
                                      <p:cBhvr>
                                        <p:cTn id="100" dur="1" fill="hold">
                                          <p:stCondLst>
                                            <p:cond delay="0"/>
                                          </p:stCondLst>
                                        </p:cTn>
                                        <p:tgtEl>
                                          <p:spTgt spid="35"/>
                                        </p:tgtEl>
                                        <p:attrNameLst>
                                          <p:attrName>style.visibility</p:attrName>
                                        </p:attrNameLst>
                                      </p:cBhvr>
                                      <p:to>
                                        <p:strVal val="visible"/>
                                      </p:to>
                                    </p:set>
                                    <p:animEffect transition="in" filter="fade">
                                      <p:cBhvr>
                                        <p:cTn id="101" dur="500"/>
                                        <p:tgtEl>
                                          <p:spTgt spid="35"/>
                                        </p:tgtEl>
                                      </p:cBhvr>
                                    </p:animEffect>
                                  </p:childTnLst>
                                </p:cTn>
                              </p:par>
                              <p:par>
                                <p:cTn id="102" presetID="10" presetClass="entr" presetSubtype="0" fill="hold" grpId="0" nodeType="withEffect">
                                  <p:stCondLst>
                                    <p:cond delay="0"/>
                                  </p:stCondLst>
                                  <p:childTnLst>
                                    <p:set>
                                      <p:cBhvr>
                                        <p:cTn id="103" dur="1" fill="hold">
                                          <p:stCondLst>
                                            <p:cond delay="0"/>
                                          </p:stCondLst>
                                        </p:cTn>
                                        <p:tgtEl>
                                          <p:spTgt spid="36"/>
                                        </p:tgtEl>
                                        <p:attrNameLst>
                                          <p:attrName>style.visibility</p:attrName>
                                        </p:attrNameLst>
                                      </p:cBhvr>
                                      <p:to>
                                        <p:strVal val="visible"/>
                                      </p:to>
                                    </p:set>
                                    <p:animEffect transition="in" filter="fade">
                                      <p:cBhvr>
                                        <p:cTn id="104" dur="500"/>
                                        <p:tgtEl>
                                          <p:spTgt spid="36"/>
                                        </p:tgtEl>
                                      </p:cBhvr>
                                    </p:animEffect>
                                  </p:childTnLst>
                                </p:cTn>
                              </p:par>
                            </p:childTnLst>
                          </p:cTn>
                        </p:par>
                        <p:par>
                          <p:cTn id="105" fill="hold">
                            <p:stCondLst>
                              <p:cond delay="500"/>
                            </p:stCondLst>
                            <p:childTnLst>
                              <p:par>
                                <p:cTn id="106" presetID="10" presetClass="exit" presetSubtype="0" fill="hold" nodeType="afterEffect">
                                  <p:stCondLst>
                                    <p:cond delay="0"/>
                                  </p:stCondLst>
                                  <p:childTnLst>
                                    <p:animEffect transition="out" filter="fade">
                                      <p:cBhvr>
                                        <p:cTn id="107" dur="500"/>
                                        <p:tgtEl>
                                          <p:spTgt spid="26"/>
                                        </p:tgtEl>
                                      </p:cBhvr>
                                    </p:animEffect>
                                    <p:set>
                                      <p:cBhvr>
                                        <p:cTn id="108" dur="1" fill="hold">
                                          <p:stCondLst>
                                            <p:cond delay="499"/>
                                          </p:stCondLst>
                                        </p:cTn>
                                        <p:tgtEl>
                                          <p:spTgt spid="26"/>
                                        </p:tgtEl>
                                        <p:attrNameLst>
                                          <p:attrName>style.visibility</p:attrName>
                                        </p:attrNameLst>
                                      </p:cBhvr>
                                      <p:to>
                                        <p:strVal val="hidden"/>
                                      </p:to>
                                    </p:set>
                                  </p:childTnLst>
                                </p:cTn>
                              </p:par>
                            </p:childTnLst>
                          </p:cTn>
                        </p:par>
                        <p:par>
                          <p:cTn id="109" fill="hold">
                            <p:stCondLst>
                              <p:cond delay="1000"/>
                            </p:stCondLst>
                            <p:childTnLst>
                              <p:par>
                                <p:cTn id="110" presetID="10" presetClass="exit" presetSubtype="0" fill="hold" grpId="1" nodeType="afterEffect">
                                  <p:stCondLst>
                                    <p:cond delay="0"/>
                                  </p:stCondLst>
                                  <p:childTnLst>
                                    <p:animEffect transition="out" filter="fade">
                                      <p:cBhvr>
                                        <p:cTn id="111" dur="500"/>
                                        <p:tgtEl>
                                          <p:spTgt spid="24"/>
                                        </p:tgtEl>
                                      </p:cBhvr>
                                    </p:animEffect>
                                    <p:set>
                                      <p:cBhvr>
                                        <p:cTn id="112" dur="1" fill="hold">
                                          <p:stCondLst>
                                            <p:cond delay="499"/>
                                          </p:stCondLst>
                                        </p:cTn>
                                        <p:tgtEl>
                                          <p:spTgt spid="24"/>
                                        </p:tgtEl>
                                        <p:attrNameLst>
                                          <p:attrName>style.visibility</p:attrName>
                                        </p:attrNameLst>
                                      </p:cBhvr>
                                      <p:to>
                                        <p:strVal val="hidden"/>
                                      </p:to>
                                    </p:set>
                                  </p:childTnLst>
                                </p:cTn>
                              </p:par>
                            </p:childTnLst>
                          </p:cTn>
                        </p:par>
                      </p:childTnLst>
                    </p:cTn>
                  </p:par>
                  <p:par>
                    <p:cTn id="113" fill="hold">
                      <p:stCondLst>
                        <p:cond delay="indefinite"/>
                      </p:stCondLst>
                      <p:childTnLst>
                        <p:par>
                          <p:cTn id="114" fill="hold">
                            <p:stCondLst>
                              <p:cond delay="0"/>
                            </p:stCondLst>
                            <p:childTnLst>
                              <p:par>
                                <p:cTn id="115" presetID="10" presetClass="entr" presetSubtype="0" fill="hold" nodeType="clickEffect">
                                  <p:stCondLst>
                                    <p:cond delay="0"/>
                                  </p:stCondLst>
                                  <p:childTnLst>
                                    <p:set>
                                      <p:cBhvr>
                                        <p:cTn id="116" dur="1" fill="hold">
                                          <p:stCondLst>
                                            <p:cond delay="0"/>
                                          </p:stCondLst>
                                        </p:cTn>
                                        <p:tgtEl>
                                          <p:spTgt spid="41"/>
                                        </p:tgtEl>
                                        <p:attrNameLst>
                                          <p:attrName>style.visibility</p:attrName>
                                        </p:attrNameLst>
                                      </p:cBhvr>
                                      <p:to>
                                        <p:strVal val="visible"/>
                                      </p:to>
                                    </p:set>
                                    <p:animEffect transition="in" filter="fade">
                                      <p:cBhvr>
                                        <p:cTn id="117" dur="500"/>
                                        <p:tgtEl>
                                          <p:spTgt spid="41"/>
                                        </p:tgtEl>
                                      </p:cBhvr>
                                    </p:animEffect>
                                  </p:childTnLst>
                                </p:cTn>
                              </p:par>
                              <p:par>
                                <p:cTn id="118" presetID="10" presetClass="entr" presetSubtype="0" fill="hold" grpId="0" nodeType="withEffect">
                                  <p:stCondLst>
                                    <p:cond delay="0"/>
                                  </p:stCondLst>
                                  <p:childTnLst>
                                    <p:set>
                                      <p:cBhvr>
                                        <p:cTn id="119" dur="1" fill="hold">
                                          <p:stCondLst>
                                            <p:cond delay="0"/>
                                          </p:stCondLst>
                                        </p:cTn>
                                        <p:tgtEl>
                                          <p:spTgt spid="42"/>
                                        </p:tgtEl>
                                        <p:attrNameLst>
                                          <p:attrName>style.visibility</p:attrName>
                                        </p:attrNameLst>
                                      </p:cBhvr>
                                      <p:to>
                                        <p:strVal val="visible"/>
                                      </p:to>
                                    </p:set>
                                    <p:animEffect transition="in" filter="fade">
                                      <p:cBhvr>
                                        <p:cTn id="120" dur="500"/>
                                        <p:tgtEl>
                                          <p:spTgt spid="42"/>
                                        </p:tgtEl>
                                      </p:cBhvr>
                                    </p:animEffect>
                                  </p:childTnLst>
                                </p:cTn>
                              </p:par>
                              <p:par>
                                <p:cTn id="121" presetID="10" presetClass="exit" presetSubtype="0" fill="hold" nodeType="withEffect">
                                  <p:stCondLst>
                                    <p:cond delay="0"/>
                                  </p:stCondLst>
                                  <p:childTnLst>
                                    <p:animEffect transition="out" filter="fade">
                                      <p:cBhvr>
                                        <p:cTn id="122" dur="500"/>
                                        <p:tgtEl>
                                          <p:spTgt spid="35"/>
                                        </p:tgtEl>
                                      </p:cBhvr>
                                    </p:animEffect>
                                    <p:set>
                                      <p:cBhvr>
                                        <p:cTn id="123" dur="1" fill="hold">
                                          <p:stCondLst>
                                            <p:cond delay="499"/>
                                          </p:stCondLst>
                                        </p:cTn>
                                        <p:tgtEl>
                                          <p:spTgt spid="35"/>
                                        </p:tgtEl>
                                        <p:attrNameLst>
                                          <p:attrName>style.visibility</p:attrName>
                                        </p:attrNameLst>
                                      </p:cBhvr>
                                      <p:to>
                                        <p:strVal val="hidden"/>
                                      </p:to>
                                    </p:set>
                                  </p:childTnLst>
                                </p:cTn>
                              </p:par>
                              <p:par>
                                <p:cTn id="124" presetID="10" presetClass="exit" presetSubtype="0" fill="hold" grpId="1" nodeType="withEffect">
                                  <p:stCondLst>
                                    <p:cond delay="0"/>
                                  </p:stCondLst>
                                  <p:childTnLst>
                                    <p:animEffect transition="out" filter="fade">
                                      <p:cBhvr>
                                        <p:cTn id="125" dur="500"/>
                                        <p:tgtEl>
                                          <p:spTgt spid="36"/>
                                        </p:tgtEl>
                                      </p:cBhvr>
                                    </p:animEffect>
                                    <p:set>
                                      <p:cBhvr>
                                        <p:cTn id="126" dur="1" fill="hold">
                                          <p:stCondLst>
                                            <p:cond delay="499"/>
                                          </p:stCondLst>
                                        </p:cTn>
                                        <p:tgtEl>
                                          <p:spTgt spid="3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animBg="1"/>
      <p:bldP spid="20" grpId="0" animBg="1"/>
      <p:bldP spid="23" grpId="0"/>
      <p:bldP spid="23" grpId="1"/>
      <p:bldP spid="24" grpId="0"/>
      <p:bldP spid="24" grpId="1"/>
      <p:bldP spid="30" grpId="0"/>
      <p:bldP spid="30" grpId="1"/>
      <p:bldP spid="32" grpId="0"/>
      <p:bldP spid="32" grpId="1"/>
      <p:bldP spid="34" grpId="0"/>
      <p:bldP spid="34" grpId="1"/>
      <p:bldP spid="36" grpId="0"/>
      <p:bldP spid="36" grpId="1"/>
      <p:bldP spid="42" grpId="0"/>
      <p:bldP spid="2"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6EF38F-62C1-4FFC-AAAD-11E1A7C3F2AD}"/>
              </a:ext>
            </a:extLst>
          </p:cNvPr>
          <p:cNvSpPr>
            <a:spLocks noGrp="1"/>
          </p:cNvSpPr>
          <p:nvPr>
            <p:ph type="title"/>
          </p:nvPr>
        </p:nvSpPr>
        <p:spPr>
          <a:xfrm>
            <a:off x="889481" y="1121664"/>
            <a:ext cx="10515600" cy="1325563"/>
          </a:xfrm>
        </p:spPr>
        <p:txBody>
          <a:bodyPr>
            <a:normAutofit fontScale="90000"/>
          </a:bodyPr>
          <a:lstStyle/>
          <a:p>
            <a:pPr algn="ctr"/>
            <a:r>
              <a:rPr lang="sv-SE" sz="6000" b="1" dirty="0"/>
              <a:t>Lab #1 </a:t>
            </a:r>
            <a:br>
              <a:rPr lang="sv-SE" b="1" dirty="0"/>
            </a:br>
            <a:r>
              <a:rPr lang="sv-SE" b="1" dirty="0" err="1"/>
              <a:t>Integrate</a:t>
            </a:r>
            <a:r>
              <a:rPr lang="sv-SE" b="1" dirty="0"/>
              <a:t> Cisco </a:t>
            </a:r>
            <a:r>
              <a:rPr lang="sv-SE" b="1" dirty="0" err="1"/>
              <a:t>Jasper</a:t>
            </a:r>
            <a:endParaRPr lang="en-US" dirty="0"/>
          </a:p>
        </p:txBody>
      </p:sp>
      <p:sp>
        <p:nvSpPr>
          <p:cNvPr id="3" name="TextBox 2">
            <a:extLst>
              <a:ext uri="{FF2B5EF4-FFF2-40B4-BE49-F238E27FC236}">
                <a16:creationId xmlns:a16="http://schemas.microsoft.com/office/drawing/2014/main" id="{0CD3AF97-FD99-4736-82E5-AE98C04FF88D}"/>
              </a:ext>
            </a:extLst>
          </p:cNvPr>
          <p:cNvSpPr txBox="1"/>
          <p:nvPr/>
        </p:nvSpPr>
        <p:spPr>
          <a:xfrm>
            <a:off x="838200" y="3087624"/>
            <a:ext cx="10618163" cy="3416320"/>
          </a:xfrm>
          <a:prstGeom prst="rect">
            <a:avLst/>
          </a:prstGeom>
          <a:noFill/>
        </p:spPr>
        <p:txBody>
          <a:bodyPr wrap="none" rtlCol="0">
            <a:spAutoFit/>
          </a:bodyPr>
          <a:lstStyle/>
          <a:p>
            <a:r>
              <a:rPr lang="en-US" sz="3600" dirty="0"/>
              <a:t>Instance: </a:t>
            </a:r>
            <a:r>
              <a:rPr lang="en-US" sz="3600" dirty="0">
                <a:hlinkClick r:id="rId2"/>
              </a:rPr>
              <a:t>https://restapi3.jasper.com/rws/api/v1</a:t>
            </a:r>
            <a:endParaRPr lang="en-US" sz="3600" dirty="0"/>
          </a:p>
          <a:p>
            <a:r>
              <a:rPr lang="en-US" sz="3600" dirty="0"/>
              <a:t>User name: TUTORIALAPI</a:t>
            </a:r>
          </a:p>
          <a:p>
            <a:r>
              <a:rPr lang="en-US" sz="3600" dirty="0"/>
              <a:t>REST API key: 52098541-a1ed-4a33-84a2-13fbbf5723e2</a:t>
            </a:r>
          </a:p>
          <a:p>
            <a:r>
              <a:rPr lang="en-US" sz="3600" dirty="0"/>
              <a:t>Shared secret: Ignore</a:t>
            </a:r>
          </a:p>
          <a:p>
            <a:endParaRPr lang="en-US" sz="3600" dirty="0"/>
          </a:p>
          <a:p>
            <a:r>
              <a:rPr lang="en-US" sz="3600" dirty="0"/>
              <a:t>Trainer email: aleyois.boix-chova@axians.com</a:t>
            </a:r>
          </a:p>
        </p:txBody>
      </p:sp>
    </p:spTree>
    <p:extLst>
      <p:ext uri="{BB962C8B-B14F-4D97-AF65-F5344CB8AC3E}">
        <p14:creationId xmlns:p14="http://schemas.microsoft.com/office/powerpoint/2010/main" val="26221572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08D574-BF0A-4EEB-B339-6EA85904C3B2}"/>
              </a:ext>
            </a:extLst>
          </p:cNvPr>
          <p:cNvSpPr>
            <a:spLocks noGrp="1"/>
          </p:cNvSpPr>
          <p:nvPr>
            <p:ph type="title"/>
          </p:nvPr>
        </p:nvSpPr>
        <p:spPr/>
        <p:txBody>
          <a:bodyPr/>
          <a:lstStyle/>
          <a:p>
            <a:r>
              <a:rPr lang="sv-SE" dirty="0"/>
              <a:t>Day 2</a:t>
            </a:r>
          </a:p>
        </p:txBody>
      </p:sp>
      <p:sp>
        <p:nvSpPr>
          <p:cNvPr id="3" name="Content Placeholder 2">
            <a:extLst>
              <a:ext uri="{FF2B5EF4-FFF2-40B4-BE49-F238E27FC236}">
                <a16:creationId xmlns:a16="http://schemas.microsoft.com/office/drawing/2014/main" id="{1D683399-EE7E-472A-AADC-EF679476DB11}"/>
              </a:ext>
            </a:extLst>
          </p:cNvPr>
          <p:cNvSpPr>
            <a:spLocks noGrp="1"/>
          </p:cNvSpPr>
          <p:nvPr>
            <p:ph idx="1"/>
          </p:nvPr>
        </p:nvSpPr>
        <p:spPr>
          <a:xfrm>
            <a:off x="838200" y="1325563"/>
            <a:ext cx="10515600" cy="4851400"/>
          </a:xfrm>
        </p:spPr>
        <p:txBody>
          <a:bodyPr>
            <a:normAutofit lnSpcReduction="10000"/>
          </a:bodyPr>
          <a:lstStyle/>
          <a:p>
            <a:r>
              <a:rPr lang="sv-SE" b="1" dirty="0"/>
              <a:t>Day 1 Recap</a:t>
            </a:r>
          </a:p>
          <a:p>
            <a:r>
              <a:rPr lang="sv-SE" dirty="0">
                <a:solidFill>
                  <a:schemeClr val="tx1">
                    <a:lumMod val="50000"/>
                  </a:schemeClr>
                </a:solidFill>
              </a:rPr>
              <a:t>Create IoT Hub and mSB Organization</a:t>
            </a:r>
          </a:p>
          <a:p>
            <a:r>
              <a:rPr lang="sv-SE" dirty="0">
                <a:solidFill>
                  <a:schemeClr val="tx1">
                    <a:lumMod val="50000"/>
                  </a:schemeClr>
                </a:solidFill>
              </a:rPr>
              <a:t>Integrate Cisco Jasper</a:t>
            </a:r>
          </a:p>
          <a:p>
            <a:r>
              <a:rPr lang="sv-SE" dirty="0">
                <a:solidFill>
                  <a:schemeClr val="tx1">
                    <a:lumMod val="50000"/>
                  </a:schemeClr>
                </a:solidFill>
              </a:rPr>
              <a:t>Provisioning new gateways</a:t>
            </a:r>
          </a:p>
          <a:p>
            <a:r>
              <a:rPr lang="sv-SE" dirty="0">
                <a:solidFill>
                  <a:schemeClr val="tx1">
                    <a:lumMod val="50000"/>
                  </a:schemeClr>
                </a:solidFill>
              </a:rPr>
              <a:t>IoT Message Exchange Patterns</a:t>
            </a:r>
          </a:p>
          <a:p>
            <a:r>
              <a:rPr lang="sv-SE" dirty="0">
                <a:solidFill>
                  <a:schemeClr val="tx1">
                    <a:lumMod val="50000"/>
                  </a:schemeClr>
                </a:solidFill>
              </a:rPr>
              <a:t>Common IoT protocols (skapa slides)</a:t>
            </a:r>
          </a:p>
          <a:p>
            <a:r>
              <a:rPr lang="sv-SE" dirty="0">
                <a:solidFill>
                  <a:schemeClr val="tx1">
                    <a:lumMod val="50000"/>
                  </a:schemeClr>
                </a:solidFill>
              </a:rPr>
              <a:t>Build a real world sensor to cloud solution </a:t>
            </a:r>
          </a:p>
          <a:p>
            <a:pPr lvl="1"/>
            <a:r>
              <a:rPr lang="sv-SE" dirty="0">
                <a:solidFill>
                  <a:schemeClr val="tx1">
                    <a:lumMod val="50000"/>
                  </a:schemeClr>
                </a:solidFill>
              </a:rPr>
              <a:t>Lab</a:t>
            </a:r>
          </a:p>
          <a:p>
            <a:pPr lvl="2"/>
            <a:r>
              <a:rPr lang="sv-SE" dirty="0">
                <a:solidFill>
                  <a:schemeClr val="tx1">
                    <a:lumMod val="50000"/>
                  </a:schemeClr>
                </a:solidFill>
              </a:rPr>
              <a:t>1. </a:t>
            </a:r>
            <a:r>
              <a:rPr lang="sv-SE" dirty="0" err="1">
                <a:solidFill>
                  <a:schemeClr val="tx1">
                    <a:lumMod val="50000"/>
                  </a:schemeClr>
                </a:solidFill>
              </a:rPr>
              <a:t>Receive</a:t>
            </a:r>
            <a:r>
              <a:rPr lang="sv-SE" dirty="0">
                <a:solidFill>
                  <a:schemeClr val="tx1">
                    <a:lumMod val="50000"/>
                  </a:schemeClr>
                </a:solidFill>
              </a:rPr>
              <a:t> </a:t>
            </a:r>
            <a:r>
              <a:rPr lang="sv-SE" dirty="0" err="1">
                <a:solidFill>
                  <a:schemeClr val="tx1">
                    <a:lumMod val="50000"/>
                  </a:schemeClr>
                </a:solidFill>
              </a:rPr>
              <a:t>whitelist</a:t>
            </a:r>
            <a:r>
              <a:rPr lang="sv-SE" dirty="0">
                <a:solidFill>
                  <a:schemeClr val="tx1">
                    <a:lumMod val="50000"/>
                  </a:schemeClr>
                </a:solidFill>
              </a:rPr>
              <a:t> </a:t>
            </a:r>
            <a:r>
              <a:rPr lang="sv-SE" dirty="0" err="1">
                <a:solidFill>
                  <a:schemeClr val="tx1">
                    <a:lumMod val="50000"/>
                  </a:schemeClr>
                </a:solidFill>
              </a:rPr>
              <a:t>through</a:t>
            </a:r>
            <a:r>
              <a:rPr lang="sv-SE" dirty="0">
                <a:solidFill>
                  <a:schemeClr val="tx1">
                    <a:lumMod val="50000"/>
                  </a:schemeClr>
                </a:solidFill>
              </a:rPr>
              <a:t> state</a:t>
            </a:r>
          </a:p>
          <a:p>
            <a:pPr lvl="2"/>
            <a:r>
              <a:rPr lang="sv-SE" dirty="0">
                <a:solidFill>
                  <a:schemeClr val="tx1">
                    <a:lumMod val="50000"/>
                  </a:schemeClr>
                </a:solidFill>
              </a:rPr>
              <a:t>2. Read telegrams from sensors and send to </a:t>
            </a:r>
            <a:r>
              <a:rPr lang="sv-SE" dirty="0" err="1">
                <a:solidFill>
                  <a:schemeClr val="tx1">
                    <a:lumMod val="50000"/>
                  </a:schemeClr>
                </a:solidFill>
              </a:rPr>
              <a:t>cloud</a:t>
            </a:r>
            <a:endParaRPr lang="sv-SE" dirty="0">
              <a:solidFill>
                <a:schemeClr val="tx1">
                  <a:lumMod val="50000"/>
                </a:schemeClr>
              </a:solidFill>
            </a:endParaRPr>
          </a:p>
          <a:p>
            <a:pPr lvl="2"/>
            <a:r>
              <a:rPr lang="sv-SE" dirty="0">
                <a:solidFill>
                  <a:schemeClr val="tx1">
                    <a:lumMod val="50000"/>
                  </a:schemeClr>
                </a:solidFill>
              </a:rPr>
              <a:t>3. </a:t>
            </a:r>
            <a:r>
              <a:rPr lang="sv-SE" dirty="0" err="1">
                <a:solidFill>
                  <a:schemeClr val="tx1">
                    <a:lumMod val="50000"/>
                  </a:schemeClr>
                </a:solidFill>
              </a:rPr>
              <a:t>Create</a:t>
            </a:r>
            <a:r>
              <a:rPr lang="sv-SE" dirty="0">
                <a:solidFill>
                  <a:schemeClr val="tx1">
                    <a:lumMod val="50000"/>
                  </a:schemeClr>
                </a:solidFill>
              </a:rPr>
              <a:t> Azure Event </a:t>
            </a:r>
            <a:r>
              <a:rPr lang="sv-SE" dirty="0" err="1">
                <a:solidFill>
                  <a:schemeClr val="tx1">
                    <a:lumMod val="50000"/>
                  </a:schemeClr>
                </a:solidFill>
              </a:rPr>
              <a:t>Hub</a:t>
            </a:r>
            <a:r>
              <a:rPr lang="sv-SE" dirty="0">
                <a:solidFill>
                  <a:schemeClr val="tx1">
                    <a:lumMod val="50000"/>
                  </a:schemeClr>
                </a:solidFill>
              </a:rPr>
              <a:t> and </a:t>
            </a:r>
            <a:r>
              <a:rPr lang="sv-SE" dirty="0" err="1">
                <a:solidFill>
                  <a:schemeClr val="tx1">
                    <a:lumMod val="50000"/>
                  </a:schemeClr>
                </a:solidFill>
              </a:rPr>
              <a:t>Time</a:t>
            </a:r>
            <a:r>
              <a:rPr lang="sv-SE" dirty="0">
                <a:solidFill>
                  <a:schemeClr val="tx1">
                    <a:lumMod val="50000"/>
                  </a:schemeClr>
                </a:solidFill>
              </a:rPr>
              <a:t> Series </a:t>
            </a:r>
            <a:r>
              <a:rPr lang="sv-SE" dirty="0" err="1">
                <a:solidFill>
                  <a:schemeClr val="tx1">
                    <a:lumMod val="50000"/>
                  </a:schemeClr>
                </a:solidFill>
              </a:rPr>
              <a:t>Insight</a:t>
            </a:r>
            <a:endParaRPr lang="sv-SE" dirty="0">
              <a:solidFill>
                <a:schemeClr val="tx1">
                  <a:lumMod val="50000"/>
                </a:schemeClr>
              </a:solidFill>
            </a:endParaRPr>
          </a:p>
        </p:txBody>
      </p:sp>
    </p:spTree>
    <p:extLst>
      <p:ext uri="{BB962C8B-B14F-4D97-AF65-F5344CB8AC3E}">
        <p14:creationId xmlns:p14="http://schemas.microsoft.com/office/powerpoint/2010/main" val="45756889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08D574-BF0A-4EEB-B339-6EA85904C3B2}"/>
              </a:ext>
            </a:extLst>
          </p:cNvPr>
          <p:cNvSpPr>
            <a:spLocks noGrp="1"/>
          </p:cNvSpPr>
          <p:nvPr>
            <p:ph type="title"/>
          </p:nvPr>
        </p:nvSpPr>
        <p:spPr/>
        <p:txBody>
          <a:bodyPr/>
          <a:lstStyle/>
          <a:p>
            <a:r>
              <a:rPr lang="sv-SE" dirty="0"/>
              <a:t>Day 2</a:t>
            </a:r>
          </a:p>
        </p:txBody>
      </p:sp>
      <p:sp>
        <p:nvSpPr>
          <p:cNvPr id="3" name="Content Placeholder 2">
            <a:extLst>
              <a:ext uri="{FF2B5EF4-FFF2-40B4-BE49-F238E27FC236}">
                <a16:creationId xmlns:a16="http://schemas.microsoft.com/office/drawing/2014/main" id="{1D683399-EE7E-472A-AADC-EF679476DB11}"/>
              </a:ext>
            </a:extLst>
          </p:cNvPr>
          <p:cNvSpPr>
            <a:spLocks noGrp="1"/>
          </p:cNvSpPr>
          <p:nvPr>
            <p:ph idx="1"/>
          </p:nvPr>
        </p:nvSpPr>
        <p:spPr>
          <a:xfrm>
            <a:off x="838200" y="1325563"/>
            <a:ext cx="10515600" cy="4851400"/>
          </a:xfrm>
        </p:spPr>
        <p:txBody>
          <a:bodyPr>
            <a:normAutofit lnSpcReduction="10000"/>
          </a:bodyPr>
          <a:lstStyle/>
          <a:p>
            <a:r>
              <a:rPr lang="sv-SE" dirty="0"/>
              <a:t>Day 1 Recap</a:t>
            </a:r>
          </a:p>
          <a:p>
            <a:r>
              <a:rPr lang="sv-SE" dirty="0"/>
              <a:t>Create IoT Hub and mSB Organization</a:t>
            </a:r>
          </a:p>
          <a:p>
            <a:r>
              <a:rPr lang="sv-SE" dirty="0"/>
              <a:t>Integrate Cisco Jasper</a:t>
            </a:r>
          </a:p>
          <a:p>
            <a:r>
              <a:rPr lang="sv-SE" b="1" dirty="0"/>
              <a:t>Provisioning new gateways</a:t>
            </a:r>
          </a:p>
          <a:p>
            <a:r>
              <a:rPr lang="sv-SE" dirty="0">
                <a:solidFill>
                  <a:schemeClr val="tx1">
                    <a:lumMod val="50000"/>
                  </a:schemeClr>
                </a:solidFill>
              </a:rPr>
              <a:t>IoT Message Exchange Patterns</a:t>
            </a:r>
          </a:p>
          <a:p>
            <a:r>
              <a:rPr lang="sv-SE" dirty="0">
                <a:solidFill>
                  <a:schemeClr val="tx1">
                    <a:lumMod val="50000"/>
                  </a:schemeClr>
                </a:solidFill>
              </a:rPr>
              <a:t>Common IoT </a:t>
            </a:r>
            <a:r>
              <a:rPr lang="sv-SE" dirty="0" err="1">
                <a:solidFill>
                  <a:schemeClr val="tx1">
                    <a:lumMod val="50000"/>
                  </a:schemeClr>
                </a:solidFill>
              </a:rPr>
              <a:t>protocols</a:t>
            </a:r>
            <a:endParaRPr lang="sv-SE" dirty="0">
              <a:solidFill>
                <a:schemeClr val="tx1">
                  <a:lumMod val="50000"/>
                </a:schemeClr>
              </a:solidFill>
            </a:endParaRPr>
          </a:p>
          <a:p>
            <a:r>
              <a:rPr lang="sv-SE" dirty="0">
                <a:solidFill>
                  <a:schemeClr val="tx1">
                    <a:lumMod val="50000"/>
                  </a:schemeClr>
                </a:solidFill>
              </a:rPr>
              <a:t>Build a real world sensor to cloud solution </a:t>
            </a:r>
          </a:p>
          <a:p>
            <a:pPr lvl="1"/>
            <a:r>
              <a:rPr lang="sv-SE" dirty="0">
                <a:solidFill>
                  <a:schemeClr val="tx1">
                    <a:lumMod val="50000"/>
                  </a:schemeClr>
                </a:solidFill>
              </a:rPr>
              <a:t>Lab</a:t>
            </a:r>
          </a:p>
          <a:p>
            <a:pPr lvl="2"/>
            <a:r>
              <a:rPr lang="sv-SE" dirty="0">
                <a:solidFill>
                  <a:schemeClr val="tx1">
                    <a:lumMod val="50000"/>
                  </a:schemeClr>
                </a:solidFill>
              </a:rPr>
              <a:t>1. </a:t>
            </a:r>
            <a:r>
              <a:rPr lang="sv-SE" dirty="0" err="1">
                <a:solidFill>
                  <a:schemeClr val="tx1">
                    <a:lumMod val="50000"/>
                  </a:schemeClr>
                </a:solidFill>
              </a:rPr>
              <a:t>Receive</a:t>
            </a:r>
            <a:r>
              <a:rPr lang="sv-SE" dirty="0">
                <a:solidFill>
                  <a:schemeClr val="tx1">
                    <a:lumMod val="50000"/>
                  </a:schemeClr>
                </a:solidFill>
              </a:rPr>
              <a:t> </a:t>
            </a:r>
            <a:r>
              <a:rPr lang="sv-SE" dirty="0" err="1">
                <a:solidFill>
                  <a:schemeClr val="tx1">
                    <a:lumMod val="50000"/>
                  </a:schemeClr>
                </a:solidFill>
              </a:rPr>
              <a:t>whitelist</a:t>
            </a:r>
            <a:r>
              <a:rPr lang="sv-SE" dirty="0">
                <a:solidFill>
                  <a:schemeClr val="tx1">
                    <a:lumMod val="50000"/>
                  </a:schemeClr>
                </a:solidFill>
              </a:rPr>
              <a:t> </a:t>
            </a:r>
            <a:r>
              <a:rPr lang="sv-SE" dirty="0" err="1">
                <a:solidFill>
                  <a:schemeClr val="tx1">
                    <a:lumMod val="50000"/>
                  </a:schemeClr>
                </a:solidFill>
              </a:rPr>
              <a:t>through</a:t>
            </a:r>
            <a:r>
              <a:rPr lang="sv-SE" dirty="0">
                <a:solidFill>
                  <a:schemeClr val="tx1">
                    <a:lumMod val="50000"/>
                  </a:schemeClr>
                </a:solidFill>
              </a:rPr>
              <a:t> state</a:t>
            </a:r>
          </a:p>
          <a:p>
            <a:pPr lvl="2"/>
            <a:r>
              <a:rPr lang="sv-SE" dirty="0">
                <a:solidFill>
                  <a:schemeClr val="tx1">
                    <a:lumMod val="50000"/>
                  </a:schemeClr>
                </a:solidFill>
              </a:rPr>
              <a:t>2. Read telegrams from sensors and send to </a:t>
            </a:r>
            <a:r>
              <a:rPr lang="sv-SE" dirty="0" err="1">
                <a:solidFill>
                  <a:schemeClr val="tx1">
                    <a:lumMod val="50000"/>
                  </a:schemeClr>
                </a:solidFill>
              </a:rPr>
              <a:t>cloud</a:t>
            </a:r>
            <a:endParaRPr lang="sv-SE" dirty="0">
              <a:solidFill>
                <a:schemeClr val="tx1">
                  <a:lumMod val="50000"/>
                </a:schemeClr>
              </a:solidFill>
            </a:endParaRPr>
          </a:p>
          <a:p>
            <a:pPr lvl="2"/>
            <a:r>
              <a:rPr lang="sv-SE" dirty="0">
                <a:solidFill>
                  <a:schemeClr val="tx1">
                    <a:lumMod val="50000"/>
                  </a:schemeClr>
                </a:solidFill>
              </a:rPr>
              <a:t>3. </a:t>
            </a:r>
            <a:r>
              <a:rPr lang="sv-SE" dirty="0" err="1">
                <a:solidFill>
                  <a:schemeClr val="tx1">
                    <a:lumMod val="50000"/>
                  </a:schemeClr>
                </a:solidFill>
              </a:rPr>
              <a:t>Create</a:t>
            </a:r>
            <a:r>
              <a:rPr lang="sv-SE" dirty="0">
                <a:solidFill>
                  <a:schemeClr val="tx1">
                    <a:lumMod val="50000"/>
                  </a:schemeClr>
                </a:solidFill>
              </a:rPr>
              <a:t> Azure Event </a:t>
            </a:r>
            <a:r>
              <a:rPr lang="sv-SE" dirty="0" err="1">
                <a:solidFill>
                  <a:schemeClr val="tx1">
                    <a:lumMod val="50000"/>
                  </a:schemeClr>
                </a:solidFill>
              </a:rPr>
              <a:t>Hub</a:t>
            </a:r>
            <a:r>
              <a:rPr lang="sv-SE" dirty="0">
                <a:solidFill>
                  <a:schemeClr val="tx1">
                    <a:lumMod val="50000"/>
                  </a:schemeClr>
                </a:solidFill>
              </a:rPr>
              <a:t> and </a:t>
            </a:r>
            <a:r>
              <a:rPr lang="sv-SE" dirty="0" err="1">
                <a:solidFill>
                  <a:schemeClr val="tx1">
                    <a:lumMod val="50000"/>
                  </a:schemeClr>
                </a:solidFill>
              </a:rPr>
              <a:t>Time</a:t>
            </a:r>
            <a:r>
              <a:rPr lang="sv-SE" dirty="0">
                <a:solidFill>
                  <a:schemeClr val="tx1">
                    <a:lumMod val="50000"/>
                  </a:schemeClr>
                </a:solidFill>
              </a:rPr>
              <a:t> Series </a:t>
            </a:r>
            <a:r>
              <a:rPr lang="sv-SE" dirty="0" err="1">
                <a:solidFill>
                  <a:schemeClr val="tx1">
                    <a:lumMod val="50000"/>
                  </a:schemeClr>
                </a:solidFill>
              </a:rPr>
              <a:t>Insight</a:t>
            </a:r>
            <a:endParaRPr lang="sv-SE" dirty="0">
              <a:solidFill>
                <a:schemeClr val="tx1">
                  <a:lumMod val="50000"/>
                </a:schemeClr>
              </a:solidFill>
            </a:endParaRPr>
          </a:p>
        </p:txBody>
      </p:sp>
    </p:spTree>
    <p:extLst>
      <p:ext uri="{BB962C8B-B14F-4D97-AF65-F5344CB8AC3E}">
        <p14:creationId xmlns:p14="http://schemas.microsoft.com/office/powerpoint/2010/main" val="394709933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6EF38F-62C1-4FFC-AAAD-11E1A7C3F2AD}"/>
              </a:ext>
            </a:extLst>
          </p:cNvPr>
          <p:cNvSpPr>
            <a:spLocks noGrp="1"/>
          </p:cNvSpPr>
          <p:nvPr>
            <p:ph type="title"/>
          </p:nvPr>
        </p:nvSpPr>
        <p:spPr>
          <a:xfrm>
            <a:off x="838200" y="1487424"/>
            <a:ext cx="10515600" cy="1325563"/>
          </a:xfrm>
        </p:spPr>
        <p:txBody>
          <a:bodyPr>
            <a:normAutofit fontScale="90000"/>
          </a:bodyPr>
          <a:lstStyle/>
          <a:p>
            <a:pPr algn="ctr"/>
            <a:r>
              <a:rPr lang="sv-SE" sz="6000" b="1" dirty="0"/>
              <a:t>Lab #1 </a:t>
            </a:r>
            <a:br>
              <a:rPr lang="sv-SE" b="1" dirty="0"/>
            </a:br>
            <a:r>
              <a:rPr lang="sv-SE" b="1" dirty="0" err="1"/>
              <a:t>Provisioning</a:t>
            </a:r>
            <a:r>
              <a:rPr lang="sv-SE" b="1" dirty="0"/>
              <a:t> new gateways</a:t>
            </a:r>
            <a:endParaRPr lang="en-US" dirty="0"/>
          </a:p>
        </p:txBody>
      </p:sp>
    </p:spTree>
    <p:extLst>
      <p:ext uri="{BB962C8B-B14F-4D97-AF65-F5344CB8AC3E}">
        <p14:creationId xmlns:p14="http://schemas.microsoft.com/office/powerpoint/2010/main" val="341739806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08D574-BF0A-4EEB-B339-6EA85904C3B2}"/>
              </a:ext>
            </a:extLst>
          </p:cNvPr>
          <p:cNvSpPr>
            <a:spLocks noGrp="1"/>
          </p:cNvSpPr>
          <p:nvPr>
            <p:ph type="title"/>
          </p:nvPr>
        </p:nvSpPr>
        <p:spPr/>
        <p:txBody>
          <a:bodyPr/>
          <a:lstStyle/>
          <a:p>
            <a:r>
              <a:rPr lang="sv-SE" dirty="0"/>
              <a:t>Day 2</a:t>
            </a:r>
          </a:p>
        </p:txBody>
      </p:sp>
      <p:sp>
        <p:nvSpPr>
          <p:cNvPr id="3" name="Content Placeholder 2">
            <a:extLst>
              <a:ext uri="{FF2B5EF4-FFF2-40B4-BE49-F238E27FC236}">
                <a16:creationId xmlns:a16="http://schemas.microsoft.com/office/drawing/2014/main" id="{1D683399-EE7E-472A-AADC-EF679476DB11}"/>
              </a:ext>
            </a:extLst>
          </p:cNvPr>
          <p:cNvSpPr>
            <a:spLocks noGrp="1"/>
          </p:cNvSpPr>
          <p:nvPr>
            <p:ph idx="1"/>
          </p:nvPr>
        </p:nvSpPr>
        <p:spPr>
          <a:xfrm>
            <a:off x="838200" y="1325563"/>
            <a:ext cx="10515600" cy="4851400"/>
          </a:xfrm>
        </p:spPr>
        <p:txBody>
          <a:bodyPr>
            <a:normAutofit lnSpcReduction="10000"/>
          </a:bodyPr>
          <a:lstStyle/>
          <a:p>
            <a:r>
              <a:rPr lang="sv-SE" dirty="0"/>
              <a:t>Day 1 Recap</a:t>
            </a:r>
          </a:p>
          <a:p>
            <a:r>
              <a:rPr lang="sv-SE" dirty="0"/>
              <a:t>Create IoT Hub and mSB Organization</a:t>
            </a:r>
          </a:p>
          <a:p>
            <a:r>
              <a:rPr lang="sv-SE" dirty="0"/>
              <a:t>Integrate Cisco Jasper</a:t>
            </a:r>
          </a:p>
          <a:p>
            <a:r>
              <a:rPr lang="sv-SE" dirty="0"/>
              <a:t>Provisioning new gateways</a:t>
            </a:r>
          </a:p>
          <a:p>
            <a:r>
              <a:rPr lang="sv-SE" b="1" dirty="0"/>
              <a:t>IoT Message Exchange Patterns</a:t>
            </a:r>
          </a:p>
          <a:p>
            <a:r>
              <a:rPr lang="sv-SE" dirty="0">
                <a:solidFill>
                  <a:schemeClr val="tx1">
                    <a:lumMod val="50000"/>
                  </a:schemeClr>
                </a:solidFill>
              </a:rPr>
              <a:t>Common IoT </a:t>
            </a:r>
            <a:r>
              <a:rPr lang="sv-SE" dirty="0" err="1">
                <a:solidFill>
                  <a:schemeClr val="tx1">
                    <a:lumMod val="50000"/>
                  </a:schemeClr>
                </a:solidFill>
              </a:rPr>
              <a:t>protocols</a:t>
            </a:r>
            <a:endParaRPr lang="sv-SE" dirty="0">
              <a:solidFill>
                <a:schemeClr val="tx1">
                  <a:lumMod val="50000"/>
                </a:schemeClr>
              </a:solidFill>
            </a:endParaRPr>
          </a:p>
          <a:p>
            <a:r>
              <a:rPr lang="sv-SE" dirty="0">
                <a:solidFill>
                  <a:schemeClr val="tx1">
                    <a:lumMod val="50000"/>
                  </a:schemeClr>
                </a:solidFill>
              </a:rPr>
              <a:t>Build a real world sensor to cloud solution </a:t>
            </a:r>
          </a:p>
          <a:p>
            <a:pPr lvl="1"/>
            <a:r>
              <a:rPr lang="sv-SE" dirty="0">
                <a:solidFill>
                  <a:schemeClr val="tx1">
                    <a:lumMod val="50000"/>
                  </a:schemeClr>
                </a:solidFill>
              </a:rPr>
              <a:t>Lab</a:t>
            </a:r>
          </a:p>
          <a:p>
            <a:pPr lvl="2"/>
            <a:r>
              <a:rPr lang="sv-SE" dirty="0">
                <a:solidFill>
                  <a:schemeClr val="tx1">
                    <a:lumMod val="50000"/>
                  </a:schemeClr>
                </a:solidFill>
              </a:rPr>
              <a:t>1. </a:t>
            </a:r>
            <a:r>
              <a:rPr lang="sv-SE" dirty="0" err="1">
                <a:solidFill>
                  <a:schemeClr val="tx1">
                    <a:lumMod val="50000"/>
                  </a:schemeClr>
                </a:solidFill>
              </a:rPr>
              <a:t>Receive</a:t>
            </a:r>
            <a:r>
              <a:rPr lang="sv-SE" dirty="0">
                <a:solidFill>
                  <a:schemeClr val="tx1">
                    <a:lumMod val="50000"/>
                  </a:schemeClr>
                </a:solidFill>
              </a:rPr>
              <a:t> </a:t>
            </a:r>
            <a:r>
              <a:rPr lang="sv-SE" dirty="0" err="1">
                <a:solidFill>
                  <a:schemeClr val="tx1">
                    <a:lumMod val="50000"/>
                  </a:schemeClr>
                </a:solidFill>
              </a:rPr>
              <a:t>whitelist</a:t>
            </a:r>
            <a:r>
              <a:rPr lang="sv-SE" dirty="0">
                <a:solidFill>
                  <a:schemeClr val="tx1">
                    <a:lumMod val="50000"/>
                  </a:schemeClr>
                </a:solidFill>
              </a:rPr>
              <a:t> </a:t>
            </a:r>
            <a:r>
              <a:rPr lang="sv-SE" dirty="0" err="1">
                <a:solidFill>
                  <a:schemeClr val="tx1">
                    <a:lumMod val="50000"/>
                  </a:schemeClr>
                </a:solidFill>
              </a:rPr>
              <a:t>through</a:t>
            </a:r>
            <a:r>
              <a:rPr lang="sv-SE" dirty="0">
                <a:solidFill>
                  <a:schemeClr val="tx1">
                    <a:lumMod val="50000"/>
                  </a:schemeClr>
                </a:solidFill>
              </a:rPr>
              <a:t> state</a:t>
            </a:r>
          </a:p>
          <a:p>
            <a:pPr lvl="2"/>
            <a:r>
              <a:rPr lang="sv-SE" dirty="0">
                <a:solidFill>
                  <a:schemeClr val="tx1">
                    <a:lumMod val="50000"/>
                  </a:schemeClr>
                </a:solidFill>
              </a:rPr>
              <a:t>2. Read telegrams from sensors and send to </a:t>
            </a:r>
            <a:r>
              <a:rPr lang="sv-SE" dirty="0" err="1">
                <a:solidFill>
                  <a:schemeClr val="tx1">
                    <a:lumMod val="50000"/>
                  </a:schemeClr>
                </a:solidFill>
              </a:rPr>
              <a:t>cloud</a:t>
            </a:r>
            <a:endParaRPr lang="sv-SE" dirty="0">
              <a:solidFill>
                <a:schemeClr val="tx1">
                  <a:lumMod val="50000"/>
                </a:schemeClr>
              </a:solidFill>
            </a:endParaRPr>
          </a:p>
          <a:p>
            <a:pPr lvl="2"/>
            <a:r>
              <a:rPr lang="sv-SE" dirty="0">
                <a:solidFill>
                  <a:schemeClr val="tx1">
                    <a:lumMod val="50000"/>
                  </a:schemeClr>
                </a:solidFill>
              </a:rPr>
              <a:t>3. </a:t>
            </a:r>
            <a:r>
              <a:rPr lang="sv-SE" dirty="0" err="1">
                <a:solidFill>
                  <a:schemeClr val="tx1">
                    <a:lumMod val="50000"/>
                  </a:schemeClr>
                </a:solidFill>
              </a:rPr>
              <a:t>Create</a:t>
            </a:r>
            <a:r>
              <a:rPr lang="sv-SE" dirty="0">
                <a:solidFill>
                  <a:schemeClr val="tx1">
                    <a:lumMod val="50000"/>
                  </a:schemeClr>
                </a:solidFill>
              </a:rPr>
              <a:t> Azure Event </a:t>
            </a:r>
            <a:r>
              <a:rPr lang="sv-SE" dirty="0" err="1">
                <a:solidFill>
                  <a:schemeClr val="tx1">
                    <a:lumMod val="50000"/>
                  </a:schemeClr>
                </a:solidFill>
              </a:rPr>
              <a:t>Hub</a:t>
            </a:r>
            <a:r>
              <a:rPr lang="sv-SE" dirty="0">
                <a:solidFill>
                  <a:schemeClr val="tx1">
                    <a:lumMod val="50000"/>
                  </a:schemeClr>
                </a:solidFill>
              </a:rPr>
              <a:t> and </a:t>
            </a:r>
            <a:r>
              <a:rPr lang="sv-SE" dirty="0" err="1">
                <a:solidFill>
                  <a:schemeClr val="tx1">
                    <a:lumMod val="50000"/>
                  </a:schemeClr>
                </a:solidFill>
              </a:rPr>
              <a:t>Time</a:t>
            </a:r>
            <a:r>
              <a:rPr lang="sv-SE" dirty="0">
                <a:solidFill>
                  <a:schemeClr val="tx1">
                    <a:lumMod val="50000"/>
                  </a:schemeClr>
                </a:solidFill>
              </a:rPr>
              <a:t> Series </a:t>
            </a:r>
            <a:r>
              <a:rPr lang="sv-SE" dirty="0" err="1">
                <a:solidFill>
                  <a:schemeClr val="tx1">
                    <a:lumMod val="50000"/>
                  </a:schemeClr>
                </a:solidFill>
              </a:rPr>
              <a:t>Insight</a:t>
            </a:r>
            <a:endParaRPr lang="sv-SE" dirty="0">
              <a:solidFill>
                <a:schemeClr val="tx1">
                  <a:lumMod val="50000"/>
                </a:schemeClr>
              </a:solidFill>
            </a:endParaRPr>
          </a:p>
        </p:txBody>
      </p:sp>
    </p:spTree>
    <p:extLst>
      <p:ext uri="{BB962C8B-B14F-4D97-AF65-F5344CB8AC3E}">
        <p14:creationId xmlns:p14="http://schemas.microsoft.com/office/powerpoint/2010/main" val="183997386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418643" y="19501"/>
            <a:ext cx="11653523" cy="899537"/>
          </a:xfrm>
        </p:spPr>
        <p:txBody>
          <a:bodyPr>
            <a:normAutofit/>
          </a:bodyPr>
          <a:lstStyle/>
          <a:p>
            <a:r>
              <a:rPr lang="sv-SE" dirty="0"/>
              <a:t>IoT </a:t>
            </a:r>
            <a:r>
              <a:rPr lang="sv-SE" dirty="0" err="1"/>
              <a:t>Message</a:t>
            </a:r>
            <a:r>
              <a:rPr lang="sv-SE" dirty="0"/>
              <a:t> Exchange </a:t>
            </a:r>
            <a:r>
              <a:rPr lang="sv-SE" dirty="0" err="1"/>
              <a:t>Patterns</a:t>
            </a:r>
            <a:endParaRPr lang="en-IN" sz="3921" dirty="0">
              <a:solidFill>
                <a:schemeClr val="tx2"/>
              </a:solidFill>
            </a:endParaRPr>
          </a:p>
        </p:txBody>
      </p:sp>
      <p:grpSp>
        <p:nvGrpSpPr>
          <p:cNvPr id="3" name="Group 2"/>
          <p:cNvGrpSpPr/>
          <p:nvPr/>
        </p:nvGrpSpPr>
        <p:grpSpPr>
          <a:xfrm>
            <a:off x="195241" y="4871533"/>
            <a:ext cx="2985662" cy="1417883"/>
            <a:chOff x="199155" y="4968721"/>
            <a:chExt cx="3045531" cy="1446314"/>
          </a:xfrm>
        </p:grpSpPr>
        <p:sp>
          <p:nvSpPr>
            <p:cNvPr id="31" name="TextBox 30"/>
            <p:cNvSpPr txBox="1"/>
            <p:nvPr/>
          </p:nvSpPr>
          <p:spPr>
            <a:xfrm>
              <a:off x="1213309" y="4968721"/>
              <a:ext cx="1003769" cy="544792"/>
            </a:xfrm>
            <a:prstGeom prst="rect">
              <a:avLst/>
            </a:prstGeom>
            <a:noFill/>
          </p:spPr>
          <p:txBody>
            <a:bodyPr wrap="none" lIns="179285" tIns="143428" rIns="179285" bIns="143428" rtlCol="0">
              <a:spAutoFit/>
            </a:bodyPr>
            <a:lstStyle/>
            <a:p>
              <a:pPr defTabSz="896386">
                <a:lnSpc>
                  <a:spcPct val="90000"/>
                </a:lnSpc>
                <a:spcAft>
                  <a:spcPts val="588"/>
                </a:spcAft>
                <a:defRPr/>
              </a:pPr>
              <a:r>
                <a:rPr lang="en-GB" sz="1765" b="1" kern="0" dirty="0">
                  <a:gradFill>
                    <a:gsLst>
                      <a:gs pos="2917">
                        <a:srgbClr val="FFFFFF"/>
                      </a:gs>
                      <a:gs pos="30000">
                        <a:srgbClr val="FFFFFF"/>
                      </a:gs>
                    </a:gsLst>
                    <a:lin ang="5400000" scaled="0"/>
                  </a:gradFill>
                </a:rPr>
                <a:t>Events</a:t>
              </a:r>
            </a:p>
          </p:txBody>
        </p:sp>
        <p:sp>
          <p:nvSpPr>
            <p:cNvPr id="32" name="TextBox 31"/>
            <p:cNvSpPr txBox="1"/>
            <p:nvPr/>
          </p:nvSpPr>
          <p:spPr>
            <a:xfrm>
              <a:off x="199155" y="5371672"/>
              <a:ext cx="3045531" cy="1043363"/>
            </a:xfrm>
            <a:prstGeom prst="rect">
              <a:avLst/>
            </a:prstGeom>
            <a:noFill/>
          </p:spPr>
          <p:txBody>
            <a:bodyPr wrap="square" lIns="179285" tIns="143428" rIns="179285" bIns="143428" rtlCol="0">
              <a:spAutoFit/>
            </a:bodyPr>
            <a:lstStyle/>
            <a:p>
              <a:pPr defTabSz="896386">
                <a:lnSpc>
                  <a:spcPct val="90000"/>
                </a:lnSpc>
                <a:spcAft>
                  <a:spcPts val="588"/>
                </a:spcAft>
                <a:defRPr/>
              </a:pPr>
              <a:r>
                <a:rPr lang="en-GB" sz="1765" kern="0" dirty="0">
                  <a:gradFill>
                    <a:gsLst>
                      <a:gs pos="2917">
                        <a:srgbClr val="FFFFFF"/>
                      </a:gs>
                      <a:gs pos="30000">
                        <a:srgbClr val="FFFFFF"/>
                      </a:gs>
                    </a:gsLst>
                    <a:lin ang="5400000" scaled="0"/>
                  </a:gradFill>
                </a:rPr>
                <a:t>Massive stream of information. Managed outside the </a:t>
              </a:r>
              <a:r>
                <a:rPr lang="en-GB" sz="1765" kern="0" dirty="0" err="1">
                  <a:gradFill>
                    <a:gsLst>
                      <a:gs pos="2917">
                        <a:srgbClr val="FFFFFF"/>
                      </a:gs>
                      <a:gs pos="30000">
                        <a:srgbClr val="FFFFFF"/>
                      </a:gs>
                    </a:gsLst>
                    <a:lin ang="5400000" scaled="0"/>
                  </a:gradFill>
                </a:rPr>
                <a:t>IoT</a:t>
              </a:r>
              <a:r>
                <a:rPr lang="en-GB" sz="1765" kern="0" dirty="0">
                  <a:gradFill>
                    <a:gsLst>
                      <a:gs pos="2917">
                        <a:srgbClr val="FFFFFF"/>
                      </a:gs>
                      <a:gs pos="30000">
                        <a:srgbClr val="FFFFFF"/>
                      </a:gs>
                    </a:gsLst>
                    <a:lin ang="5400000" scaled="0"/>
                  </a:gradFill>
                </a:rPr>
                <a:t> Hub</a:t>
              </a:r>
            </a:p>
          </p:txBody>
        </p:sp>
      </p:grpSp>
      <p:sp>
        <p:nvSpPr>
          <p:cNvPr id="54" name="Frame 5"/>
          <p:cNvSpPr>
            <a:spLocks noChangeAspect="1"/>
          </p:cNvSpPr>
          <p:nvPr/>
        </p:nvSpPr>
        <p:spPr bwMode="auto">
          <a:xfrm>
            <a:off x="1325986" y="1937082"/>
            <a:ext cx="724172" cy="723981"/>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9" name="Striped Right Arrow 8"/>
          <p:cNvSpPr/>
          <p:nvPr/>
        </p:nvSpPr>
        <p:spPr bwMode="auto">
          <a:xfrm rot="5400000">
            <a:off x="1025153" y="3186344"/>
            <a:ext cx="1325836" cy="466510"/>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endParaRPr lang="en-US" sz="1961" dirty="0">
              <a:gradFill>
                <a:gsLst>
                  <a:gs pos="16814">
                    <a:srgbClr val="FFFFFF"/>
                  </a:gs>
                  <a:gs pos="46000">
                    <a:srgbClr val="FFFFFF"/>
                  </a:gs>
                </a:gsLst>
                <a:lin ang="5400000" scaled="0"/>
              </a:gradFill>
            </a:endParaRPr>
          </a:p>
        </p:txBody>
      </p:sp>
      <p:pic>
        <p:nvPicPr>
          <p:cNvPr id="34" name="Picture 33">
            <a:extLst>
              <a:ext uri="{FF2B5EF4-FFF2-40B4-BE49-F238E27FC236}">
                <a16:creationId xmlns:a16="http://schemas.microsoft.com/office/drawing/2014/main" id="{75F3EC39-F6DB-4C31-9199-48A6D6CB1577}"/>
              </a:ext>
            </a:extLst>
          </p:cNvPr>
          <p:cNvPicPr>
            <a:picLocks noChangeAspect="1"/>
          </p:cNvPicPr>
          <p:nvPr/>
        </p:nvPicPr>
        <p:blipFill>
          <a:blip r:embed="rId3"/>
          <a:stretch>
            <a:fillRect/>
          </a:stretch>
        </p:blipFill>
        <p:spPr>
          <a:xfrm>
            <a:off x="1359982" y="4222927"/>
            <a:ext cx="656179" cy="656179"/>
          </a:xfrm>
          <a:prstGeom prst="rect">
            <a:avLst/>
          </a:prstGeom>
        </p:spPr>
      </p:pic>
      <p:grpSp>
        <p:nvGrpSpPr>
          <p:cNvPr id="13" name="Group 12">
            <a:extLst>
              <a:ext uri="{FF2B5EF4-FFF2-40B4-BE49-F238E27FC236}">
                <a16:creationId xmlns:a16="http://schemas.microsoft.com/office/drawing/2014/main" id="{EE631A5A-B616-40AB-A1C0-848C5FA59BCB}"/>
              </a:ext>
            </a:extLst>
          </p:cNvPr>
          <p:cNvGrpSpPr/>
          <p:nvPr/>
        </p:nvGrpSpPr>
        <p:grpSpPr>
          <a:xfrm>
            <a:off x="3056292" y="1944655"/>
            <a:ext cx="2985662" cy="4352334"/>
            <a:chOff x="3117576" y="1983152"/>
            <a:chExt cx="3045531" cy="4439607"/>
          </a:xfrm>
        </p:grpSpPr>
        <p:grpSp>
          <p:nvGrpSpPr>
            <p:cNvPr id="6" name="Group 5"/>
            <p:cNvGrpSpPr/>
            <p:nvPr/>
          </p:nvGrpSpPr>
          <p:grpSpPr>
            <a:xfrm>
              <a:off x="3117576" y="4976445"/>
              <a:ext cx="3045531" cy="1446314"/>
              <a:chOff x="9268706" y="4968721"/>
              <a:chExt cx="3045531" cy="1446314"/>
            </a:xfrm>
          </p:grpSpPr>
          <p:sp>
            <p:nvSpPr>
              <p:cNvPr id="50" name="TextBox 49"/>
              <p:cNvSpPr txBox="1"/>
              <p:nvPr/>
            </p:nvSpPr>
            <p:spPr>
              <a:xfrm>
                <a:off x="10043128" y="4968721"/>
                <a:ext cx="1384759" cy="544792"/>
              </a:xfrm>
              <a:prstGeom prst="rect">
                <a:avLst/>
              </a:prstGeom>
              <a:noFill/>
            </p:spPr>
            <p:txBody>
              <a:bodyPr wrap="none" lIns="179285" tIns="143428" rIns="179285" bIns="143428" rtlCol="0">
                <a:spAutoFit/>
              </a:bodyPr>
              <a:lstStyle/>
              <a:p>
                <a:pPr defTabSz="896386">
                  <a:lnSpc>
                    <a:spcPct val="90000"/>
                  </a:lnSpc>
                  <a:spcAft>
                    <a:spcPts val="588"/>
                  </a:spcAft>
                  <a:defRPr/>
                </a:pPr>
                <a:r>
                  <a:rPr lang="en-GB" sz="1765" b="1" kern="0" dirty="0">
                    <a:gradFill>
                      <a:gsLst>
                        <a:gs pos="2917">
                          <a:srgbClr val="FFFFFF"/>
                        </a:gs>
                        <a:gs pos="30000">
                          <a:srgbClr val="FFFFFF"/>
                        </a:gs>
                      </a:gsLst>
                      <a:lin ang="5400000" scaled="0"/>
                    </a:gradFill>
                  </a:rPr>
                  <a:t>Messaging</a:t>
                </a:r>
              </a:p>
            </p:txBody>
          </p:sp>
          <p:sp>
            <p:nvSpPr>
              <p:cNvPr id="51" name="TextBox 50"/>
              <p:cNvSpPr txBox="1"/>
              <p:nvPr/>
            </p:nvSpPr>
            <p:spPr>
              <a:xfrm>
                <a:off x="9268706" y="5371672"/>
                <a:ext cx="3045531" cy="1043363"/>
              </a:xfrm>
              <a:prstGeom prst="rect">
                <a:avLst/>
              </a:prstGeom>
              <a:noFill/>
            </p:spPr>
            <p:txBody>
              <a:bodyPr wrap="square" lIns="179285" tIns="143428" rIns="179285" bIns="143428" rtlCol="0">
                <a:spAutoFit/>
              </a:bodyPr>
              <a:lstStyle/>
              <a:p>
                <a:pPr defTabSz="896386">
                  <a:lnSpc>
                    <a:spcPct val="90000"/>
                  </a:lnSpc>
                  <a:spcAft>
                    <a:spcPts val="588"/>
                  </a:spcAft>
                  <a:defRPr/>
                </a:pPr>
                <a:r>
                  <a:rPr lang="en-GB" sz="1765" kern="0" dirty="0">
                    <a:gradFill>
                      <a:gsLst>
                        <a:gs pos="2917">
                          <a:srgbClr val="FFFFFF"/>
                        </a:gs>
                        <a:gs pos="30000">
                          <a:srgbClr val="FFFFFF"/>
                        </a:gs>
                      </a:gsLst>
                      <a:lin ang="5400000" scaled="0"/>
                    </a:gradFill>
                  </a:rPr>
                  <a:t>C2D communication using a pub</a:t>
                </a:r>
                <a:r>
                  <a:rPr lang="sv-SE" sz="1765" kern="0" dirty="0">
                    <a:gradFill>
                      <a:gsLst>
                        <a:gs pos="2917">
                          <a:srgbClr val="FFFFFF"/>
                        </a:gs>
                        <a:gs pos="30000">
                          <a:srgbClr val="FFFFFF"/>
                        </a:gs>
                      </a:gsLst>
                      <a:lin ang="5400000" scaled="0"/>
                    </a:gradFill>
                  </a:rPr>
                  <a:t>/</a:t>
                </a:r>
                <a:r>
                  <a:rPr lang="sv-SE" sz="1765" kern="0" dirty="0" err="1">
                    <a:gradFill>
                      <a:gsLst>
                        <a:gs pos="2917">
                          <a:srgbClr val="FFFFFF"/>
                        </a:gs>
                        <a:gs pos="30000">
                          <a:srgbClr val="FFFFFF"/>
                        </a:gs>
                      </a:gsLst>
                      <a:lin ang="5400000" scaled="0"/>
                    </a:gradFill>
                  </a:rPr>
                  <a:t>sub</a:t>
                </a:r>
                <a:r>
                  <a:rPr lang="sv-SE" sz="1765" kern="0" dirty="0">
                    <a:gradFill>
                      <a:gsLst>
                        <a:gs pos="2917">
                          <a:srgbClr val="FFFFFF"/>
                        </a:gs>
                        <a:gs pos="30000">
                          <a:srgbClr val="FFFFFF"/>
                        </a:gs>
                      </a:gsLst>
                      <a:lin ang="5400000" scaled="0"/>
                    </a:gradFill>
                  </a:rPr>
                  <a:t> </a:t>
                </a:r>
                <a:r>
                  <a:rPr lang="sv-SE" sz="1765" kern="0" dirty="0" err="1">
                    <a:gradFill>
                      <a:gsLst>
                        <a:gs pos="2917">
                          <a:srgbClr val="FFFFFF"/>
                        </a:gs>
                        <a:gs pos="30000">
                          <a:srgbClr val="FFFFFF"/>
                        </a:gs>
                      </a:gsLst>
                      <a:lin ang="5400000" scaled="0"/>
                    </a:gradFill>
                  </a:rPr>
                  <a:t>pattern</a:t>
                </a:r>
                <a:r>
                  <a:rPr lang="sv-SE" sz="1765" kern="0" dirty="0">
                    <a:gradFill>
                      <a:gsLst>
                        <a:gs pos="2917">
                          <a:srgbClr val="FFFFFF"/>
                        </a:gs>
                        <a:gs pos="30000">
                          <a:srgbClr val="FFFFFF"/>
                        </a:gs>
                      </a:gsLst>
                      <a:lin ang="5400000" scaled="0"/>
                    </a:gradFill>
                  </a:rPr>
                  <a:t> </a:t>
                </a:r>
                <a:r>
                  <a:rPr lang="sv-SE" sz="1765" kern="0" dirty="0" err="1">
                    <a:gradFill>
                      <a:gsLst>
                        <a:gs pos="2917">
                          <a:srgbClr val="FFFFFF"/>
                        </a:gs>
                        <a:gs pos="30000">
                          <a:srgbClr val="FFFFFF"/>
                        </a:gs>
                      </a:gsLst>
                      <a:lin ang="5400000" scaled="0"/>
                    </a:gradFill>
                  </a:rPr>
                  <a:t>using</a:t>
                </a:r>
                <a:r>
                  <a:rPr lang="sv-SE" sz="1765" kern="0" dirty="0">
                    <a:gradFill>
                      <a:gsLst>
                        <a:gs pos="2917">
                          <a:srgbClr val="FFFFFF"/>
                        </a:gs>
                        <a:gs pos="30000">
                          <a:srgbClr val="FFFFFF"/>
                        </a:gs>
                      </a:gsLst>
                      <a:lin ang="5400000" scaled="0"/>
                    </a:gradFill>
                  </a:rPr>
                  <a:t> </a:t>
                </a:r>
                <a:r>
                  <a:rPr lang="sv-SE" sz="1765" kern="0" dirty="0" err="1">
                    <a:gradFill>
                      <a:gsLst>
                        <a:gs pos="2917">
                          <a:srgbClr val="FFFFFF"/>
                        </a:gs>
                        <a:gs pos="30000">
                          <a:srgbClr val="FFFFFF"/>
                        </a:gs>
                      </a:gsLst>
                      <a:lin ang="5400000" scaled="0"/>
                    </a:gradFill>
                  </a:rPr>
                  <a:t>topics</a:t>
                </a:r>
                <a:r>
                  <a:rPr lang="sv-SE" sz="1765" kern="0" dirty="0">
                    <a:gradFill>
                      <a:gsLst>
                        <a:gs pos="2917">
                          <a:srgbClr val="FFFFFF"/>
                        </a:gs>
                        <a:gs pos="30000">
                          <a:srgbClr val="FFFFFF"/>
                        </a:gs>
                      </a:gsLst>
                      <a:lin ang="5400000" scaled="0"/>
                    </a:gradFill>
                  </a:rPr>
                  <a:t> &amp; </a:t>
                </a:r>
                <a:r>
                  <a:rPr lang="sv-SE" sz="1765" kern="0" dirty="0" err="1">
                    <a:gradFill>
                      <a:gsLst>
                        <a:gs pos="2917">
                          <a:srgbClr val="FFFFFF"/>
                        </a:gs>
                        <a:gs pos="30000">
                          <a:srgbClr val="FFFFFF"/>
                        </a:gs>
                      </a:gsLst>
                      <a:lin ang="5400000" scaled="0"/>
                    </a:gradFill>
                  </a:rPr>
                  <a:t>subscriptions</a:t>
                </a:r>
                <a:endParaRPr lang="en-GB" sz="1765" kern="0" dirty="0">
                  <a:gradFill>
                    <a:gsLst>
                      <a:gs pos="2917">
                        <a:srgbClr val="FFFFFF"/>
                      </a:gs>
                      <a:gs pos="30000">
                        <a:srgbClr val="FFFFFF"/>
                      </a:gs>
                    </a:gsLst>
                    <a:lin ang="5400000" scaled="0"/>
                  </a:gradFill>
                </a:endParaRPr>
              </a:p>
            </p:txBody>
          </p:sp>
        </p:grpSp>
        <p:sp>
          <p:nvSpPr>
            <p:cNvPr id="57" name="Frame 5"/>
            <p:cNvSpPr>
              <a:spLocks noChangeAspect="1"/>
            </p:cNvSpPr>
            <p:nvPr/>
          </p:nvSpPr>
          <p:spPr bwMode="auto">
            <a:xfrm>
              <a:off x="4270995" y="1983152"/>
              <a:ext cx="738693" cy="738498"/>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64" name="Striped Right Arrow 63"/>
            <p:cNvSpPr/>
            <p:nvPr/>
          </p:nvSpPr>
          <p:spPr bwMode="auto">
            <a:xfrm rot="16200000">
              <a:off x="3964130" y="3236472"/>
              <a:ext cx="1352422" cy="475864"/>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endParaRPr lang="en-US" sz="1961" dirty="0">
                <a:gradFill>
                  <a:gsLst>
                    <a:gs pos="16814">
                      <a:srgbClr val="FFFFFF"/>
                    </a:gs>
                    <a:gs pos="46000">
                      <a:srgbClr val="FFFFFF"/>
                    </a:gs>
                  </a:gsLst>
                  <a:lin ang="5400000" scaled="0"/>
                </a:gradFill>
              </a:endParaRPr>
            </a:p>
          </p:txBody>
        </p:sp>
        <p:pic>
          <p:nvPicPr>
            <p:cNvPr id="35" name="Picture 34">
              <a:extLst>
                <a:ext uri="{FF2B5EF4-FFF2-40B4-BE49-F238E27FC236}">
                  <a16:creationId xmlns:a16="http://schemas.microsoft.com/office/drawing/2014/main" id="{19FBBA48-3926-49AD-9E39-3056CAAAE818}"/>
                </a:ext>
              </a:extLst>
            </p:cNvPr>
            <p:cNvPicPr>
              <a:picLocks noChangeAspect="1"/>
            </p:cNvPicPr>
            <p:nvPr/>
          </p:nvPicPr>
          <p:blipFill>
            <a:blip r:embed="rId3"/>
            <a:stretch>
              <a:fillRect/>
            </a:stretch>
          </p:blipFill>
          <p:spPr>
            <a:xfrm>
              <a:off x="4298675" y="4307108"/>
              <a:ext cx="669337" cy="669337"/>
            </a:xfrm>
            <a:prstGeom prst="rect">
              <a:avLst/>
            </a:prstGeom>
          </p:spPr>
        </p:pic>
      </p:grpSp>
      <p:grpSp>
        <p:nvGrpSpPr>
          <p:cNvPr id="14" name="Group 13">
            <a:extLst>
              <a:ext uri="{FF2B5EF4-FFF2-40B4-BE49-F238E27FC236}">
                <a16:creationId xmlns:a16="http://schemas.microsoft.com/office/drawing/2014/main" id="{D88295D0-FF70-4DAA-8AAF-538B831A5D98}"/>
              </a:ext>
            </a:extLst>
          </p:cNvPr>
          <p:cNvGrpSpPr/>
          <p:nvPr/>
        </p:nvGrpSpPr>
        <p:grpSpPr>
          <a:xfrm>
            <a:off x="6173123" y="1937083"/>
            <a:ext cx="2985662" cy="4596842"/>
            <a:chOff x="6296906" y="1975428"/>
            <a:chExt cx="3045531" cy="4689018"/>
          </a:xfrm>
        </p:grpSpPr>
        <p:grpSp>
          <p:nvGrpSpPr>
            <p:cNvPr id="5" name="Group 4"/>
            <p:cNvGrpSpPr/>
            <p:nvPr/>
          </p:nvGrpSpPr>
          <p:grpSpPr>
            <a:xfrm>
              <a:off x="6296906" y="4968721"/>
              <a:ext cx="3045531" cy="1695725"/>
              <a:chOff x="6296906" y="4968721"/>
              <a:chExt cx="3045531" cy="1695725"/>
            </a:xfrm>
          </p:grpSpPr>
          <p:sp>
            <p:nvSpPr>
              <p:cNvPr id="44" name="TextBox 43"/>
              <p:cNvSpPr txBox="1"/>
              <p:nvPr/>
            </p:nvSpPr>
            <p:spPr>
              <a:xfrm>
                <a:off x="7155431" y="4968721"/>
                <a:ext cx="1231055" cy="544792"/>
              </a:xfrm>
              <a:prstGeom prst="rect">
                <a:avLst/>
              </a:prstGeom>
              <a:noFill/>
            </p:spPr>
            <p:txBody>
              <a:bodyPr wrap="none" lIns="179285" tIns="143428" rIns="179285" bIns="143428" rtlCol="0">
                <a:spAutoFit/>
              </a:bodyPr>
              <a:lstStyle/>
              <a:p>
                <a:pPr defTabSz="896386">
                  <a:lnSpc>
                    <a:spcPct val="90000"/>
                  </a:lnSpc>
                  <a:spcAft>
                    <a:spcPts val="588"/>
                  </a:spcAft>
                  <a:defRPr/>
                </a:pPr>
                <a:r>
                  <a:rPr lang="en-GB" sz="1765" b="1" kern="0" dirty="0">
                    <a:gradFill>
                      <a:gsLst>
                        <a:gs pos="2917">
                          <a:srgbClr val="FFFFFF"/>
                        </a:gs>
                        <a:gs pos="30000">
                          <a:srgbClr val="FFFFFF"/>
                        </a:gs>
                      </a:gsLst>
                      <a:lin ang="5400000" scaled="0"/>
                    </a:gradFill>
                  </a:rPr>
                  <a:t>Methods</a:t>
                </a:r>
              </a:p>
            </p:txBody>
          </p:sp>
          <p:sp>
            <p:nvSpPr>
              <p:cNvPr id="45" name="TextBox 44"/>
              <p:cNvSpPr txBox="1"/>
              <p:nvPr/>
            </p:nvSpPr>
            <p:spPr>
              <a:xfrm>
                <a:off x="6296906" y="5371672"/>
                <a:ext cx="3045531" cy="1292774"/>
              </a:xfrm>
              <a:prstGeom prst="rect">
                <a:avLst/>
              </a:prstGeom>
              <a:noFill/>
            </p:spPr>
            <p:txBody>
              <a:bodyPr wrap="square" lIns="179285" tIns="143428" rIns="179285" bIns="143428" rtlCol="0">
                <a:spAutoFit/>
              </a:bodyPr>
              <a:lstStyle/>
              <a:p>
                <a:pPr defTabSz="896386">
                  <a:lnSpc>
                    <a:spcPct val="90000"/>
                  </a:lnSpc>
                  <a:spcAft>
                    <a:spcPts val="588"/>
                  </a:spcAft>
                  <a:defRPr/>
                </a:pPr>
                <a:r>
                  <a:rPr lang="en-GB" sz="1765" kern="0" dirty="0">
                    <a:gradFill>
                      <a:gsLst>
                        <a:gs pos="2917">
                          <a:srgbClr val="FFFFFF"/>
                        </a:gs>
                        <a:gs pos="30000">
                          <a:srgbClr val="FFFFFF"/>
                        </a:gs>
                      </a:gsLst>
                      <a:lin ang="5400000" scaled="0"/>
                    </a:gradFill>
                  </a:rPr>
                  <a:t>Devices exposes methods that can called from a external applications using a request/response pattern</a:t>
                </a:r>
              </a:p>
            </p:txBody>
          </p:sp>
        </p:grpSp>
        <p:sp>
          <p:nvSpPr>
            <p:cNvPr id="55" name="Frame 5"/>
            <p:cNvSpPr>
              <a:spLocks noChangeAspect="1"/>
            </p:cNvSpPr>
            <p:nvPr/>
          </p:nvSpPr>
          <p:spPr bwMode="auto">
            <a:xfrm>
              <a:off x="7450325" y="1975428"/>
              <a:ext cx="738693" cy="738498"/>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66" name="Striped Right Arrow 65"/>
            <p:cNvSpPr/>
            <p:nvPr/>
          </p:nvSpPr>
          <p:spPr bwMode="auto">
            <a:xfrm rot="5400000">
              <a:off x="7237250" y="2947985"/>
              <a:ext cx="622689" cy="475864"/>
            </a:xfrm>
            <a:prstGeom prst="stripedRightArrow">
              <a:avLst>
                <a:gd name="adj1" fmla="val 66677"/>
                <a:gd name="adj2" fmla="val 50000"/>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endParaRPr lang="en-US" sz="1961" dirty="0">
                <a:gradFill>
                  <a:gsLst>
                    <a:gs pos="16814">
                      <a:srgbClr val="FFFFFF"/>
                    </a:gs>
                    <a:gs pos="46000">
                      <a:srgbClr val="FFFFFF"/>
                    </a:gs>
                  </a:gsLst>
                  <a:lin ang="5400000" scaled="0"/>
                </a:gradFill>
              </a:endParaRPr>
            </a:p>
          </p:txBody>
        </p:sp>
        <p:sp>
          <p:nvSpPr>
            <p:cNvPr id="65" name="Striped Right Arrow 64"/>
            <p:cNvSpPr/>
            <p:nvPr/>
          </p:nvSpPr>
          <p:spPr bwMode="auto">
            <a:xfrm rot="16200000">
              <a:off x="7268142" y="3280504"/>
              <a:ext cx="1352422" cy="475864"/>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endParaRPr lang="en-US" sz="1961" dirty="0">
                <a:gradFill>
                  <a:gsLst>
                    <a:gs pos="16814">
                      <a:srgbClr val="FFFFFF"/>
                    </a:gs>
                    <a:gs pos="46000">
                      <a:srgbClr val="FFFFFF"/>
                    </a:gs>
                  </a:gsLst>
                  <a:lin ang="5400000" scaled="0"/>
                </a:gradFill>
              </a:endParaRPr>
            </a:p>
          </p:txBody>
        </p:sp>
        <p:pic>
          <p:nvPicPr>
            <p:cNvPr id="36" name="Picture 35">
              <a:extLst>
                <a:ext uri="{FF2B5EF4-FFF2-40B4-BE49-F238E27FC236}">
                  <a16:creationId xmlns:a16="http://schemas.microsoft.com/office/drawing/2014/main" id="{9062E39E-6459-4DE9-A53F-79A93468C3AC}"/>
                </a:ext>
              </a:extLst>
            </p:cNvPr>
            <p:cNvPicPr>
              <a:picLocks noChangeAspect="1"/>
            </p:cNvPicPr>
            <p:nvPr/>
          </p:nvPicPr>
          <p:blipFill>
            <a:blip r:embed="rId3"/>
            <a:stretch>
              <a:fillRect/>
            </a:stretch>
          </p:blipFill>
          <p:spPr>
            <a:xfrm>
              <a:off x="7482182" y="4307108"/>
              <a:ext cx="669337" cy="669337"/>
            </a:xfrm>
            <a:prstGeom prst="rect">
              <a:avLst/>
            </a:prstGeom>
          </p:spPr>
        </p:pic>
      </p:grpSp>
      <p:grpSp>
        <p:nvGrpSpPr>
          <p:cNvPr id="15" name="Group 14">
            <a:extLst>
              <a:ext uri="{FF2B5EF4-FFF2-40B4-BE49-F238E27FC236}">
                <a16:creationId xmlns:a16="http://schemas.microsoft.com/office/drawing/2014/main" id="{825216F3-1284-456E-9E47-3F8BEE36E65E}"/>
              </a:ext>
            </a:extLst>
          </p:cNvPr>
          <p:cNvGrpSpPr/>
          <p:nvPr/>
        </p:nvGrpSpPr>
        <p:grpSpPr>
          <a:xfrm>
            <a:off x="9209908" y="1944654"/>
            <a:ext cx="2985662" cy="4596732"/>
            <a:chOff x="9394585" y="1983152"/>
            <a:chExt cx="3045531" cy="4688906"/>
          </a:xfrm>
        </p:grpSpPr>
        <p:grpSp>
          <p:nvGrpSpPr>
            <p:cNvPr id="4" name="Group 3"/>
            <p:cNvGrpSpPr/>
            <p:nvPr/>
          </p:nvGrpSpPr>
          <p:grpSpPr>
            <a:xfrm>
              <a:off x="9394585" y="4976445"/>
              <a:ext cx="3045531" cy="1695613"/>
              <a:chOff x="3172706" y="4968721"/>
              <a:chExt cx="3045531" cy="1695613"/>
            </a:xfrm>
          </p:grpSpPr>
          <p:sp>
            <p:nvSpPr>
              <p:cNvPr id="37" name="TextBox 36"/>
              <p:cNvSpPr txBox="1"/>
              <p:nvPr/>
            </p:nvSpPr>
            <p:spPr>
              <a:xfrm>
                <a:off x="4227481" y="4968721"/>
                <a:ext cx="869687" cy="544792"/>
              </a:xfrm>
              <a:prstGeom prst="rect">
                <a:avLst/>
              </a:prstGeom>
              <a:noFill/>
            </p:spPr>
            <p:txBody>
              <a:bodyPr wrap="none" lIns="179285" tIns="143428" rIns="179285" bIns="143428" rtlCol="0">
                <a:spAutoFit/>
              </a:bodyPr>
              <a:lstStyle/>
              <a:p>
                <a:pPr defTabSz="896386">
                  <a:lnSpc>
                    <a:spcPct val="90000"/>
                  </a:lnSpc>
                  <a:spcAft>
                    <a:spcPts val="588"/>
                  </a:spcAft>
                  <a:defRPr/>
                </a:pPr>
                <a:r>
                  <a:rPr lang="en-GB" sz="1765" b="1" kern="0" dirty="0">
                    <a:gradFill>
                      <a:gsLst>
                        <a:gs pos="2917">
                          <a:srgbClr val="FFFFFF"/>
                        </a:gs>
                        <a:gs pos="30000">
                          <a:srgbClr val="FFFFFF"/>
                        </a:gs>
                      </a:gsLst>
                      <a:lin ang="5400000" scaled="0"/>
                    </a:gradFill>
                  </a:rPr>
                  <a:t>State</a:t>
                </a:r>
              </a:p>
            </p:txBody>
          </p:sp>
          <p:sp>
            <p:nvSpPr>
              <p:cNvPr id="38" name="TextBox 37"/>
              <p:cNvSpPr txBox="1"/>
              <p:nvPr/>
            </p:nvSpPr>
            <p:spPr>
              <a:xfrm>
                <a:off x="3172706" y="5371672"/>
                <a:ext cx="3045531" cy="1292662"/>
              </a:xfrm>
              <a:prstGeom prst="rect">
                <a:avLst/>
              </a:prstGeom>
              <a:noFill/>
            </p:spPr>
            <p:txBody>
              <a:bodyPr wrap="square" lIns="179285" tIns="143428" rIns="179285" bIns="143428" rtlCol="0">
                <a:spAutoFit/>
              </a:bodyPr>
              <a:lstStyle/>
              <a:p>
                <a:pPr defTabSz="896386">
                  <a:lnSpc>
                    <a:spcPct val="90000"/>
                  </a:lnSpc>
                  <a:spcAft>
                    <a:spcPts val="588"/>
                  </a:spcAft>
                  <a:defRPr/>
                </a:pPr>
                <a:r>
                  <a:rPr lang="en-GB" sz="1765" kern="0" dirty="0">
                    <a:gradFill>
                      <a:gsLst>
                        <a:gs pos="2917">
                          <a:srgbClr val="FFFFFF"/>
                        </a:gs>
                        <a:gs pos="30000">
                          <a:srgbClr val="FFFFFF"/>
                        </a:gs>
                      </a:gsLst>
                      <a:lin ang="5400000" scaled="0"/>
                    </a:gradFill>
                  </a:rPr>
                  <a:t>Device state is exchanged using device-twin configuration stored in the </a:t>
                </a:r>
                <a:r>
                  <a:rPr lang="en-GB" sz="1765" kern="0" dirty="0" err="1">
                    <a:gradFill>
                      <a:gsLst>
                        <a:gs pos="2917">
                          <a:srgbClr val="FFFFFF"/>
                        </a:gs>
                        <a:gs pos="30000">
                          <a:srgbClr val="FFFFFF"/>
                        </a:gs>
                      </a:gsLst>
                      <a:lin ang="5400000" scaled="0"/>
                    </a:gradFill>
                  </a:rPr>
                  <a:t>IoT</a:t>
                </a:r>
                <a:r>
                  <a:rPr lang="en-GB" sz="1765" kern="0" dirty="0">
                    <a:gradFill>
                      <a:gsLst>
                        <a:gs pos="2917">
                          <a:srgbClr val="FFFFFF"/>
                        </a:gs>
                        <a:gs pos="30000">
                          <a:srgbClr val="FFFFFF"/>
                        </a:gs>
                      </a:gsLst>
                      <a:lin ang="5400000" scaled="0"/>
                    </a:gradFill>
                  </a:rPr>
                  <a:t> Hub.</a:t>
                </a:r>
              </a:p>
            </p:txBody>
          </p:sp>
        </p:grpSp>
        <p:sp>
          <p:nvSpPr>
            <p:cNvPr id="56" name="Frame 5"/>
            <p:cNvSpPr>
              <a:spLocks noChangeAspect="1"/>
            </p:cNvSpPr>
            <p:nvPr/>
          </p:nvSpPr>
          <p:spPr bwMode="auto">
            <a:xfrm>
              <a:off x="10548004" y="1983152"/>
              <a:ext cx="738693" cy="738498"/>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7" name="Arrow: Up-Down 6">
              <a:extLst>
                <a:ext uri="{FF2B5EF4-FFF2-40B4-BE49-F238E27FC236}">
                  <a16:creationId xmlns:a16="http://schemas.microsoft.com/office/drawing/2014/main" id="{B358D53D-3822-401B-A839-4BCB4D9FE937}"/>
                </a:ext>
              </a:extLst>
            </p:cNvPr>
            <p:cNvSpPr/>
            <p:nvPr/>
          </p:nvSpPr>
          <p:spPr bwMode="auto">
            <a:xfrm>
              <a:off x="10651898" y="2849949"/>
              <a:ext cx="522099" cy="1352422"/>
            </a:xfrm>
            <a:prstGeom prst="upDownArrow">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a:endParaRPr lang="sv-SE" sz="1961" dirty="0">
                <a:gradFill>
                  <a:gsLst>
                    <a:gs pos="16814">
                      <a:srgbClr val="FFFFFF"/>
                    </a:gs>
                    <a:gs pos="46000">
                      <a:srgbClr val="FFFFFF"/>
                    </a:gs>
                  </a:gsLst>
                  <a:lin ang="5400000" scaled="0"/>
                </a:gradFill>
              </a:endParaRPr>
            </a:p>
          </p:txBody>
        </p:sp>
        <p:pic>
          <p:nvPicPr>
            <p:cNvPr id="39" name="Picture 38">
              <a:extLst>
                <a:ext uri="{FF2B5EF4-FFF2-40B4-BE49-F238E27FC236}">
                  <a16:creationId xmlns:a16="http://schemas.microsoft.com/office/drawing/2014/main" id="{A29E80E5-203B-4063-AF1D-F4797612D86F}"/>
                </a:ext>
              </a:extLst>
            </p:cNvPr>
            <p:cNvPicPr>
              <a:picLocks noChangeAspect="1"/>
            </p:cNvPicPr>
            <p:nvPr/>
          </p:nvPicPr>
          <p:blipFill>
            <a:blip r:embed="rId3"/>
            <a:stretch>
              <a:fillRect/>
            </a:stretch>
          </p:blipFill>
          <p:spPr>
            <a:xfrm>
              <a:off x="10588205" y="4307108"/>
              <a:ext cx="669337" cy="669337"/>
            </a:xfrm>
            <a:prstGeom prst="rect">
              <a:avLst/>
            </a:prstGeom>
          </p:spPr>
        </p:pic>
      </p:grpSp>
    </p:spTree>
    <p:extLst>
      <p:ext uri="{BB962C8B-B14F-4D97-AF65-F5344CB8AC3E}">
        <p14:creationId xmlns:p14="http://schemas.microsoft.com/office/powerpoint/2010/main" val="28445775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fade">
                                      <p:cBhvr>
                                        <p:cTn id="12" dur="500"/>
                                        <p:tgtEl>
                                          <p:spTgt spid="1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5"/>
                                        </p:tgtEl>
                                        <p:attrNameLst>
                                          <p:attrName>style.visibility</p:attrName>
                                        </p:attrNameLst>
                                      </p:cBhvr>
                                      <p:to>
                                        <p:strVal val="visible"/>
                                      </p:to>
                                    </p:set>
                                    <p:animEffect transition="in" filter="fade">
                                      <p:cBhvr>
                                        <p:cTn id="17"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410381" y="291548"/>
            <a:ext cx="11653523" cy="899537"/>
          </a:xfrm>
        </p:spPr>
        <p:txBody>
          <a:bodyPr/>
          <a:lstStyle/>
          <a:p>
            <a:r>
              <a:rPr lang="sv-SE" sz="4800" dirty="0"/>
              <a:t>IoT </a:t>
            </a:r>
            <a:r>
              <a:rPr lang="sv-SE" sz="4800" dirty="0" err="1"/>
              <a:t>Message</a:t>
            </a:r>
            <a:r>
              <a:rPr lang="sv-SE" sz="4800" dirty="0"/>
              <a:t> Exchange </a:t>
            </a:r>
            <a:r>
              <a:rPr lang="sv-SE" sz="4800" dirty="0" err="1"/>
              <a:t>Patterns</a:t>
            </a:r>
            <a:endParaRPr lang="sv-SE" sz="4800" dirty="0"/>
          </a:p>
        </p:txBody>
      </p:sp>
      <p:pic>
        <p:nvPicPr>
          <p:cNvPr id="8" name="Picture 7">
            <a:extLst>
              <a:ext uri="{FF2B5EF4-FFF2-40B4-BE49-F238E27FC236}">
                <a16:creationId xmlns:a16="http://schemas.microsoft.com/office/drawing/2014/main" id="{6B81447F-33DE-4F0E-8EAF-2751DD1E779B}"/>
              </a:ext>
            </a:extLst>
          </p:cNvPr>
          <p:cNvPicPr>
            <a:picLocks noChangeAspect="1"/>
          </p:cNvPicPr>
          <p:nvPr/>
        </p:nvPicPr>
        <p:blipFill>
          <a:blip r:embed="rId3"/>
          <a:stretch>
            <a:fillRect/>
          </a:stretch>
        </p:blipFill>
        <p:spPr>
          <a:xfrm>
            <a:off x="6361528" y="2560007"/>
            <a:ext cx="933776" cy="933776"/>
          </a:xfrm>
          <a:prstGeom prst="rect">
            <a:avLst/>
          </a:prstGeom>
        </p:spPr>
      </p:pic>
      <p:pic>
        <p:nvPicPr>
          <p:cNvPr id="11" name="Picture 10">
            <a:extLst>
              <a:ext uri="{FF2B5EF4-FFF2-40B4-BE49-F238E27FC236}">
                <a16:creationId xmlns:a16="http://schemas.microsoft.com/office/drawing/2014/main" id="{60665E7D-E40B-4085-AE1F-22FF2FF74248}"/>
              </a:ext>
            </a:extLst>
          </p:cNvPr>
          <p:cNvPicPr>
            <a:picLocks noChangeAspect="1"/>
          </p:cNvPicPr>
          <p:nvPr/>
        </p:nvPicPr>
        <p:blipFill>
          <a:blip r:embed="rId4"/>
          <a:stretch>
            <a:fillRect/>
          </a:stretch>
        </p:blipFill>
        <p:spPr>
          <a:xfrm>
            <a:off x="6311031" y="5136768"/>
            <a:ext cx="933776" cy="933776"/>
          </a:xfrm>
          <a:prstGeom prst="rect">
            <a:avLst/>
          </a:prstGeom>
        </p:spPr>
      </p:pic>
      <p:sp>
        <p:nvSpPr>
          <p:cNvPr id="101" name="Striped Right Arrow 8">
            <a:extLst>
              <a:ext uri="{FF2B5EF4-FFF2-40B4-BE49-F238E27FC236}">
                <a16:creationId xmlns:a16="http://schemas.microsoft.com/office/drawing/2014/main" id="{02665DFD-B3C8-4B6F-97DB-15132EC885E3}"/>
              </a:ext>
            </a:extLst>
          </p:cNvPr>
          <p:cNvSpPr/>
          <p:nvPr/>
        </p:nvSpPr>
        <p:spPr bwMode="auto">
          <a:xfrm>
            <a:off x="5181363" y="5348183"/>
            <a:ext cx="826706" cy="466510"/>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endParaRPr lang="en-US" sz="1961" dirty="0">
              <a:gradFill>
                <a:gsLst>
                  <a:gs pos="16814">
                    <a:srgbClr val="FFFFFF"/>
                  </a:gs>
                  <a:gs pos="46000">
                    <a:srgbClr val="FFFFFF"/>
                  </a:gs>
                </a:gsLst>
                <a:lin ang="5400000" scaled="0"/>
              </a:gradFill>
            </a:endParaRPr>
          </a:p>
        </p:txBody>
      </p:sp>
      <p:cxnSp>
        <p:nvCxnSpPr>
          <p:cNvPr id="109" name="Straight Connector 108">
            <a:extLst>
              <a:ext uri="{FF2B5EF4-FFF2-40B4-BE49-F238E27FC236}">
                <a16:creationId xmlns:a16="http://schemas.microsoft.com/office/drawing/2014/main" id="{F63C1C66-6E6F-4CFB-A84D-BD7B4F8BAC16}"/>
              </a:ext>
            </a:extLst>
          </p:cNvPr>
          <p:cNvCxnSpPr>
            <a:cxnSpLocks/>
          </p:cNvCxnSpPr>
          <p:nvPr/>
        </p:nvCxnSpPr>
        <p:spPr>
          <a:xfrm>
            <a:off x="410382" y="4146132"/>
            <a:ext cx="4533826" cy="26057"/>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5AB7F769-8D6D-412C-B5F5-1EB827A2F815}"/>
              </a:ext>
            </a:extLst>
          </p:cNvPr>
          <p:cNvGrpSpPr/>
          <p:nvPr/>
        </p:nvGrpSpPr>
        <p:grpSpPr>
          <a:xfrm>
            <a:off x="3539034" y="2336434"/>
            <a:ext cx="1405174" cy="1468916"/>
            <a:chOff x="3609998" y="2382787"/>
            <a:chExt cx="1433351" cy="1498371"/>
          </a:xfrm>
        </p:grpSpPr>
        <p:pic>
          <p:nvPicPr>
            <p:cNvPr id="30" name="Picture 29">
              <a:extLst>
                <a:ext uri="{FF2B5EF4-FFF2-40B4-BE49-F238E27FC236}">
                  <a16:creationId xmlns:a16="http://schemas.microsoft.com/office/drawing/2014/main" id="{98E32CA5-2E49-4134-96BE-78AA76BA81F6}"/>
                </a:ext>
              </a:extLst>
            </p:cNvPr>
            <p:cNvPicPr>
              <a:picLocks noChangeAspect="1"/>
            </p:cNvPicPr>
            <p:nvPr/>
          </p:nvPicPr>
          <p:blipFill>
            <a:blip r:embed="rId5"/>
            <a:stretch>
              <a:fillRect/>
            </a:stretch>
          </p:blipFill>
          <p:spPr>
            <a:xfrm>
              <a:off x="3909443" y="2382787"/>
              <a:ext cx="780290" cy="780290"/>
            </a:xfrm>
            <a:prstGeom prst="rect">
              <a:avLst/>
            </a:prstGeom>
          </p:spPr>
        </p:pic>
        <p:sp>
          <p:nvSpPr>
            <p:cNvPr id="102" name="TextBox 101">
              <a:extLst>
                <a:ext uri="{FF2B5EF4-FFF2-40B4-BE49-F238E27FC236}">
                  <a16:creationId xmlns:a16="http://schemas.microsoft.com/office/drawing/2014/main" id="{02EF22C5-F71D-450E-B5F5-5D41FC6732A6}"/>
                </a:ext>
              </a:extLst>
            </p:cNvPr>
            <p:cNvSpPr txBox="1"/>
            <p:nvPr/>
          </p:nvSpPr>
          <p:spPr>
            <a:xfrm>
              <a:off x="3609998" y="3087094"/>
              <a:ext cx="1433351" cy="794064"/>
            </a:xfrm>
            <a:prstGeom prst="rect">
              <a:avLst/>
            </a:prstGeom>
            <a:noFill/>
          </p:spPr>
          <p:txBody>
            <a:bodyPr wrap="square" lIns="179285" tIns="143428" rIns="179285" bIns="143428" rtlCol="0">
              <a:spAutoFit/>
            </a:bodyPr>
            <a:lstStyle/>
            <a:p>
              <a:pPr algn="ctr">
                <a:lnSpc>
                  <a:spcPct val="90000"/>
                </a:lnSpc>
                <a:spcAft>
                  <a:spcPts val="588"/>
                </a:spcAft>
              </a:pPr>
              <a:r>
                <a:rPr lang="en-US" sz="1765" dirty="0">
                  <a:gradFill>
                    <a:gsLst>
                      <a:gs pos="2917">
                        <a:schemeClr val="tx1"/>
                      </a:gs>
                      <a:gs pos="30000">
                        <a:schemeClr val="tx1"/>
                      </a:gs>
                    </a:gsLst>
                    <a:lin ang="5400000" scaled="0"/>
                  </a:gradFill>
                </a:rPr>
                <a:t>Stream Analytics</a:t>
              </a:r>
            </a:p>
          </p:txBody>
        </p:sp>
      </p:grpSp>
      <p:grpSp>
        <p:nvGrpSpPr>
          <p:cNvPr id="5" name="Group 4">
            <a:extLst>
              <a:ext uri="{FF2B5EF4-FFF2-40B4-BE49-F238E27FC236}">
                <a16:creationId xmlns:a16="http://schemas.microsoft.com/office/drawing/2014/main" id="{94FD9069-A5B8-413F-B84C-13A07FA6DD3B}"/>
              </a:ext>
            </a:extLst>
          </p:cNvPr>
          <p:cNvGrpSpPr/>
          <p:nvPr/>
        </p:nvGrpSpPr>
        <p:grpSpPr>
          <a:xfrm>
            <a:off x="620101" y="2229097"/>
            <a:ext cx="2824044" cy="1564025"/>
            <a:chOff x="632535" y="2273298"/>
            <a:chExt cx="2880672" cy="1595387"/>
          </a:xfrm>
        </p:grpSpPr>
        <p:pic>
          <p:nvPicPr>
            <p:cNvPr id="26" name="Picture 25">
              <a:extLst>
                <a:ext uri="{FF2B5EF4-FFF2-40B4-BE49-F238E27FC236}">
                  <a16:creationId xmlns:a16="http://schemas.microsoft.com/office/drawing/2014/main" id="{AC121544-87C5-4761-BB5D-A0B8F8B2A518}"/>
                </a:ext>
              </a:extLst>
            </p:cNvPr>
            <p:cNvPicPr>
              <a:picLocks noChangeAspect="1"/>
            </p:cNvPicPr>
            <p:nvPr/>
          </p:nvPicPr>
          <p:blipFill>
            <a:blip r:embed="rId6"/>
            <a:stretch>
              <a:fillRect/>
            </a:stretch>
          </p:blipFill>
          <p:spPr>
            <a:xfrm>
              <a:off x="931269" y="2273298"/>
              <a:ext cx="780290" cy="780290"/>
            </a:xfrm>
            <a:prstGeom prst="rect">
              <a:avLst/>
            </a:prstGeom>
          </p:spPr>
        </p:pic>
        <p:pic>
          <p:nvPicPr>
            <p:cNvPr id="28" name="Picture 27">
              <a:extLst>
                <a:ext uri="{FF2B5EF4-FFF2-40B4-BE49-F238E27FC236}">
                  <a16:creationId xmlns:a16="http://schemas.microsoft.com/office/drawing/2014/main" id="{FB030334-456C-42F0-A61C-DEE20D2AF3FD}"/>
                </a:ext>
              </a:extLst>
            </p:cNvPr>
            <p:cNvPicPr>
              <a:picLocks noChangeAspect="1"/>
            </p:cNvPicPr>
            <p:nvPr/>
          </p:nvPicPr>
          <p:blipFill>
            <a:blip r:embed="rId7"/>
            <a:stretch>
              <a:fillRect/>
            </a:stretch>
          </p:blipFill>
          <p:spPr>
            <a:xfrm>
              <a:off x="2420356" y="2351293"/>
              <a:ext cx="780290" cy="780290"/>
            </a:xfrm>
            <a:prstGeom prst="rect">
              <a:avLst/>
            </a:prstGeom>
          </p:spPr>
        </p:pic>
        <p:sp>
          <p:nvSpPr>
            <p:cNvPr id="103" name="TextBox 102">
              <a:extLst>
                <a:ext uri="{FF2B5EF4-FFF2-40B4-BE49-F238E27FC236}">
                  <a16:creationId xmlns:a16="http://schemas.microsoft.com/office/drawing/2014/main" id="{1AF8E72A-668F-4B52-80FD-08AEF6BA0C55}"/>
                </a:ext>
              </a:extLst>
            </p:cNvPr>
            <p:cNvSpPr txBox="1"/>
            <p:nvPr/>
          </p:nvSpPr>
          <p:spPr>
            <a:xfrm>
              <a:off x="2079856" y="3097880"/>
              <a:ext cx="1433351" cy="544765"/>
            </a:xfrm>
            <a:prstGeom prst="rect">
              <a:avLst/>
            </a:prstGeom>
            <a:noFill/>
          </p:spPr>
          <p:txBody>
            <a:bodyPr wrap="square" lIns="179285" tIns="143428" rIns="179285" bIns="143428" rtlCol="0">
              <a:spAutoFit/>
            </a:bodyPr>
            <a:lstStyle/>
            <a:p>
              <a:pPr algn="ctr">
                <a:lnSpc>
                  <a:spcPct val="90000"/>
                </a:lnSpc>
                <a:spcAft>
                  <a:spcPts val="588"/>
                </a:spcAft>
              </a:pPr>
              <a:r>
                <a:rPr lang="en-US" sz="1765" dirty="0">
                  <a:gradFill>
                    <a:gsLst>
                      <a:gs pos="2917">
                        <a:schemeClr val="tx1"/>
                      </a:gs>
                      <a:gs pos="30000">
                        <a:schemeClr val="tx1"/>
                      </a:gs>
                    </a:gsLst>
                    <a:lin ang="5400000" scaled="0"/>
                  </a:gradFill>
                </a:rPr>
                <a:t>Cosmo DB</a:t>
              </a:r>
            </a:p>
          </p:txBody>
        </p:sp>
        <p:sp>
          <p:nvSpPr>
            <p:cNvPr id="104" name="TextBox 103">
              <a:extLst>
                <a:ext uri="{FF2B5EF4-FFF2-40B4-BE49-F238E27FC236}">
                  <a16:creationId xmlns:a16="http://schemas.microsoft.com/office/drawing/2014/main" id="{962CCAA0-C232-43EE-A72D-B5B818838C8E}"/>
                </a:ext>
              </a:extLst>
            </p:cNvPr>
            <p:cNvSpPr txBox="1"/>
            <p:nvPr/>
          </p:nvSpPr>
          <p:spPr>
            <a:xfrm>
              <a:off x="632535" y="3074621"/>
              <a:ext cx="1433351" cy="794064"/>
            </a:xfrm>
            <a:prstGeom prst="rect">
              <a:avLst/>
            </a:prstGeom>
            <a:noFill/>
          </p:spPr>
          <p:txBody>
            <a:bodyPr wrap="square" lIns="179285" tIns="143428" rIns="179285" bIns="143428" rtlCol="0">
              <a:spAutoFit/>
            </a:bodyPr>
            <a:lstStyle/>
            <a:p>
              <a:pPr algn="ctr">
                <a:lnSpc>
                  <a:spcPct val="90000"/>
                </a:lnSpc>
                <a:spcAft>
                  <a:spcPts val="588"/>
                </a:spcAft>
              </a:pPr>
              <a:r>
                <a:rPr lang="en-US" sz="1765" dirty="0">
                  <a:gradFill>
                    <a:gsLst>
                      <a:gs pos="2917">
                        <a:schemeClr val="tx1"/>
                      </a:gs>
                      <a:gs pos="30000">
                        <a:schemeClr val="tx1"/>
                      </a:gs>
                    </a:gsLst>
                    <a:lin ang="5400000" scaled="0"/>
                  </a:gradFill>
                </a:rPr>
                <a:t>Machine Learning</a:t>
              </a:r>
            </a:p>
          </p:txBody>
        </p:sp>
      </p:grpSp>
      <p:sp>
        <p:nvSpPr>
          <p:cNvPr id="110" name="TextBox 109">
            <a:extLst>
              <a:ext uri="{FF2B5EF4-FFF2-40B4-BE49-F238E27FC236}">
                <a16:creationId xmlns:a16="http://schemas.microsoft.com/office/drawing/2014/main" id="{2AAF9087-772F-497D-82A5-5DB9379CEED0}"/>
              </a:ext>
            </a:extLst>
          </p:cNvPr>
          <p:cNvSpPr txBox="1"/>
          <p:nvPr/>
        </p:nvSpPr>
        <p:spPr>
          <a:xfrm>
            <a:off x="305362" y="1487561"/>
            <a:ext cx="1161971" cy="615516"/>
          </a:xfrm>
          <a:prstGeom prst="rect">
            <a:avLst/>
          </a:prstGeom>
          <a:noFill/>
        </p:spPr>
        <p:txBody>
          <a:bodyPr wrap="none" lIns="179285" tIns="143428" rIns="179285" bIns="143428" rtlCol="0">
            <a:spAutoFit/>
          </a:bodyPr>
          <a:lstStyle/>
          <a:p>
            <a:pPr>
              <a:lnSpc>
                <a:spcPct val="90000"/>
              </a:lnSpc>
              <a:spcAft>
                <a:spcPts val="588"/>
              </a:spcAft>
            </a:pPr>
            <a:r>
              <a:rPr lang="sv-SE" sz="2353" dirty="0">
                <a:gradFill>
                  <a:gsLst>
                    <a:gs pos="2917">
                      <a:schemeClr val="tx1"/>
                    </a:gs>
                    <a:gs pos="30000">
                      <a:schemeClr val="tx1"/>
                    </a:gs>
                  </a:gsLst>
                  <a:lin ang="5400000" scaled="0"/>
                </a:gradFill>
              </a:rPr>
              <a:t>Events</a:t>
            </a:r>
          </a:p>
        </p:txBody>
      </p:sp>
      <p:grpSp>
        <p:nvGrpSpPr>
          <p:cNvPr id="166" name="Group 165">
            <a:extLst>
              <a:ext uri="{FF2B5EF4-FFF2-40B4-BE49-F238E27FC236}">
                <a16:creationId xmlns:a16="http://schemas.microsoft.com/office/drawing/2014/main" id="{CA71DA1D-BA80-4895-BA52-A101A447333F}"/>
              </a:ext>
            </a:extLst>
          </p:cNvPr>
          <p:cNvGrpSpPr/>
          <p:nvPr/>
        </p:nvGrpSpPr>
        <p:grpSpPr>
          <a:xfrm>
            <a:off x="305362" y="4201141"/>
            <a:ext cx="4504608" cy="2454953"/>
            <a:chOff x="311484" y="4284886"/>
            <a:chExt cx="4594935" cy="2504180"/>
          </a:xfrm>
        </p:grpSpPr>
        <p:grpSp>
          <p:nvGrpSpPr>
            <p:cNvPr id="118" name="Group 117">
              <a:extLst>
                <a:ext uri="{FF2B5EF4-FFF2-40B4-BE49-F238E27FC236}">
                  <a16:creationId xmlns:a16="http://schemas.microsoft.com/office/drawing/2014/main" id="{AEACE1C6-D3DF-44F6-8F4D-0C64461FBFCA}"/>
                </a:ext>
              </a:extLst>
            </p:cNvPr>
            <p:cNvGrpSpPr/>
            <p:nvPr/>
          </p:nvGrpSpPr>
          <p:grpSpPr>
            <a:xfrm>
              <a:off x="471559" y="5183149"/>
              <a:ext cx="4434860" cy="1605917"/>
              <a:chOff x="471559" y="5183149"/>
              <a:chExt cx="4434860" cy="1605917"/>
            </a:xfrm>
          </p:grpSpPr>
          <p:pic>
            <p:nvPicPr>
              <p:cNvPr id="13" name="Picture 12">
                <a:extLst>
                  <a:ext uri="{FF2B5EF4-FFF2-40B4-BE49-F238E27FC236}">
                    <a16:creationId xmlns:a16="http://schemas.microsoft.com/office/drawing/2014/main" id="{F17EB0D7-1801-449A-8773-1A8B6D06A1D0}"/>
                  </a:ext>
                </a:extLst>
              </p:cNvPr>
              <p:cNvPicPr>
                <a:picLocks noChangeAspect="1"/>
              </p:cNvPicPr>
              <p:nvPr/>
            </p:nvPicPr>
            <p:blipFill>
              <a:blip r:embed="rId8"/>
              <a:stretch>
                <a:fillRect/>
              </a:stretch>
            </p:blipFill>
            <p:spPr>
              <a:xfrm>
                <a:off x="774755" y="5183149"/>
                <a:ext cx="826960" cy="826960"/>
              </a:xfrm>
              <a:prstGeom prst="rect">
                <a:avLst/>
              </a:prstGeom>
            </p:spPr>
          </p:pic>
          <p:pic>
            <p:nvPicPr>
              <p:cNvPr id="15" name="Picture 14">
                <a:extLst>
                  <a:ext uri="{FF2B5EF4-FFF2-40B4-BE49-F238E27FC236}">
                    <a16:creationId xmlns:a16="http://schemas.microsoft.com/office/drawing/2014/main" id="{21C2C454-391C-42CC-98BF-0DF50678B953}"/>
                  </a:ext>
                </a:extLst>
              </p:cNvPr>
              <p:cNvPicPr>
                <a:picLocks noChangeAspect="1"/>
              </p:cNvPicPr>
              <p:nvPr/>
            </p:nvPicPr>
            <p:blipFill>
              <a:blip r:embed="rId9"/>
              <a:stretch>
                <a:fillRect/>
              </a:stretch>
            </p:blipFill>
            <p:spPr>
              <a:xfrm>
                <a:off x="2330543" y="5243289"/>
                <a:ext cx="687504" cy="687504"/>
              </a:xfrm>
              <a:prstGeom prst="rect">
                <a:avLst/>
              </a:prstGeom>
            </p:spPr>
          </p:pic>
          <p:pic>
            <p:nvPicPr>
              <p:cNvPr id="21" name="Picture 20">
                <a:extLst>
                  <a:ext uri="{FF2B5EF4-FFF2-40B4-BE49-F238E27FC236}">
                    <a16:creationId xmlns:a16="http://schemas.microsoft.com/office/drawing/2014/main" id="{313F44B8-A846-45E4-89A7-2AAFD9E9DFC9}"/>
                  </a:ext>
                </a:extLst>
              </p:cNvPr>
              <p:cNvPicPr>
                <a:picLocks noChangeAspect="1"/>
              </p:cNvPicPr>
              <p:nvPr/>
            </p:nvPicPr>
            <p:blipFill>
              <a:blip r:embed="rId10"/>
              <a:stretch>
                <a:fillRect/>
              </a:stretch>
            </p:blipFill>
            <p:spPr>
              <a:xfrm>
                <a:off x="3868927" y="5276165"/>
                <a:ext cx="695804" cy="695804"/>
              </a:xfrm>
              <a:prstGeom prst="rect">
                <a:avLst/>
              </a:prstGeom>
            </p:spPr>
          </p:pic>
          <p:sp>
            <p:nvSpPr>
              <p:cNvPr id="105" name="TextBox 104">
                <a:extLst>
                  <a:ext uri="{FF2B5EF4-FFF2-40B4-BE49-F238E27FC236}">
                    <a16:creationId xmlns:a16="http://schemas.microsoft.com/office/drawing/2014/main" id="{479E2570-A9E6-459D-858C-83CF9EC1101C}"/>
                  </a:ext>
                </a:extLst>
              </p:cNvPr>
              <p:cNvSpPr txBox="1"/>
              <p:nvPr/>
            </p:nvSpPr>
            <p:spPr>
              <a:xfrm>
                <a:off x="471559" y="5995002"/>
                <a:ext cx="1433351" cy="794064"/>
              </a:xfrm>
              <a:prstGeom prst="rect">
                <a:avLst/>
              </a:prstGeom>
              <a:noFill/>
            </p:spPr>
            <p:txBody>
              <a:bodyPr wrap="square" lIns="179285" tIns="143428" rIns="179285" bIns="143428" rtlCol="0">
                <a:spAutoFit/>
              </a:bodyPr>
              <a:lstStyle/>
              <a:p>
                <a:pPr algn="ctr">
                  <a:lnSpc>
                    <a:spcPct val="90000"/>
                  </a:lnSpc>
                  <a:spcAft>
                    <a:spcPts val="588"/>
                  </a:spcAft>
                </a:pPr>
                <a:r>
                  <a:rPr lang="en-US" sz="1765" dirty="0">
                    <a:gradFill>
                      <a:gsLst>
                        <a:gs pos="2917">
                          <a:schemeClr val="tx1"/>
                        </a:gs>
                        <a:gs pos="30000">
                          <a:schemeClr val="tx1"/>
                        </a:gs>
                      </a:gsLst>
                      <a:lin ang="5400000" scaled="0"/>
                    </a:gradFill>
                  </a:rPr>
                  <a:t>Function App</a:t>
                </a:r>
              </a:p>
            </p:txBody>
          </p:sp>
          <p:sp>
            <p:nvSpPr>
              <p:cNvPr id="106" name="TextBox 105">
                <a:extLst>
                  <a:ext uri="{FF2B5EF4-FFF2-40B4-BE49-F238E27FC236}">
                    <a16:creationId xmlns:a16="http://schemas.microsoft.com/office/drawing/2014/main" id="{0F6EDC7D-4A15-485F-B8FB-69F719AE3431}"/>
                  </a:ext>
                </a:extLst>
              </p:cNvPr>
              <p:cNvSpPr txBox="1"/>
              <p:nvPr/>
            </p:nvSpPr>
            <p:spPr>
              <a:xfrm>
                <a:off x="1905275" y="6014694"/>
                <a:ext cx="1433351" cy="544765"/>
              </a:xfrm>
              <a:prstGeom prst="rect">
                <a:avLst/>
              </a:prstGeom>
              <a:noFill/>
            </p:spPr>
            <p:txBody>
              <a:bodyPr wrap="square" lIns="179285" tIns="143428" rIns="179285" bIns="143428" rtlCol="0">
                <a:spAutoFit/>
              </a:bodyPr>
              <a:lstStyle/>
              <a:p>
                <a:pPr algn="ctr">
                  <a:lnSpc>
                    <a:spcPct val="90000"/>
                  </a:lnSpc>
                  <a:spcAft>
                    <a:spcPts val="588"/>
                  </a:spcAft>
                </a:pPr>
                <a:r>
                  <a:rPr lang="en-US" sz="1765" dirty="0">
                    <a:gradFill>
                      <a:gsLst>
                        <a:gs pos="2917">
                          <a:schemeClr val="tx1"/>
                        </a:gs>
                        <a:gs pos="30000">
                          <a:schemeClr val="tx1"/>
                        </a:gs>
                      </a:gsLst>
                      <a:lin ang="5400000" scaled="0"/>
                    </a:gradFill>
                  </a:rPr>
                  <a:t>Logic App</a:t>
                </a:r>
              </a:p>
            </p:txBody>
          </p:sp>
          <p:sp>
            <p:nvSpPr>
              <p:cNvPr id="107" name="TextBox 106">
                <a:extLst>
                  <a:ext uri="{FF2B5EF4-FFF2-40B4-BE49-F238E27FC236}">
                    <a16:creationId xmlns:a16="http://schemas.microsoft.com/office/drawing/2014/main" id="{BC8CF418-A6E5-4536-8D36-5F23DA10C5FE}"/>
                  </a:ext>
                </a:extLst>
              </p:cNvPr>
              <p:cNvSpPr txBox="1"/>
              <p:nvPr/>
            </p:nvSpPr>
            <p:spPr>
              <a:xfrm>
                <a:off x="3473068" y="6010109"/>
                <a:ext cx="1433351" cy="544765"/>
              </a:xfrm>
              <a:prstGeom prst="rect">
                <a:avLst/>
              </a:prstGeom>
              <a:noFill/>
            </p:spPr>
            <p:txBody>
              <a:bodyPr wrap="square" lIns="179285" tIns="143428" rIns="179285" bIns="143428" rtlCol="0">
                <a:spAutoFit/>
              </a:bodyPr>
              <a:lstStyle/>
              <a:p>
                <a:pPr algn="ctr">
                  <a:lnSpc>
                    <a:spcPct val="90000"/>
                  </a:lnSpc>
                  <a:spcAft>
                    <a:spcPts val="588"/>
                  </a:spcAft>
                </a:pPr>
                <a:r>
                  <a:rPr lang="en-US" sz="1765" dirty="0">
                    <a:gradFill>
                      <a:gsLst>
                        <a:gs pos="2917">
                          <a:schemeClr val="tx1"/>
                        </a:gs>
                        <a:gs pos="30000">
                          <a:schemeClr val="tx1"/>
                        </a:gs>
                      </a:gsLst>
                      <a:lin ang="5400000" scaled="0"/>
                    </a:gradFill>
                  </a:rPr>
                  <a:t>Custom</a:t>
                </a:r>
              </a:p>
            </p:txBody>
          </p:sp>
        </p:grpSp>
        <p:sp>
          <p:nvSpPr>
            <p:cNvPr id="111" name="TextBox 110">
              <a:extLst>
                <a:ext uri="{FF2B5EF4-FFF2-40B4-BE49-F238E27FC236}">
                  <a16:creationId xmlns:a16="http://schemas.microsoft.com/office/drawing/2014/main" id="{26BB19CF-F1E3-4D90-9C32-07422FAEDA2D}"/>
                </a:ext>
              </a:extLst>
            </p:cNvPr>
            <p:cNvSpPr txBox="1"/>
            <p:nvPr/>
          </p:nvSpPr>
          <p:spPr>
            <a:xfrm>
              <a:off x="311484" y="4284886"/>
              <a:ext cx="1698707" cy="627858"/>
            </a:xfrm>
            <a:prstGeom prst="rect">
              <a:avLst/>
            </a:prstGeom>
            <a:noFill/>
          </p:spPr>
          <p:txBody>
            <a:bodyPr wrap="none" lIns="179285" tIns="143428" rIns="179285" bIns="143428" rtlCol="0">
              <a:spAutoFit/>
            </a:bodyPr>
            <a:lstStyle/>
            <a:p>
              <a:pPr>
                <a:lnSpc>
                  <a:spcPct val="90000"/>
                </a:lnSpc>
                <a:spcAft>
                  <a:spcPts val="588"/>
                </a:spcAft>
              </a:pPr>
              <a:r>
                <a:rPr lang="sv-SE" sz="2353" dirty="0" err="1">
                  <a:gradFill>
                    <a:gsLst>
                      <a:gs pos="2917">
                        <a:schemeClr val="tx1"/>
                      </a:gs>
                      <a:gs pos="30000">
                        <a:schemeClr val="tx1"/>
                      </a:gs>
                    </a:gsLst>
                    <a:lin ang="5400000" scaled="0"/>
                  </a:gradFill>
                </a:rPr>
                <a:t>Messaging</a:t>
              </a:r>
              <a:endParaRPr lang="sv-SE" sz="2353" dirty="0">
                <a:gradFill>
                  <a:gsLst>
                    <a:gs pos="2917">
                      <a:schemeClr val="tx1"/>
                    </a:gs>
                    <a:gs pos="30000">
                      <a:schemeClr val="tx1"/>
                    </a:gs>
                  </a:gsLst>
                  <a:lin ang="5400000" scaled="0"/>
                </a:gradFill>
              </a:endParaRPr>
            </a:p>
          </p:txBody>
        </p:sp>
      </p:grpSp>
      <p:sp>
        <p:nvSpPr>
          <p:cNvPr id="113" name="Rectangle: Rounded Corners 112">
            <a:extLst>
              <a:ext uri="{FF2B5EF4-FFF2-40B4-BE49-F238E27FC236}">
                <a16:creationId xmlns:a16="http://schemas.microsoft.com/office/drawing/2014/main" id="{24793451-908E-4F7B-B987-E0401F65600B}"/>
              </a:ext>
            </a:extLst>
          </p:cNvPr>
          <p:cNvSpPr/>
          <p:nvPr/>
        </p:nvSpPr>
        <p:spPr bwMode="auto">
          <a:xfrm>
            <a:off x="5558151" y="1725812"/>
            <a:ext cx="2420321" cy="4840641"/>
          </a:xfrm>
          <a:prstGeom prst="roundRect">
            <a:avLst>
              <a:gd name="adj" fmla="val 1710"/>
            </a:avLst>
          </a:prstGeom>
          <a:no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sv-SE" sz="1961" dirty="0">
              <a:gradFill>
                <a:gsLst>
                  <a:gs pos="5417">
                    <a:schemeClr val="accent6"/>
                  </a:gs>
                  <a:gs pos="100000">
                    <a:schemeClr val="accent6"/>
                  </a:gs>
                </a:gsLst>
                <a:lin ang="5400000" scaled="0"/>
              </a:gradFill>
            </a:endParaRPr>
          </a:p>
        </p:txBody>
      </p:sp>
      <p:pic>
        <p:nvPicPr>
          <p:cNvPr id="115" name="Picture 114">
            <a:extLst>
              <a:ext uri="{FF2B5EF4-FFF2-40B4-BE49-F238E27FC236}">
                <a16:creationId xmlns:a16="http://schemas.microsoft.com/office/drawing/2014/main" id="{97868F6C-6D95-43E6-89C6-E0FA44B358EB}"/>
              </a:ext>
            </a:extLst>
          </p:cNvPr>
          <p:cNvPicPr>
            <a:picLocks noChangeAspect="1"/>
          </p:cNvPicPr>
          <p:nvPr/>
        </p:nvPicPr>
        <p:blipFill>
          <a:blip r:embed="rId11"/>
          <a:stretch>
            <a:fillRect/>
          </a:stretch>
        </p:blipFill>
        <p:spPr>
          <a:xfrm>
            <a:off x="6395444" y="3646034"/>
            <a:ext cx="764951" cy="764951"/>
          </a:xfrm>
          <a:prstGeom prst="rect">
            <a:avLst/>
          </a:prstGeom>
        </p:spPr>
      </p:pic>
      <p:sp>
        <p:nvSpPr>
          <p:cNvPr id="116" name="TextBox 115">
            <a:extLst>
              <a:ext uri="{FF2B5EF4-FFF2-40B4-BE49-F238E27FC236}">
                <a16:creationId xmlns:a16="http://schemas.microsoft.com/office/drawing/2014/main" id="{AFA75872-4689-4DD0-A263-AD18A3A38CEF}"/>
              </a:ext>
            </a:extLst>
          </p:cNvPr>
          <p:cNvSpPr txBox="1"/>
          <p:nvPr/>
        </p:nvSpPr>
        <p:spPr>
          <a:xfrm>
            <a:off x="5558151" y="1677123"/>
            <a:ext cx="1317461" cy="615516"/>
          </a:xfrm>
          <a:prstGeom prst="rect">
            <a:avLst/>
          </a:prstGeom>
          <a:noFill/>
        </p:spPr>
        <p:txBody>
          <a:bodyPr wrap="none" lIns="179285" tIns="143428" rIns="179285" bIns="143428" rtlCol="0">
            <a:spAutoFit/>
          </a:bodyPr>
          <a:lstStyle/>
          <a:p>
            <a:pPr>
              <a:lnSpc>
                <a:spcPct val="90000"/>
              </a:lnSpc>
              <a:spcAft>
                <a:spcPts val="588"/>
              </a:spcAft>
            </a:pPr>
            <a:r>
              <a:rPr lang="sv-SE" sz="2353" dirty="0">
                <a:gradFill>
                  <a:gsLst>
                    <a:gs pos="2917">
                      <a:schemeClr val="tx1"/>
                    </a:gs>
                    <a:gs pos="30000">
                      <a:schemeClr val="tx1"/>
                    </a:gs>
                  </a:gsLst>
                  <a:lin ang="5400000" scaled="0"/>
                </a:gradFill>
              </a:rPr>
              <a:t>IoT </a:t>
            </a:r>
            <a:r>
              <a:rPr lang="sv-SE" sz="2353" dirty="0" err="1">
                <a:gradFill>
                  <a:gsLst>
                    <a:gs pos="2917">
                      <a:schemeClr val="tx1"/>
                    </a:gs>
                    <a:gs pos="30000">
                      <a:schemeClr val="tx1"/>
                    </a:gs>
                  </a:gsLst>
                  <a:lin ang="5400000" scaled="0"/>
                </a:gradFill>
              </a:rPr>
              <a:t>Hub</a:t>
            </a:r>
            <a:endParaRPr lang="sv-SE" sz="2353" dirty="0">
              <a:gradFill>
                <a:gsLst>
                  <a:gs pos="2917">
                    <a:schemeClr val="tx1"/>
                  </a:gs>
                  <a:gs pos="30000">
                    <a:schemeClr val="tx1"/>
                  </a:gs>
                </a:gsLst>
                <a:lin ang="5400000" scaled="0"/>
              </a:gradFill>
            </a:endParaRPr>
          </a:p>
        </p:txBody>
      </p:sp>
      <p:sp>
        <p:nvSpPr>
          <p:cNvPr id="119" name="Striped Right Arrow 8">
            <a:extLst>
              <a:ext uri="{FF2B5EF4-FFF2-40B4-BE49-F238E27FC236}">
                <a16:creationId xmlns:a16="http://schemas.microsoft.com/office/drawing/2014/main" id="{47EAE16E-2B2E-4051-9FE3-37BB7230F3A3}"/>
              </a:ext>
            </a:extLst>
          </p:cNvPr>
          <p:cNvSpPr/>
          <p:nvPr/>
        </p:nvSpPr>
        <p:spPr bwMode="auto">
          <a:xfrm rot="10800000">
            <a:off x="5167636" y="2837254"/>
            <a:ext cx="826706" cy="466510"/>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endParaRPr lang="en-US" sz="1961" dirty="0">
              <a:gradFill>
                <a:gsLst>
                  <a:gs pos="16814">
                    <a:srgbClr val="FFFFFF"/>
                  </a:gs>
                  <a:gs pos="46000">
                    <a:srgbClr val="FFFFFF"/>
                  </a:gs>
                </a:gsLst>
                <a:lin ang="5400000" scaled="0"/>
              </a:gradFill>
            </a:endParaRPr>
          </a:p>
        </p:txBody>
      </p:sp>
      <p:grpSp>
        <p:nvGrpSpPr>
          <p:cNvPr id="164" name="Group 163">
            <a:extLst>
              <a:ext uri="{FF2B5EF4-FFF2-40B4-BE49-F238E27FC236}">
                <a16:creationId xmlns:a16="http://schemas.microsoft.com/office/drawing/2014/main" id="{9B5E9F06-D4F0-434F-A285-098557D0357A}"/>
              </a:ext>
            </a:extLst>
          </p:cNvPr>
          <p:cNvGrpSpPr/>
          <p:nvPr/>
        </p:nvGrpSpPr>
        <p:grpSpPr>
          <a:xfrm>
            <a:off x="10010346" y="2174019"/>
            <a:ext cx="1463653" cy="4118673"/>
            <a:chOff x="10211074" y="2217116"/>
            <a:chExt cx="1493002" cy="4201261"/>
          </a:xfrm>
        </p:grpSpPr>
        <p:sp>
          <p:nvSpPr>
            <p:cNvPr id="33" name="Frame 5">
              <a:extLst>
                <a:ext uri="{FF2B5EF4-FFF2-40B4-BE49-F238E27FC236}">
                  <a16:creationId xmlns:a16="http://schemas.microsoft.com/office/drawing/2014/main" id="{6AAE7A2C-6358-40E7-80E9-A1C9E77E5519}"/>
                </a:ext>
              </a:extLst>
            </p:cNvPr>
            <p:cNvSpPr>
              <a:spLocks noChangeAspect="1"/>
            </p:cNvSpPr>
            <p:nvPr/>
          </p:nvSpPr>
          <p:spPr bwMode="auto">
            <a:xfrm>
              <a:off x="10211074" y="221711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34" name="Frame 5">
              <a:extLst>
                <a:ext uri="{FF2B5EF4-FFF2-40B4-BE49-F238E27FC236}">
                  <a16:creationId xmlns:a16="http://schemas.microsoft.com/office/drawing/2014/main" id="{5C849056-4454-4CC7-BDA9-0E8FBA756913}"/>
                </a:ext>
              </a:extLst>
            </p:cNvPr>
            <p:cNvSpPr>
              <a:spLocks noChangeAspect="1"/>
            </p:cNvSpPr>
            <p:nvPr/>
          </p:nvSpPr>
          <p:spPr bwMode="auto">
            <a:xfrm>
              <a:off x="10513330" y="221711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35" name="Frame 5">
              <a:extLst>
                <a:ext uri="{FF2B5EF4-FFF2-40B4-BE49-F238E27FC236}">
                  <a16:creationId xmlns:a16="http://schemas.microsoft.com/office/drawing/2014/main" id="{F034945C-E844-45EE-B43D-EDEEE24F2B8C}"/>
                </a:ext>
              </a:extLst>
            </p:cNvPr>
            <p:cNvSpPr>
              <a:spLocks noChangeAspect="1"/>
            </p:cNvSpPr>
            <p:nvPr/>
          </p:nvSpPr>
          <p:spPr bwMode="auto">
            <a:xfrm>
              <a:off x="10815586" y="221711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36" name="Frame 5">
              <a:extLst>
                <a:ext uri="{FF2B5EF4-FFF2-40B4-BE49-F238E27FC236}">
                  <a16:creationId xmlns:a16="http://schemas.microsoft.com/office/drawing/2014/main" id="{EF2CD93F-41DC-4424-87A7-F36BC69361C2}"/>
                </a:ext>
              </a:extLst>
            </p:cNvPr>
            <p:cNvSpPr>
              <a:spLocks noChangeAspect="1"/>
            </p:cNvSpPr>
            <p:nvPr/>
          </p:nvSpPr>
          <p:spPr bwMode="auto">
            <a:xfrm>
              <a:off x="11117842" y="221711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39" name="Frame 5">
              <a:extLst>
                <a:ext uri="{FF2B5EF4-FFF2-40B4-BE49-F238E27FC236}">
                  <a16:creationId xmlns:a16="http://schemas.microsoft.com/office/drawing/2014/main" id="{5E9401BB-E31E-47AC-8E3B-BD35768D447C}"/>
                </a:ext>
              </a:extLst>
            </p:cNvPr>
            <p:cNvSpPr>
              <a:spLocks noChangeAspect="1"/>
            </p:cNvSpPr>
            <p:nvPr/>
          </p:nvSpPr>
          <p:spPr bwMode="auto">
            <a:xfrm>
              <a:off x="11420098" y="221711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42" name="Frame 5">
              <a:extLst>
                <a:ext uri="{FF2B5EF4-FFF2-40B4-BE49-F238E27FC236}">
                  <a16:creationId xmlns:a16="http://schemas.microsoft.com/office/drawing/2014/main" id="{2B912413-298F-414F-A211-EF7F299E3F8E}"/>
                </a:ext>
              </a:extLst>
            </p:cNvPr>
            <p:cNvSpPr>
              <a:spLocks noChangeAspect="1"/>
            </p:cNvSpPr>
            <p:nvPr/>
          </p:nvSpPr>
          <p:spPr bwMode="auto">
            <a:xfrm>
              <a:off x="10211074" y="251989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43" name="Frame 5">
              <a:extLst>
                <a:ext uri="{FF2B5EF4-FFF2-40B4-BE49-F238E27FC236}">
                  <a16:creationId xmlns:a16="http://schemas.microsoft.com/office/drawing/2014/main" id="{34976A55-D731-48AA-A549-99AC45334BBC}"/>
                </a:ext>
              </a:extLst>
            </p:cNvPr>
            <p:cNvSpPr>
              <a:spLocks noChangeAspect="1"/>
            </p:cNvSpPr>
            <p:nvPr/>
          </p:nvSpPr>
          <p:spPr bwMode="auto">
            <a:xfrm>
              <a:off x="10513330" y="251989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46" name="Frame 5">
              <a:extLst>
                <a:ext uri="{FF2B5EF4-FFF2-40B4-BE49-F238E27FC236}">
                  <a16:creationId xmlns:a16="http://schemas.microsoft.com/office/drawing/2014/main" id="{B573AF9F-5597-4D79-9B2B-0FD1EDB0CC51}"/>
                </a:ext>
              </a:extLst>
            </p:cNvPr>
            <p:cNvSpPr>
              <a:spLocks noChangeAspect="1"/>
            </p:cNvSpPr>
            <p:nvPr/>
          </p:nvSpPr>
          <p:spPr bwMode="auto">
            <a:xfrm>
              <a:off x="10815586" y="251989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47" name="Frame 5">
              <a:extLst>
                <a:ext uri="{FF2B5EF4-FFF2-40B4-BE49-F238E27FC236}">
                  <a16:creationId xmlns:a16="http://schemas.microsoft.com/office/drawing/2014/main" id="{B26878EC-CDDD-4E11-9D62-E145FF4CE167}"/>
                </a:ext>
              </a:extLst>
            </p:cNvPr>
            <p:cNvSpPr>
              <a:spLocks noChangeAspect="1"/>
            </p:cNvSpPr>
            <p:nvPr/>
          </p:nvSpPr>
          <p:spPr bwMode="auto">
            <a:xfrm>
              <a:off x="11117842" y="251989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48" name="Frame 5">
              <a:extLst>
                <a:ext uri="{FF2B5EF4-FFF2-40B4-BE49-F238E27FC236}">
                  <a16:creationId xmlns:a16="http://schemas.microsoft.com/office/drawing/2014/main" id="{1A6CE0E6-7CE0-42D2-85F1-57CD5BA9DCCD}"/>
                </a:ext>
              </a:extLst>
            </p:cNvPr>
            <p:cNvSpPr>
              <a:spLocks noChangeAspect="1"/>
            </p:cNvSpPr>
            <p:nvPr/>
          </p:nvSpPr>
          <p:spPr bwMode="auto">
            <a:xfrm>
              <a:off x="11420098" y="251989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53" name="Frame 5">
              <a:extLst>
                <a:ext uri="{FF2B5EF4-FFF2-40B4-BE49-F238E27FC236}">
                  <a16:creationId xmlns:a16="http://schemas.microsoft.com/office/drawing/2014/main" id="{CE454E77-91CB-4020-9833-5204C3854A7C}"/>
                </a:ext>
              </a:extLst>
            </p:cNvPr>
            <p:cNvSpPr>
              <a:spLocks noChangeAspect="1"/>
            </p:cNvSpPr>
            <p:nvPr/>
          </p:nvSpPr>
          <p:spPr bwMode="auto">
            <a:xfrm>
              <a:off x="10211074" y="282268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67" name="Frame 5">
              <a:extLst>
                <a:ext uri="{FF2B5EF4-FFF2-40B4-BE49-F238E27FC236}">
                  <a16:creationId xmlns:a16="http://schemas.microsoft.com/office/drawing/2014/main" id="{B16B5240-C5D8-4A6B-B038-8DBD80C59F37}"/>
                </a:ext>
              </a:extLst>
            </p:cNvPr>
            <p:cNvSpPr>
              <a:spLocks noChangeAspect="1"/>
            </p:cNvSpPr>
            <p:nvPr/>
          </p:nvSpPr>
          <p:spPr bwMode="auto">
            <a:xfrm>
              <a:off x="10513330" y="282268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68" name="Frame 5">
              <a:extLst>
                <a:ext uri="{FF2B5EF4-FFF2-40B4-BE49-F238E27FC236}">
                  <a16:creationId xmlns:a16="http://schemas.microsoft.com/office/drawing/2014/main" id="{4666DB86-135B-4977-AF56-26384905C98A}"/>
                </a:ext>
              </a:extLst>
            </p:cNvPr>
            <p:cNvSpPr>
              <a:spLocks noChangeAspect="1"/>
            </p:cNvSpPr>
            <p:nvPr/>
          </p:nvSpPr>
          <p:spPr bwMode="auto">
            <a:xfrm>
              <a:off x="10815586" y="282268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69" name="Frame 5">
              <a:extLst>
                <a:ext uri="{FF2B5EF4-FFF2-40B4-BE49-F238E27FC236}">
                  <a16:creationId xmlns:a16="http://schemas.microsoft.com/office/drawing/2014/main" id="{17C8D3EE-5D42-48E0-97AB-343907FF0ABA}"/>
                </a:ext>
              </a:extLst>
            </p:cNvPr>
            <p:cNvSpPr>
              <a:spLocks noChangeAspect="1"/>
            </p:cNvSpPr>
            <p:nvPr/>
          </p:nvSpPr>
          <p:spPr bwMode="auto">
            <a:xfrm>
              <a:off x="11117842" y="282268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70" name="Frame 5">
              <a:extLst>
                <a:ext uri="{FF2B5EF4-FFF2-40B4-BE49-F238E27FC236}">
                  <a16:creationId xmlns:a16="http://schemas.microsoft.com/office/drawing/2014/main" id="{F1DAB5A2-7AFC-445C-B47D-A7BE26EA7F8C}"/>
                </a:ext>
              </a:extLst>
            </p:cNvPr>
            <p:cNvSpPr>
              <a:spLocks noChangeAspect="1"/>
            </p:cNvSpPr>
            <p:nvPr/>
          </p:nvSpPr>
          <p:spPr bwMode="auto">
            <a:xfrm>
              <a:off x="11420098" y="282268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73" name="Frame 5">
              <a:extLst>
                <a:ext uri="{FF2B5EF4-FFF2-40B4-BE49-F238E27FC236}">
                  <a16:creationId xmlns:a16="http://schemas.microsoft.com/office/drawing/2014/main" id="{69D1C89B-A4E0-4212-8E80-702A6945FFB2}"/>
                </a:ext>
              </a:extLst>
            </p:cNvPr>
            <p:cNvSpPr>
              <a:spLocks noChangeAspect="1"/>
            </p:cNvSpPr>
            <p:nvPr/>
          </p:nvSpPr>
          <p:spPr bwMode="auto">
            <a:xfrm>
              <a:off x="10211074" y="312546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74" name="Frame 5">
              <a:extLst>
                <a:ext uri="{FF2B5EF4-FFF2-40B4-BE49-F238E27FC236}">
                  <a16:creationId xmlns:a16="http://schemas.microsoft.com/office/drawing/2014/main" id="{B6B9C6A8-1743-4FB2-9A59-A8AF9618A9E9}"/>
                </a:ext>
              </a:extLst>
            </p:cNvPr>
            <p:cNvSpPr>
              <a:spLocks noChangeAspect="1"/>
            </p:cNvSpPr>
            <p:nvPr/>
          </p:nvSpPr>
          <p:spPr bwMode="auto">
            <a:xfrm>
              <a:off x="10513330" y="312546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75" name="Frame 5">
              <a:extLst>
                <a:ext uri="{FF2B5EF4-FFF2-40B4-BE49-F238E27FC236}">
                  <a16:creationId xmlns:a16="http://schemas.microsoft.com/office/drawing/2014/main" id="{319475CC-5168-4FC2-9FC1-B5384E596BC4}"/>
                </a:ext>
              </a:extLst>
            </p:cNvPr>
            <p:cNvSpPr>
              <a:spLocks noChangeAspect="1"/>
            </p:cNvSpPr>
            <p:nvPr/>
          </p:nvSpPr>
          <p:spPr bwMode="auto">
            <a:xfrm>
              <a:off x="10815586" y="312546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76" name="Frame 5">
              <a:extLst>
                <a:ext uri="{FF2B5EF4-FFF2-40B4-BE49-F238E27FC236}">
                  <a16:creationId xmlns:a16="http://schemas.microsoft.com/office/drawing/2014/main" id="{AB565922-F561-49B5-A281-D9E7C7D0094F}"/>
                </a:ext>
              </a:extLst>
            </p:cNvPr>
            <p:cNvSpPr>
              <a:spLocks noChangeAspect="1"/>
            </p:cNvSpPr>
            <p:nvPr/>
          </p:nvSpPr>
          <p:spPr bwMode="auto">
            <a:xfrm>
              <a:off x="11117842" y="312546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77" name="Frame 5">
              <a:extLst>
                <a:ext uri="{FF2B5EF4-FFF2-40B4-BE49-F238E27FC236}">
                  <a16:creationId xmlns:a16="http://schemas.microsoft.com/office/drawing/2014/main" id="{4C2B2821-FD88-42A7-984B-91F1757E0FC1}"/>
                </a:ext>
              </a:extLst>
            </p:cNvPr>
            <p:cNvSpPr>
              <a:spLocks noChangeAspect="1"/>
            </p:cNvSpPr>
            <p:nvPr/>
          </p:nvSpPr>
          <p:spPr bwMode="auto">
            <a:xfrm>
              <a:off x="11420098" y="312546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80" name="Frame 5">
              <a:extLst>
                <a:ext uri="{FF2B5EF4-FFF2-40B4-BE49-F238E27FC236}">
                  <a16:creationId xmlns:a16="http://schemas.microsoft.com/office/drawing/2014/main" id="{150AC678-BAA5-42F3-A6B1-3CA64B1FD66C}"/>
                </a:ext>
              </a:extLst>
            </p:cNvPr>
            <p:cNvSpPr>
              <a:spLocks noChangeAspect="1"/>
            </p:cNvSpPr>
            <p:nvPr/>
          </p:nvSpPr>
          <p:spPr bwMode="auto">
            <a:xfrm>
              <a:off x="10211074" y="342824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81" name="Frame 5">
              <a:extLst>
                <a:ext uri="{FF2B5EF4-FFF2-40B4-BE49-F238E27FC236}">
                  <a16:creationId xmlns:a16="http://schemas.microsoft.com/office/drawing/2014/main" id="{AB89F195-BF01-47E7-94A8-41F91A8812F7}"/>
                </a:ext>
              </a:extLst>
            </p:cNvPr>
            <p:cNvSpPr>
              <a:spLocks noChangeAspect="1"/>
            </p:cNvSpPr>
            <p:nvPr/>
          </p:nvSpPr>
          <p:spPr bwMode="auto">
            <a:xfrm>
              <a:off x="10513330" y="342824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82" name="Frame 5">
              <a:extLst>
                <a:ext uri="{FF2B5EF4-FFF2-40B4-BE49-F238E27FC236}">
                  <a16:creationId xmlns:a16="http://schemas.microsoft.com/office/drawing/2014/main" id="{15C5526C-740A-4A13-A506-47578FAE5E94}"/>
                </a:ext>
              </a:extLst>
            </p:cNvPr>
            <p:cNvSpPr>
              <a:spLocks noChangeAspect="1"/>
            </p:cNvSpPr>
            <p:nvPr/>
          </p:nvSpPr>
          <p:spPr bwMode="auto">
            <a:xfrm>
              <a:off x="10815586" y="342824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83" name="Frame 5">
              <a:extLst>
                <a:ext uri="{FF2B5EF4-FFF2-40B4-BE49-F238E27FC236}">
                  <a16:creationId xmlns:a16="http://schemas.microsoft.com/office/drawing/2014/main" id="{1114B207-3C69-4D08-A13C-456C36FB4854}"/>
                </a:ext>
              </a:extLst>
            </p:cNvPr>
            <p:cNvSpPr>
              <a:spLocks noChangeAspect="1"/>
            </p:cNvSpPr>
            <p:nvPr/>
          </p:nvSpPr>
          <p:spPr bwMode="auto">
            <a:xfrm>
              <a:off x="11117842" y="342824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84" name="Frame 5">
              <a:extLst>
                <a:ext uri="{FF2B5EF4-FFF2-40B4-BE49-F238E27FC236}">
                  <a16:creationId xmlns:a16="http://schemas.microsoft.com/office/drawing/2014/main" id="{19BBEE82-DDB9-44F0-B1BC-E4D977A41736}"/>
                </a:ext>
              </a:extLst>
            </p:cNvPr>
            <p:cNvSpPr>
              <a:spLocks noChangeAspect="1"/>
            </p:cNvSpPr>
            <p:nvPr/>
          </p:nvSpPr>
          <p:spPr bwMode="auto">
            <a:xfrm>
              <a:off x="11420098" y="342824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87" name="Frame 5">
              <a:extLst>
                <a:ext uri="{FF2B5EF4-FFF2-40B4-BE49-F238E27FC236}">
                  <a16:creationId xmlns:a16="http://schemas.microsoft.com/office/drawing/2014/main" id="{9025E1AF-6731-40D9-BFC8-02E1D1D5424C}"/>
                </a:ext>
              </a:extLst>
            </p:cNvPr>
            <p:cNvSpPr>
              <a:spLocks noChangeAspect="1"/>
            </p:cNvSpPr>
            <p:nvPr/>
          </p:nvSpPr>
          <p:spPr bwMode="auto">
            <a:xfrm>
              <a:off x="10211074" y="373103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88" name="Frame 5">
              <a:extLst>
                <a:ext uri="{FF2B5EF4-FFF2-40B4-BE49-F238E27FC236}">
                  <a16:creationId xmlns:a16="http://schemas.microsoft.com/office/drawing/2014/main" id="{CE52CEA9-0803-45B5-8371-72BD5DDB0B44}"/>
                </a:ext>
              </a:extLst>
            </p:cNvPr>
            <p:cNvSpPr>
              <a:spLocks noChangeAspect="1"/>
            </p:cNvSpPr>
            <p:nvPr/>
          </p:nvSpPr>
          <p:spPr bwMode="auto">
            <a:xfrm>
              <a:off x="10513330" y="373103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89" name="Frame 5">
              <a:extLst>
                <a:ext uri="{FF2B5EF4-FFF2-40B4-BE49-F238E27FC236}">
                  <a16:creationId xmlns:a16="http://schemas.microsoft.com/office/drawing/2014/main" id="{B5846028-A38F-4E14-B3B7-8558C777CEE8}"/>
                </a:ext>
              </a:extLst>
            </p:cNvPr>
            <p:cNvSpPr>
              <a:spLocks noChangeAspect="1"/>
            </p:cNvSpPr>
            <p:nvPr/>
          </p:nvSpPr>
          <p:spPr bwMode="auto">
            <a:xfrm>
              <a:off x="10815586" y="373103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90" name="Frame 5">
              <a:extLst>
                <a:ext uri="{FF2B5EF4-FFF2-40B4-BE49-F238E27FC236}">
                  <a16:creationId xmlns:a16="http://schemas.microsoft.com/office/drawing/2014/main" id="{35429E11-B4FA-42CC-9D2D-FF3B55CB2E6A}"/>
                </a:ext>
              </a:extLst>
            </p:cNvPr>
            <p:cNvSpPr>
              <a:spLocks noChangeAspect="1"/>
            </p:cNvSpPr>
            <p:nvPr/>
          </p:nvSpPr>
          <p:spPr bwMode="auto">
            <a:xfrm>
              <a:off x="11117842" y="373103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91" name="Frame 5">
              <a:extLst>
                <a:ext uri="{FF2B5EF4-FFF2-40B4-BE49-F238E27FC236}">
                  <a16:creationId xmlns:a16="http://schemas.microsoft.com/office/drawing/2014/main" id="{79A6FAF3-0025-4CA0-AEEB-2140615EEDC4}"/>
                </a:ext>
              </a:extLst>
            </p:cNvPr>
            <p:cNvSpPr>
              <a:spLocks noChangeAspect="1"/>
            </p:cNvSpPr>
            <p:nvPr/>
          </p:nvSpPr>
          <p:spPr bwMode="auto">
            <a:xfrm>
              <a:off x="11420098" y="373103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94" name="Frame 5">
              <a:extLst>
                <a:ext uri="{FF2B5EF4-FFF2-40B4-BE49-F238E27FC236}">
                  <a16:creationId xmlns:a16="http://schemas.microsoft.com/office/drawing/2014/main" id="{2E90C2EA-4D11-4F0D-A57F-1CE5277B76F7}"/>
                </a:ext>
              </a:extLst>
            </p:cNvPr>
            <p:cNvSpPr>
              <a:spLocks noChangeAspect="1"/>
            </p:cNvSpPr>
            <p:nvPr/>
          </p:nvSpPr>
          <p:spPr bwMode="auto">
            <a:xfrm>
              <a:off x="10211074" y="403381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95" name="Frame 5">
              <a:extLst>
                <a:ext uri="{FF2B5EF4-FFF2-40B4-BE49-F238E27FC236}">
                  <a16:creationId xmlns:a16="http://schemas.microsoft.com/office/drawing/2014/main" id="{B6EA4690-7695-4095-B840-B33B567E9D0D}"/>
                </a:ext>
              </a:extLst>
            </p:cNvPr>
            <p:cNvSpPr>
              <a:spLocks noChangeAspect="1"/>
            </p:cNvSpPr>
            <p:nvPr/>
          </p:nvSpPr>
          <p:spPr bwMode="auto">
            <a:xfrm>
              <a:off x="10513330" y="403381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96" name="Frame 5">
              <a:extLst>
                <a:ext uri="{FF2B5EF4-FFF2-40B4-BE49-F238E27FC236}">
                  <a16:creationId xmlns:a16="http://schemas.microsoft.com/office/drawing/2014/main" id="{491CB16F-A6C7-4846-8619-39A7473585FA}"/>
                </a:ext>
              </a:extLst>
            </p:cNvPr>
            <p:cNvSpPr>
              <a:spLocks noChangeAspect="1"/>
            </p:cNvSpPr>
            <p:nvPr/>
          </p:nvSpPr>
          <p:spPr bwMode="auto">
            <a:xfrm>
              <a:off x="10815586" y="403381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97" name="Frame 5">
              <a:extLst>
                <a:ext uri="{FF2B5EF4-FFF2-40B4-BE49-F238E27FC236}">
                  <a16:creationId xmlns:a16="http://schemas.microsoft.com/office/drawing/2014/main" id="{C3F7026F-B40E-4901-BAD7-D8F42B2D92D7}"/>
                </a:ext>
              </a:extLst>
            </p:cNvPr>
            <p:cNvSpPr>
              <a:spLocks noChangeAspect="1"/>
            </p:cNvSpPr>
            <p:nvPr/>
          </p:nvSpPr>
          <p:spPr bwMode="auto">
            <a:xfrm>
              <a:off x="11117842" y="403381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98" name="Frame 5">
              <a:extLst>
                <a:ext uri="{FF2B5EF4-FFF2-40B4-BE49-F238E27FC236}">
                  <a16:creationId xmlns:a16="http://schemas.microsoft.com/office/drawing/2014/main" id="{6F617DB9-082F-4B92-A013-B9D1453BBB83}"/>
                </a:ext>
              </a:extLst>
            </p:cNvPr>
            <p:cNvSpPr>
              <a:spLocks noChangeAspect="1"/>
            </p:cNvSpPr>
            <p:nvPr/>
          </p:nvSpPr>
          <p:spPr bwMode="auto">
            <a:xfrm>
              <a:off x="11420098" y="403381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20" name="Frame 5">
              <a:extLst>
                <a:ext uri="{FF2B5EF4-FFF2-40B4-BE49-F238E27FC236}">
                  <a16:creationId xmlns:a16="http://schemas.microsoft.com/office/drawing/2014/main" id="{0B65E01D-E88B-4A9A-9570-3AF75E890C5E}"/>
                </a:ext>
              </a:extLst>
            </p:cNvPr>
            <p:cNvSpPr>
              <a:spLocks noChangeAspect="1"/>
            </p:cNvSpPr>
            <p:nvPr/>
          </p:nvSpPr>
          <p:spPr bwMode="auto">
            <a:xfrm>
              <a:off x="10220736" y="432743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21" name="Frame 5">
              <a:extLst>
                <a:ext uri="{FF2B5EF4-FFF2-40B4-BE49-F238E27FC236}">
                  <a16:creationId xmlns:a16="http://schemas.microsoft.com/office/drawing/2014/main" id="{F8403804-A157-4402-9AA2-623962C2F794}"/>
                </a:ext>
              </a:extLst>
            </p:cNvPr>
            <p:cNvSpPr>
              <a:spLocks noChangeAspect="1"/>
            </p:cNvSpPr>
            <p:nvPr/>
          </p:nvSpPr>
          <p:spPr bwMode="auto">
            <a:xfrm>
              <a:off x="10522992" y="432743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22" name="Frame 5">
              <a:extLst>
                <a:ext uri="{FF2B5EF4-FFF2-40B4-BE49-F238E27FC236}">
                  <a16:creationId xmlns:a16="http://schemas.microsoft.com/office/drawing/2014/main" id="{535025D6-0EA5-4552-AE92-0DEF931ACD5A}"/>
                </a:ext>
              </a:extLst>
            </p:cNvPr>
            <p:cNvSpPr>
              <a:spLocks noChangeAspect="1"/>
            </p:cNvSpPr>
            <p:nvPr/>
          </p:nvSpPr>
          <p:spPr bwMode="auto">
            <a:xfrm>
              <a:off x="10825248" y="432743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23" name="Frame 5">
              <a:extLst>
                <a:ext uri="{FF2B5EF4-FFF2-40B4-BE49-F238E27FC236}">
                  <a16:creationId xmlns:a16="http://schemas.microsoft.com/office/drawing/2014/main" id="{FE40C43D-30DD-4AFC-9D6A-A7E3159C6200}"/>
                </a:ext>
              </a:extLst>
            </p:cNvPr>
            <p:cNvSpPr>
              <a:spLocks noChangeAspect="1"/>
            </p:cNvSpPr>
            <p:nvPr/>
          </p:nvSpPr>
          <p:spPr bwMode="auto">
            <a:xfrm>
              <a:off x="11127504" y="432743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24" name="Frame 5">
              <a:extLst>
                <a:ext uri="{FF2B5EF4-FFF2-40B4-BE49-F238E27FC236}">
                  <a16:creationId xmlns:a16="http://schemas.microsoft.com/office/drawing/2014/main" id="{6E86BAF6-8D28-45B5-A211-CA9711CB34C1}"/>
                </a:ext>
              </a:extLst>
            </p:cNvPr>
            <p:cNvSpPr>
              <a:spLocks noChangeAspect="1"/>
            </p:cNvSpPr>
            <p:nvPr/>
          </p:nvSpPr>
          <p:spPr bwMode="auto">
            <a:xfrm>
              <a:off x="11429760" y="432743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25" name="Frame 5">
              <a:extLst>
                <a:ext uri="{FF2B5EF4-FFF2-40B4-BE49-F238E27FC236}">
                  <a16:creationId xmlns:a16="http://schemas.microsoft.com/office/drawing/2014/main" id="{E0558F56-C704-4CE1-8C57-4EE61D29CA57}"/>
                </a:ext>
              </a:extLst>
            </p:cNvPr>
            <p:cNvSpPr>
              <a:spLocks noChangeAspect="1"/>
            </p:cNvSpPr>
            <p:nvPr/>
          </p:nvSpPr>
          <p:spPr bwMode="auto">
            <a:xfrm>
              <a:off x="10220736" y="463021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26" name="Frame 5">
              <a:extLst>
                <a:ext uri="{FF2B5EF4-FFF2-40B4-BE49-F238E27FC236}">
                  <a16:creationId xmlns:a16="http://schemas.microsoft.com/office/drawing/2014/main" id="{33AD8291-8CD0-4680-8FE6-55A4A566CB9B}"/>
                </a:ext>
              </a:extLst>
            </p:cNvPr>
            <p:cNvSpPr>
              <a:spLocks noChangeAspect="1"/>
            </p:cNvSpPr>
            <p:nvPr/>
          </p:nvSpPr>
          <p:spPr bwMode="auto">
            <a:xfrm>
              <a:off x="10522992" y="463021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27" name="Frame 5">
              <a:extLst>
                <a:ext uri="{FF2B5EF4-FFF2-40B4-BE49-F238E27FC236}">
                  <a16:creationId xmlns:a16="http://schemas.microsoft.com/office/drawing/2014/main" id="{F093E0A1-7C5F-4D64-83AA-AD618A7D3866}"/>
                </a:ext>
              </a:extLst>
            </p:cNvPr>
            <p:cNvSpPr>
              <a:spLocks noChangeAspect="1"/>
            </p:cNvSpPr>
            <p:nvPr/>
          </p:nvSpPr>
          <p:spPr bwMode="auto">
            <a:xfrm>
              <a:off x="10825248" y="463021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28" name="Frame 5">
              <a:extLst>
                <a:ext uri="{FF2B5EF4-FFF2-40B4-BE49-F238E27FC236}">
                  <a16:creationId xmlns:a16="http://schemas.microsoft.com/office/drawing/2014/main" id="{DD54CAB4-D7A8-4068-A9DB-245064E5113A}"/>
                </a:ext>
              </a:extLst>
            </p:cNvPr>
            <p:cNvSpPr>
              <a:spLocks noChangeAspect="1"/>
            </p:cNvSpPr>
            <p:nvPr/>
          </p:nvSpPr>
          <p:spPr bwMode="auto">
            <a:xfrm>
              <a:off x="11127504" y="463021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29" name="Frame 5">
              <a:extLst>
                <a:ext uri="{FF2B5EF4-FFF2-40B4-BE49-F238E27FC236}">
                  <a16:creationId xmlns:a16="http://schemas.microsoft.com/office/drawing/2014/main" id="{B9A8DBB1-7ECD-4988-B4CB-5DB70F416AB1}"/>
                </a:ext>
              </a:extLst>
            </p:cNvPr>
            <p:cNvSpPr>
              <a:spLocks noChangeAspect="1"/>
            </p:cNvSpPr>
            <p:nvPr/>
          </p:nvSpPr>
          <p:spPr bwMode="auto">
            <a:xfrm>
              <a:off x="11429760" y="463021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30" name="Frame 5">
              <a:extLst>
                <a:ext uri="{FF2B5EF4-FFF2-40B4-BE49-F238E27FC236}">
                  <a16:creationId xmlns:a16="http://schemas.microsoft.com/office/drawing/2014/main" id="{7E1BEF43-2EA1-46F3-A329-D59936134CD4}"/>
                </a:ext>
              </a:extLst>
            </p:cNvPr>
            <p:cNvSpPr>
              <a:spLocks noChangeAspect="1"/>
            </p:cNvSpPr>
            <p:nvPr/>
          </p:nvSpPr>
          <p:spPr bwMode="auto">
            <a:xfrm>
              <a:off x="10220736" y="493300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31" name="Frame 5">
              <a:extLst>
                <a:ext uri="{FF2B5EF4-FFF2-40B4-BE49-F238E27FC236}">
                  <a16:creationId xmlns:a16="http://schemas.microsoft.com/office/drawing/2014/main" id="{52AD8A62-50F7-4D15-BE2A-877553897593}"/>
                </a:ext>
              </a:extLst>
            </p:cNvPr>
            <p:cNvSpPr>
              <a:spLocks noChangeAspect="1"/>
            </p:cNvSpPr>
            <p:nvPr/>
          </p:nvSpPr>
          <p:spPr bwMode="auto">
            <a:xfrm>
              <a:off x="10522992" y="493300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32" name="Frame 5">
              <a:extLst>
                <a:ext uri="{FF2B5EF4-FFF2-40B4-BE49-F238E27FC236}">
                  <a16:creationId xmlns:a16="http://schemas.microsoft.com/office/drawing/2014/main" id="{F5A6025E-E9D7-401F-97CD-64D9CA1DC5DD}"/>
                </a:ext>
              </a:extLst>
            </p:cNvPr>
            <p:cNvSpPr>
              <a:spLocks noChangeAspect="1"/>
            </p:cNvSpPr>
            <p:nvPr/>
          </p:nvSpPr>
          <p:spPr bwMode="auto">
            <a:xfrm>
              <a:off x="10825248" y="493300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33" name="Frame 5">
              <a:extLst>
                <a:ext uri="{FF2B5EF4-FFF2-40B4-BE49-F238E27FC236}">
                  <a16:creationId xmlns:a16="http://schemas.microsoft.com/office/drawing/2014/main" id="{6E6860D4-BFF1-4491-BECB-8CC3B81B5EE3}"/>
                </a:ext>
              </a:extLst>
            </p:cNvPr>
            <p:cNvSpPr>
              <a:spLocks noChangeAspect="1"/>
            </p:cNvSpPr>
            <p:nvPr/>
          </p:nvSpPr>
          <p:spPr bwMode="auto">
            <a:xfrm>
              <a:off x="11127504" y="493300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34" name="Frame 5">
              <a:extLst>
                <a:ext uri="{FF2B5EF4-FFF2-40B4-BE49-F238E27FC236}">
                  <a16:creationId xmlns:a16="http://schemas.microsoft.com/office/drawing/2014/main" id="{CFAA7C86-9844-45C1-8397-75EE2B198F9B}"/>
                </a:ext>
              </a:extLst>
            </p:cNvPr>
            <p:cNvSpPr>
              <a:spLocks noChangeAspect="1"/>
            </p:cNvSpPr>
            <p:nvPr/>
          </p:nvSpPr>
          <p:spPr bwMode="auto">
            <a:xfrm>
              <a:off x="11429760" y="493300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35" name="Frame 5">
              <a:extLst>
                <a:ext uri="{FF2B5EF4-FFF2-40B4-BE49-F238E27FC236}">
                  <a16:creationId xmlns:a16="http://schemas.microsoft.com/office/drawing/2014/main" id="{3C2C50B5-0F93-431F-AE94-A5AD2EE6383E}"/>
                </a:ext>
              </a:extLst>
            </p:cNvPr>
            <p:cNvSpPr>
              <a:spLocks noChangeAspect="1"/>
            </p:cNvSpPr>
            <p:nvPr/>
          </p:nvSpPr>
          <p:spPr bwMode="auto">
            <a:xfrm>
              <a:off x="10220736" y="523578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36" name="Frame 5">
              <a:extLst>
                <a:ext uri="{FF2B5EF4-FFF2-40B4-BE49-F238E27FC236}">
                  <a16:creationId xmlns:a16="http://schemas.microsoft.com/office/drawing/2014/main" id="{71417149-B74A-4BD2-A018-9C3E9D4D1AB0}"/>
                </a:ext>
              </a:extLst>
            </p:cNvPr>
            <p:cNvSpPr>
              <a:spLocks noChangeAspect="1"/>
            </p:cNvSpPr>
            <p:nvPr/>
          </p:nvSpPr>
          <p:spPr bwMode="auto">
            <a:xfrm>
              <a:off x="10522992" y="523578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37" name="Frame 5">
              <a:extLst>
                <a:ext uri="{FF2B5EF4-FFF2-40B4-BE49-F238E27FC236}">
                  <a16:creationId xmlns:a16="http://schemas.microsoft.com/office/drawing/2014/main" id="{3FDA089B-8202-41CF-91D6-7788701D53C9}"/>
                </a:ext>
              </a:extLst>
            </p:cNvPr>
            <p:cNvSpPr>
              <a:spLocks noChangeAspect="1"/>
            </p:cNvSpPr>
            <p:nvPr/>
          </p:nvSpPr>
          <p:spPr bwMode="auto">
            <a:xfrm>
              <a:off x="10825248" y="523578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38" name="Frame 5">
              <a:extLst>
                <a:ext uri="{FF2B5EF4-FFF2-40B4-BE49-F238E27FC236}">
                  <a16:creationId xmlns:a16="http://schemas.microsoft.com/office/drawing/2014/main" id="{4378B8E8-8D11-40E4-B99D-263AC8256087}"/>
                </a:ext>
              </a:extLst>
            </p:cNvPr>
            <p:cNvSpPr>
              <a:spLocks noChangeAspect="1"/>
            </p:cNvSpPr>
            <p:nvPr/>
          </p:nvSpPr>
          <p:spPr bwMode="auto">
            <a:xfrm>
              <a:off x="11127504" y="523578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39" name="Frame 5">
              <a:extLst>
                <a:ext uri="{FF2B5EF4-FFF2-40B4-BE49-F238E27FC236}">
                  <a16:creationId xmlns:a16="http://schemas.microsoft.com/office/drawing/2014/main" id="{97702B86-634A-4D65-A016-FA239D3DF1AD}"/>
                </a:ext>
              </a:extLst>
            </p:cNvPr>
            <p:cNvSpPr>
              <a:spLocks noChangeAspect="1"/>
            </p:cNvSpPr>
            <p:nvPr/>
          </p:nvSpPr>
          <p:spPr bwMode="auto">
            <a:xfrm>
              <a:off x="11429760" y="523578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40" name="Frame 5">
              <a:extLst>
                <a:ext uri="{FF2B5EF4-FFF2-40B4-BE49-F238E27FC236}">
                  <a16:creationId xmlns:a16="http://schemas.microsoft.com/office/drawing/2014/main" id="{89999CA6-F36E-4571-9DE5-9F6FC7FFBF53}"/>
                </a:ext>
              </a:extLst>
            </p:cNvPr>
            <p:cNvSpPr>
              <a:spLocks noChangeAspect="1"/>
            </p:cNvSpPr>
            <p:nvPr/>
          </p:nvSpPr>
          <p:spPr bwMode="auto">
            <a:xfrm>
              <a:off x="10220736" y="553856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41" name="Frame 5">
              <a:extLst>
                <a:ext uri="{FF2B5EF4-FFF2-40B4-BE49-F238E27FC236}">
                  <a16:creationId xmlns:a16="http://schemas.microsoft.com/office/drawing/2014/main" id="{51926374-B36E-473F-B548-5BB959FFFAD5}"/>
                </a:ext>
              </a:extLst>
            </p:cNvPr>
            <p:cNvSpPr>
              <a:spLocks noChangeAspect="1"/>
            </p:cNvSpPr>
            <p:nvPr/>
          </p:nvSpPr>
          <p:spPr bwMode="auto">
            <a:xfrm>
              <a:off x="10522992" y="553856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42" name="Frame 5">
              <a:extLst>
                <a:ext uri="{FF2B5EF4-FFF2-40B4-BE49-F238E27FC236}">
                  <a16:creationId xmlns:a16="http://schemas.microsoft.com/office/drawing/2014/main" id="{27069069-5331-4D95-8606-3C2455D5314A}"/>
                </a:ext>
              </a:extLst>
            </p:cNvPr>
            <p:cNvSpPr>
              <a:spLocks noChangeAspect="1"/>
            </p:cNvSpPr>
            <p:nvPr/>
          </p:nvSpPr>
          <p:spPr bwMode="auto">
            <a:xfrm>
              <a:off x="10825248" y="553856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43" name="Frame 5">
              <a:extLst>
                <a:ext uri="{FF2B5EF4-FFF2-40B4-BE49-F238E27FC236}">
                  <a16:creationId xmlns:a16="http://schemas.microsoft.com/office/drawing/2014/main" id="{8D5E7B07-F778-4913-96A8-607D88614D92}"/>
                </a:ext>
              </a:extLst>
            </p:cNvPr>
            <p:cNvSpPr>
              <a:spLocks noChangeAspect="1"/>
            </p:cNvSpPr>
            <p:nvPr/>
          </p:nvSpPr>
          <p:spPr bwMode="auto">
            <a:xfrm>
              <a:off x="11127504" y="553856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44" name="Frame 5">
              <a:extLst>
                <a:ext uri="{FF2B5EF4-FFF2-40B4-BE49-F238E27FC236}">
                  <a16:creationId xmlns:a16="http://schemas.microsoft.com/office/drawing/2014/main" id="{A53FD703-EBBB-4F6D-BFAF-45EBB3090E16}"/>
                </a:ext>
              </a:extLst>
            </p:cNvPr>
            <p:cNvSpPr>
              <a:spLocks noChangeAspect="1"/>
            </p:cNvSpPr>
            <p:nvPr/>
          </p:nvSpPr>
          <p:spPr bwMode="auto">
            <a:xfrm>
              <a:off x="11429760" y="553856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45" name="Frame 5">
              <a:extLst>
                <a:ext uri="{FF2B5EF4-FFF2-40B4-BE49-F238E27FC236}">
                  <a16:creationId xmlns:a16="http://schemas.microsoft.com/office/drawing/2014/main" id="{76BE248D-C6A4-4157-99B8-7B0175335FE2}"/>
                </a:ext>
              </a:extLst>
            </p:cNvPr>
            <p:cNvSpPr>
              <a:spLocks noChangeAspect="1"/>
            </p:cNvSpPr>
            <p:nvPr/>
          </p:nvSpPr>
          <p:spPr bwMode="auto">
            <a:xfrm>
              <a:off x="10220736" y="584135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46" name="Frame 5">
              <a:extLst>
                <a:ext uri="{FF2B5EF4-FFF2-40B4-BE49-F238E27FC236}">
                  <a16:creationId xmlns:a16="http://schemas.microsoft.com/office/drawing/2014/main" id="{2A0F37EA-5A0E-418F-BFD7-10EED36C030B}"/>
                </a:ext>
              </a:extLst>
            </p:cNvPr>
            <p:cNvSpPr>
              <a:spLocks noChangeAspect="1"/>
            </p:cNvSpPr>
            <p:nvPr/>
          </p:nvSpPr>
          <p:spPr bwMode="auto">
            <a:xfrm>
              <a:off x="10522992" y="584135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47" name="Frame 5">
              <a:extLst>
                <a:ext uri="{FF2B5EF4-FFF2-40B4-BE49-F238E27FC236}">
                  <a16:creationId xmlns:a16="http://schemas.microsoft.com/office/drawing/2014/main" id="{F0EB4AF5-A986-431A-AB57-A38B1A6BA569}"/>
                </a:ext>
              </a:extLst>
            </p:cNvPr>
            <p:cNvSpPr>
              <a:spLocks noChangeAspect="1"/>
            </p:cNvSpPr>
            <p:nvPr/>
          </p:nvSpPr>
          <p:spPr bwMode="auto">
            <a:xfrm>
              <a:off x="10825248" y="584135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48" name="Frame 5">
              <a:extLst>
                <a:ext uri="{FF2B5EF4-FFF2-40B4-BE49-F238E27FC236}">
                  <a16:creationId xmlns:a16="http://schemas.microsoft.com/office/drawing/2014/main" id="{DE304C76-5E2F-4845-99EA-F5929344223F}"/>
                </a:ext>
              </a:extLst>
            </p:cNvPr>
            <p:cNvSpPr>
              <a:spLocks noChangeAspect="1"/>
            </p:cNvSpPr>
            <p:nvPr/>
          </p:nvSpPr>
          <p:spPr bwMode="auto">
            <a:xfrm>
              <a:off x="11127504" y="584135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49" name="Frame 5">
              <a:extLst>
                <a:ext uri="{FF2B5EF4-FFF2-40B4-BE49-F238E27FC236}">
                  <a16:creationId xmlns:a16="http://schemas.microsoft.com/office/drawing/2014/main" id="{525A9628-4393-4584-966E-3AD93066E51D}"/>
                </a:ext>
              </a:extLst>
            </p:cNvPr>
            <p:cNvSpPr>
              <a:spLocks noChangeAspect="1"/>
            </p:cNvSpPr>
            <p:nvPr/>
          </p:nvSpPr>
          <p:spPr bwMode="auto">
            <a:xfrm>
              <a:off x="11429760" y="584135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50" name="Frame 5">
              <a:extLst>
                <a:ext uri="{FF2B5EF4-FFF2-40B4-BE49-F238E27FC236}">
                  <a16:creationId xmlns:a16="http://schemas.microsoft.com/office/drawing/2014/main" id="{F46724B9-AD78-491C-9C4B-AE5BA9A77CD9}"/>
                </a:ext>
              </a:extLst>
            </p:cNvPr>
            <p:cNvSpPr>
              <a:spLocks noChangeAspect="1"/>
            </p:cNvSpPr>
            <p:nvPr/>
          </p:nvSpPr>
          <p:spPr bwMode="auto">
            <a:xfrm>
              <a:off x="10220736" y="614413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51" name="Frame 5">
              <a:extLst>
                <a:ext uri="{FF2B5EF4-FFF2-40B4-BE49-F238E27FC236}">
                  <a16:creationId xmlns:a16="http://schemas.microsoft.com/office/drawing/2014/main" id="{C62D2447-B2D0-4778-B196-1948CE9FA881}"/>
                </a:ext>
              </a:extLst>
            </p:cNvPr>
            <p:cNvSpPr>
              <a:spLocks noChangeAspect="1"/>
            </p:cNvSpPr>
            <p:nvPr/>
          </p:nvSpPr>
          <p:spPr bwMode="auto">
            <a:xfrm>
              <a:off x="10522992" y="614413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52" name="Frame 5">
              <a:extLst>
                <a:ext uri="{FF2B5EF4-FFF2-40B4-BE49-F238E27FC236}">
                  <a16:creationId xmlns:a16="http://schemas.microsoft.com/office/drawing/2014/main" id="{8F5B5763-EA46-4FDA-9679-B45803A79EA2}"/>
                </a:ext>
              </a:extLst>
            </p:cNvPr>
            <p:cNvSpPr>
              <a:spLocks noChangeAspect="1"/>
            </p:cNvSpPr>
            <p:nvPr/>
          </p:nvSpPr>
          <p:spPr bwMode="auto">
            <a:xfrm>
              <a:off x="10825248" y="614413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53" name="Frame 5">
              <a:extLst>
                <a:ext uri="{FF2B5EF4-FFF2-40B4-BE49-F238E27FC236}">
                  <a16:creationId xmlns:a16="http://schemas.microsoft.com/office/drawing/2014/main" id="{66AAD492-4831-464E-80B3-5562FF298176}"/>
                </a:ext>
              </a:extLst>
            </p:cNvPr>
            <p:cNvSpPr>
              <a:spLocks noChangeAspect="1"/>
            </p:cNvSpPr>
            <p:nvPr/>
          </p:nvSpPr>
          <p:spPr bwMode="auto">
            <a:xfrm>
              <a:off x="11127504" y="614413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54" name="Frame 5">
              <a:extLst>
                <a:ext uri="{FF2B5EF4-FFF2-40B4-BE49-F238E27FC236}">
                  <a16:creationId xmlns:a16="http://schemas.microsoft.com/office/drawing/2014/main" id="{EE8631A6-7CBE-4A31-9634-36879FC80314}"/>
                </a:ext>
              </a:extLst>
            </p:cNvPr>
            <p:cNvSpPr>
              <a:spLocks noChangeAspect="1"/>
            </p:cNvSpPr>
            <p:nvPr/>
          </p:nvSpPr>
          <p:spPr bwMode="auto">
            <a:xfrm>
              <a:off x="11429760" y="614413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grpSp>
      <p:sp>
        <p:nvSpPr>
          <p:cNvPr id="155" name="Left Brace 154">
            <a:extLst>
              <a:ext uri="{FF2B5EF4-FFF2-40B4-BE49-F238E27FC236}">
                <a16:creationId xmlns:a16="http://schemas.microsoft.com/office/drawing/2014/main" id="{D5834322-A40F-48E4-A060-34FEE4B308CF}"/>
              </a:ext>
            </a:extLst>
          </p:cNvPr>
          <p:cNvSpPr/>
          <p:nvPr/>
        </p:nvSpPr>
        <p:spPr>
          <a:xfrm>
            <a:off x="9679734" y="2094464"/>
            <a:ext cx="270851" cy="4323423"/>
          </a:xfrm>
          <a:prstGeom prst="lef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sv-SE" sz="1765"/>
          </a:p>
        </p:txBody>
      </p:sp>
      <p:cxnSp>
        <p:nvCxnSpPr>
          <p:cNvPr id="157" name="Connector: Elbow 156">
            <a:extLst>
              <a:ext uri="{FF2B5EF4-FFF2-40B4-BE49-F238E27FC236}">
                <a16:creationId xmlns:a16="http://schemas.microsoft.com/office/drawing/2014/main" id="{797F55BF-D02D-4497-BDA4-2378365F5B6B}"/>
              </a:ext>
            </a:extLst>
          </p:cNvPr>
          <p:cNvCxnSpPr>
            <a:cxnSpLocks/>
            <a:stCxn id="155" idx="1"/>
          </p:cNvCxnSpPr>
          <p:nvPr/>
        </p:nvCxnSpPr>
        <p:spPr>
          <a:xfrm rot="10800000">
            <a:off x="7350992" y="3026895"/>
            <a:ext cx="2328743" cy="1229280"/>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1" name="Connector: Elbow 160">
            <a:extLst>
              <a:ext uri="{FF2B5EF4-FFF2-40B4-BE49-F238E27FC236}">
                <a16:creationId xmlns:a16="http://schemas.microsoft.com/office/drawing/2014/main" id="{8767D011-E66A-4D31-8524-D95842C510A9}"/>
              </a:ext>
            </a:extLst>
          </p:cNvPr>
          <p:cNvCxnSpPr>
            <a:cxnSpLocks/>
            <a:stCxn id="11" idx="3"/>
          </p:cNvCxnSpPr>
          <p:nvPr/>
        </p:nvCxnSpPr>
        <p:spPr>
          <a:xfrm flipV="1">
            <a:off x="7244807" y="2891151"/>
            <a:ext cx="2751183" cy="2712505"/>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65" name="TextBox 164">
            <a:extLst>
              <a:ext uri="{FF2B5EF4-FFF2-40B4-BE49-F238E27FC236}">
                <a16:creationId xmlns:a16="http://schemas.microsoft.com/office/drawing/2014/main" id="{AEA6F104-9257-43B4-AAE4-EF3C496B44C2}"/>
              </a:ext>
            </a:extLst>
          </p:cNvPr>
          <p:cNvSpPr txBox="1"/>
          <p:nvPr/>
        </p:nvSpPr>
        <p:spPr>
          <a:xfrm>
            <a:off x="9771204" y="1609887"/>
            <a:ext cx="1299957" cy="615516"/>
          </a:xfrm>
          <a:prstGeom prst="rect">
            <a:avLst/>
          </a:prstGeom>
          <a:noFill/>
        </p:spPr>
        <p:txBody>
          <a:bodyPr wrap="none" lIns="179285" tIns="143428" rIns="179285" bIns="143428" rtlCol="0">
            <a:spAutoFit/>
          </a:bodyPr>
          <a:lstStyle/>
          <a:p>
            <a:pPr>
              <a:lnSpc>
                <a:spcPct val="90000"/>
              </a:lnSpc>
              <a:spcAft>
                <a:spcPts val="588"/>
              </a:spcAft>
            </a:pPr>
            <a:r>
              <a:rPr lang="sv-SE" sz="2353" dirty="0" err="1">
                <a:gradFill>
                  <a:gsLst>
                    <a:gs pos="2917">
                      <a:schemeClr val="tx1"/>
                    </a:gs>
                    <a:gs pos="30000">
                      <a:schemeClr val="tx1"/>
                    </a:gs>
                  </a:gsLst>
                  <a:lin ang="5400000" scaled="0"/>
                </a:gradFill>
              </a:rPr>
              <a:t>Devices</a:t>
            </a:r>
            <a:endParaRPr lang="sv-SE" sz="2353"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9912186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115"/>
                                        </p:tgtEl>
                                      </p:cBhvr>
                                    </p:animEffect>
                                    <p:set>
                                      <p:cBhvr>
                                        <p:cTn id="7" dur="1" fill="hold">
                                          <p:stCondLst>
                                            <p:cond delay="499"/>
                                          </p:stCondLst>
                                        </p:cTn>
                                        <p:tgtEl>
                                          <p:spTgt spid="115"/>
                                        </p:tgtEl>
                                        <p:attrNameLst>
                                          <p:attrName>style.visibility</p:attrName>
                                        </p:attrNameLst>
                                      </p:cBhvr>
                                      <p:to>
                                        <p:strVal val="hidden"/>
                                      </p:to>
                                    </p:se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09"/>
                                        </p:tgtEl>
                                        <p:attrNameLst>
                                          <p:attrName>style.visibility</p:attrName>
                                        </p:attrNameLst>
                                      </p:cBhvr>
                                      <p:to>
                                        <p:strVal val="visible"/>
                                      </p:to>
                                    </p:set>
                                    <p:animEffect transition="in" filter="fade">
                                      <p:cBhvr>
                                        <p:cTn id="11" dur="500"/>
                                        <p:tgtEl>
                                          <p:spTgt spid="109"/>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55"/>
                                        </p:tgtEl>
                                        <p:attrNameLst>
                                          <p:attrName>style.visibility</p:attrName>
                                        </p:attrNameLst>
                                      </p:cBhvr>
                                      <p:to>
                                        <p:strVal val="visible"/>
                                      </p:to>
                                    </p:set>
                                    <p:animEffect transition="in" filter="fade">
                                      <p:cBhvr>
                                        <p:cTn id="15" dur="500"/>
                                        <p:tgtEl>
                                          <p:spTgt spid="155"/>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157"/>
                                        </p:tgtEl>
                                        <p:attrNameLst>
                                          <p:attrName>style.visibility</p:attrName>
                                        </p:attrNameLst>
                                      </p:cBhvr>
                                      <p:to>
                                        <p:strVal val="visible"/>
                                      </p:to>
                                    </p:set>
                                    <p:animEffect transition="in" filter="fade">
                                      <p:cBhvr>
                                        <p:cTn id="19" dur="500"/>
                                        <p:tgtEl>
                                          <p:spTgt spid="157"/>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fade">
                                      <p:cBhvr>
                                        <p:cTn id="23" dur="500"/>
                                        <p:tgtEl>
                                          <p:spTgt spid="8"/>
                                        </p:tgtEl>
                                      </p:cBhvr>
                                    </p:animEffect>
                                  </p:childTnLst>
                                </p:cTn>
                              </p:par>
                            </p:childTnLst>
                          </p:cTn>
                        </p:par>
                      </p:childTnLst>
                    </p:cTn>
                  </p:par>
                  <p:par>
                    <p:cTn id="24" fill="hold">
                      <p:stCondLst>
                        <p:cond delay="indefinite"/>
                      </p:stCondLst>
                      <p:childTnLst>
                        <p:par>
                          <p:cTn id="25" fill="hold">
                            <p:stCondLst>
                              <p:cond delay="0"/>
                            </p:stCondLst>
                            <p:childTnLst>
                              <p:par>
                                <p:cTn id="26" presetID="22" presetClass="entr" presetSubtype="1" fill="hold" grpId="0" nodeType="clickEffect">
                                  <p:stCondLst>
                                    <p:cond delay="0"/>
                                  </p:stCondLst>
                                  <p:childTnLst>
                                    <p:set>
                                      <p:cBhvr>
                                        <p:cTn id="27" dur="1" fill="hold">
                                          <p:stCondLst>
                                            <p:cond delay="0"/>
                                          </p:stCondLst>
                                        </p:cTn>
                                        <p:tgtEl>
                                          <p:spTgt spid="119"/>
                                        </p:tgtEl>
                                        <p:attrNameLst>
                                          <p:attrName>style.visibility</p:attrName>
                                        </p:attrNameLst>
                                      </p:cBhvr>
                                      <p:to>
                                        <p:strVal val="visible"/>
                                      </p:to>
                                    </p:set>
                                    <p:animEffect transition="in" filter="wipe(up)">
                                      <p:cBhvr>
                                        <p:cTn id="28" dur="500"/>
                                        <p:tgtEl>
                                          <p:spTgt spid="119"/>
                                        </p:tgtEl>
                                      </p:cBhvr>
                                    </p:animEffect>
                                  </p:childTnLst>
                                </p:cTn>
                              </p:par>
                            </p:childTnLst>
                          </p:cTn>
                        </p:par>
                        <p:par>
                          <p:cTn id="29" fill="hold">
                            <p:stCondLst>
                              <p:cond delay="500"/>
                            </p:stCondLst>
                            <p:childTnLst>
                              <p:par>
                                <p:cTn id="30" presetID="10" presetClass="entr" presetSubtype="0" fill="hold" nodeType="afterEffect">
                                  <p:stCondLst>
                                    <p:cond delay="0"/>
                                  </p:stCondLst>
                                  <p:childTnLst>
                                    <p:set>
                                      <p:cBhvr>
                                        <p:cTn id="31" dur="1" fill="hold">
                                          <p:stCondLst>
                                            <p:cond delay="0"/>
                                          </p:stCondLst>
                                        </p:cTn>
                                        <p:tgtEl>
                                          <p:spTgt spid="4"/>
                                        </p:tgtEl>
                                        <p:attrNameLst>
                                          <p:attrName>style.visibility</p:attrName>
                                        </p:attrNameLst>
                                      </p:cBhvr>
                                      <p:to>
                                        <p:strVal val="visible"/>
                                      </p:to>
                                    </p:set>
                                    <p:animEffect transition="in" filter="fade">
                                      <p:cBhvr>
                                        <p:cTn id="32" dur="500"/>
                                        <p:tgtEl>
                                          <p:spTgt spid="4"/>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5"/>
                                        </p:tgtEl>
                                        <p:attrNameLst>
                                          <p:attrName>style.visibility</p:attrName>
                                        </p:attrNameLst>
                                      </p:cBhvr>
                                      <p:to>
                                        <p:strVal val="visible"/>
                                      </p:to>
                                    </p:set>
                                    <p:animEffect transition="in" filter="fade">
                                      <p:cBhvr>
                                        <p:cTn id="37" dur="500"/>
                                        <p:tgtEl>
                                          <p:spTgt spid="5"/>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xit" presetSubtype="0" fill="hold" grpId="1" nodeType="clickEffect">
                                  <p:stCondLst>
                                    <p:cond delay="0"/>
                                  </p:stCondLst>
                                  <p:childTnLst>
                                    <p:animEffect transition="out" filter="fade">
                                      <p:cBhvr>
                                        <p:cTn id="41" dur="500"/>
                                        <p:tgtEl>
                                          <p:spTgt spid="155"/>
                                        </p:tgtEl>
                                      </p:cBhvr>
                                    </p:animEffect>
                                    <p:set>
                                      <p:cBhvr>
                                        <p:cTn id="42" dur="1" fill="hold">
                                          <p:stCondLst>
                                            <p:cond delay="499"/>
                                          </p:stCondLst>
                                        </p:cTn>
                                        <p:tgtEl>
                                          <p:spTgt spid="155"/>
                                        </p:tgtEl>
                                        <p:attrNameLst>
                                          <p:attrName>style.visibility</p:attrName>
                                        </p:attrNameLst>
                                      </p:cBhvr>
                                      <p:to>
                                        <p:strVal val="hidden"/>
                                      </p:to>
                                    </p:set>
                                  </p:childTnLst>
                                </p:cTn>
                              </p:par>
                              <p:par>
                                <p:cTn id="43" presetID="10" presetClass="exit" presetSubtype="0" fill="hold" nodeType="withEffect">
                                  <p:stCondLst>
                                    <p:cond delay="0"/>
                                  </p:stCondLst>
                                  <p:childTnLst>
                                    <p:animEffect transition="out" filter="fade">
                                      <p:cBhvr>
                                        <p:cTn id="44" dur="500"/>
                                        <p:tgtEl>
                                          <p:spTgt spid="157"/>
                                        </p:tgtEl>
                                      </p:cBhvr>
                                    </p:animEffect>
                                    <p:set>
                                      <p:cBhvr>
                                        <p:cTn id="45" dur="1" fill="hold">
                                          <p:stCondLst>
                                            <p:cond delay="499"/>
                                          </p:stCondLst>
                                        </p:cTn>
                                        <p:tgtEl>
                                          <p:spTgt spid="157"/>
                                        </p:tgtEl>
                                        <p:attrNameLst>
                                          <p:attrName>style.visibility</p:attrName>
                                        </p:attrNameLst>
                                      </p:cBhvr>
                                      <p:to>
                                        <p:strVal val="hidden"/>
                                      </p:to>
                                    </p:set>
                                  </p:childTnLst>
                                </p:cTn>
                              </p:par>
                              <p:par>
                                <p:cTn id="46" presetID="10" presetClass="exit" presetSubtype="0" fill="hold" grpId="1" nodeType="withEffect">
                                  <p:stCondLst>
                                    <p:cond delay="0"/>
                                  </p:stCondLst>
                                  <p:childTnLst>
                                    <p:animEffect transition="out" filter="fade">
                                      <p:cBhvr>
                                        <p:cTn id="47" dur="500"/>
                                        <p:tgtEl>
                                          <p:spTgt spid="119"/>
                                        </p:tgtEl>
                                      </p:cBhvr>
                                    </p:animEffect>
                                    <p:set>
                                      <p:cBhvr>
                                        <p:cTn id="48" dur="1" fill="hold">
                                          <p:stCondLst>
                                            <p:cond delay="499"/>
                                          </p:stCondLst>
                                        </p:cTn>
                                        <p:tgtEl>
                                          <p:spTgt spid="119"/>
                                        </p:tgtEl>
                                        <p:attrNameLst>
                                          <p:attrName>style.visibility</p:attrName>
                                        </p:attrNameLst>
                                      </p:cBhvr>
                                      <p:to>
                                        <p:strVal val="hidden"/>
                                      </p:to>
                                    </p:set>
                                  </p:childTnLst>
                                </p:cTn>
                              </p:par>
                              <p:par>
                                <p:cTn id="49" presetID="10" presetClass="exit" presetSubtype="0" fill="hold" nodeType="withEffect">
                                  <p:stCondLst>
                                    <p:cond delay="0"/>
                                  </p:stCondLst>
                                  <p:childTnLst>
                                    <p:animEffect transition="out" filter="fade">
                                      <p:cBhvr>
                                        <p:cTn id="50" dur="500"/>
                                        <p:tgtEl>
                                          <p:spTgt spid="4"/>
                                        </p:tgtEl>
                                      </p:cBhvr>
                                    </p:animEffect>
                                    <p:set>
                                      <p:cBhvr>
                                        <p:cTn id="51" dur="1" fill="hold">
                                          <p:stCondLst>
                                            <p:cond delay="499"/>
                                          </p:stCondLst>
                                        </p:cTn>
                                        <p:tgtEl>
                                          <p:spTgt spid="4"/>
                                        </p:tgtEl>
                                        <p:attrNameLst>
                                          <p:attrName>style.visibility</p:attrName>
                                        </p:attrNameLst>
                                      </p:cBhvr>
                                      <p:to>
                                        <p:strVal val="hidden"/>
                                      </p:to>
                                    </p:set>
                                  </p:childTnLst>
                                </p:cTn>
                              </p:par>
                              <p:par>
                                <p:cTn id="52" presetID="10" presetClass="exit" presetSubtype="0" fill="hold" nodeType="withEffect">
                                  <p:stCondLst>
                                    <p:cond delay="0"/>
                                  </p:stCondLst>
                                  <p:childTnLst>
                                    <p:animEffect transition="out" filter="fade">
                                      <p:cBhvr>
                                        <p:cTn id="53" dur="500"/>
                                        <p:tgtEl>
                                          <p:spTgt spid="5"/>
                                        </p:tgtEl>
                                      </p:cBhvr>
                                    </p:animEffect>
                                    <p:set>
                                      <p:cBhvr>
                                        <p:cTn id="54" dur="1" fill="hold">
                                          <p:stCondLst>
                                            <p:cond delay="499"/>
                                          </p:stCondLst>
                                        </p:cTn>
                                        <p:tgtEl>
                                          <p:spTgt spid="5"/>
                                        </p:tgtEl>
                                        <p:attrNameLst>
                                          <p:attrName>style.visibility</p:attrName>
                                        </p:attrNameLst>
                                      </p:cBhvr>
                                      <p:to>
                                        <p:strVal val="hidden"/>
                                      </p:to>
                                    </p:set>
                                  </p:childTnLst>
                                </p:cTn>
                              </p:par>
                            </p:childTnLst>
                          </p:cTn>
                        </p:par>
                        <p:par>
                          <p:cTn id="55" fill="hold">
                            <p:stCondLst>
                              <p:cond delay="500"/>
                            </p:stCondLst>
                            <p:childTnLst>
                              <p:par>
                                <p:cTn id="56" presetID="10" presetClass="entr" presetSubtype="0" fill="hold" nodeType="afterEffect">
                                  <p:stCondLst>
                                    <p:cond delay="0"/>
                                  </p:stCondLst>
                                  <p:childTnLst>
                                    <p:set>
                                      <p:cBhvr>
                                        <p:cTn id="57" dur="1" fill="hold">
                                          <p:stCondLst>
                                            <p:cond delay="0"/>
                                          </p:stCondLst>
                                        </p:cTn>
                                        <p:tgtEl>
                                          <p:spTgt spid="166"/>
                                        </p:tgtEl>
                                        <p:attrNameLst>
                                          <p:attrName>style.visibility</p:attrName>
                                        </p:attrNameLst>
                                      </p:cBhvr>
                                      <p:to>
                                        <p:strVal val="visible"/>
                                      </p:to>
                                    </p:set>
                                    <p:animEffect transition="in" filter="fade">
                                      <p:cBhvr>
                                        <p:cTn id="58" dur="500"/>
                                        <p:tgtEl>
                                          <p:spTgt spid="166"/>
                                        </p:tgtEl>
                                      </p:cBhvr>
                                    </p:animEffect>
                                  </p:childTnLst>
                                </p:cTn>
                              </p:par>
                            </p:childTnLst>
                          </p:cTn>
                        </p:par>
                        <p:par>
                          <p:cTn id="59" fill="hold">
                            <p:stCondLst>
                              <p:cond delay="1000"/>
                            </p:stCondLst>
                            <p:childTnLst>
                              <p:par>
                                <p:cTn id="60" presetID="10" presetClass="entr" presetSubtype="0" fill="hold" grpId="0" nodeType="afterEffect">
                                  <p:stCondLst>
                                    <p:cond delay="0"/>
                                  </p:stCondLst>
                                  <p:childTnLst>
                                    <p:set>
                                      <p:cBhvr>
                                        <p:cTn id="61" dur="1" fill="hold">
                                          <p:stCondLst>
                                            <p:cond delay="0"/>
                                          </p:stCondLst>
                                        </p:cTn>
                                        <p:tgtEl>
                                          <p:spTgt spid="101"/>
                                        </p:tgtEl>
                                        <p:attrNameLst>
                                          <p:attrName>style.visibility</p:attrName>
                                        </p:attrNameLst>
                                      </p:cBhvr>
                                      <p:to>
                                        <p:strVal val="visible"/>
                                      </p:to>
                                    </p:set>
                                    <p:animEffect transition="in" filter="fade">
                                      <p:cBhvr>
                                        <p:cTn id="62" dur="500"/>
                                        <p:tgtEl>
                                          <p:spTgt spid="101"/>
                                        </p:tgtEl>
                                      </p:cBhvr>
                                    </p:animEffect>
                                  </p:childTnLst>
                                </p:cTn>
                              </p:par>
                              <p:par>
                                <p:cTn id="63" presetID="10" presetClass="entr" presetSubtype="0" fill="hold" nodeType="withEffect">
                                  <p:stCondLst>
                                    <p:cond delay="0"/>
                                  </p:stCondLst>
                                  <p:childTnLst>
                                    <p:set>
                                      <p:cBhvr>
                                        <p:cTn id="64" dur="1" fill="hold">
                                          <p:stCondLst>
                                            <p:cond delay="0"/>
                                          </p:stCondLst>
                                        </p:cTn>
                                        <p:tgtEl>
                                          <p:spTgt spid="11"/>
                                        </p:tgtEl>
                                        <p:attrNameLst>
                                          <p:attrName>style.visibility</p:attrName>
                                        </p:attrNameLst>
                                      </p:cBhvr>
                                      <p:to>
                                        <p:strVal val="visible"/>
                                      </p:to>
                                    </p:set>
                                    <p:animEffect transition="in" filter="fade">
                                      <p:cBhvr>
                                        <p:cTn id="65" dur="500"/>
                                        <p:tgtEl>
                                          <p:spTgt spid="11"/>
                                        </p:tgtEl>
                                      </p:cBhvr>
                                    </p:animEffect>
                                  </p:childTnLst>
                                </p:cTn>
                              </p:par>
                            </p:childTnLst>
                          </p:cTn>
                        </p:par>
                      </p:childTnLst>
                    </p:cTn>
                  </p:par>
                  <p:par>
                    <p:cTn id="66" fill="hold">
                      <p:stCondLst>
                        <p:cond delay="indefinite"/>
                      </p:stCondLst>
                      <p:childTnLst>
                        <p:par>
                          <p:cTn id="67" fill="hold">
                            <p:stCondLst>
                              <p:cond delay="0"/>
                            </p:stCondLst>
                            <p:childTnLst>
                              <p:par>
                                <p:cTn id="68" presetID="10" presetClass="entr" presetSubtype="0" fill="hold" nodeType="clickEffect">
                                  <p:stCondLst>
                                    <p:cond delay="0"/>
                                  </p:stCondLst>
                                  <p:childTnLst>
                                    <p:set>
                                      <p:cBhvr>
                                        <p:cTn id="69" dur="1" fill="hold">
                                          <p:stCondLst>
                                            <p:cond delay="0"/>
                                          </p:stCondLst>
                                        </p:cTn>
                                        <p:tgtEl>
                                          <p:spTgt spid="161"/>
                                        </p:tgtEl>
                                        <p:attrNameLst>
                                          <p:attrName>style.visibility</p:attrName>
                                        </p:attrNameLst>
                                      </p:cBhvr>
                                      <p:to>
                                        <p:strVal val="visible"/>
                                      </p:to>
                                    </p:set>
                                    <p:animEffect transition="in" filter="fade">
                                      <p:cBhvr>
                                        <p:cTn id="70" dur="500"/>
                                        <p:tgtEl>
                                          <p:spTgt spid="1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1" grpId="0" animBg="1"/>
      <p:bldP spid="119" grpId="0" animBg="1"/>
      <p:bldP spid="119" grpId="1" animBg="1"/>
      <p:bldP spid="155" grpId="0" animBg="1"/>
      <p:bldP spid="155" grpId="1"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410381" y="291548"/>
            <a:ext cx="11653523" cy="899537"/>
          </a:xfrm>
        </p:spPr>
        <p:txBody>
          <a:bodyPr/>
          <a:lstStyle/>
          <a:p>
            <a:r>
              <a:rPr lang="sv-SE" dirty="0"/>
              <a:t>IoT </a:t>
            </a:r>
            <a:r>
              <a:rPr lang="sv-SE" dirty="0" err="1"/>
              <a:t>Message</a:t>
            </a:r>
            <a:r>
              <a:rPr lang="sv-SE" dirty="0"/>
              <a:t> Exchange </a:t>
            </a:r>
            <a:r>
              <a:rPr lang="sv-SE" dirty="0" err="1"/>
              <a:t>Patterns</a:t>
            </a:r>
            <a:endParaRPr lang="en-IN" sz="4705" dirty="0">
              <a:solidFill>
                <a:schemeClr val="tx2"/>
              </a:solidFill>
            </a:endParaRPr>
          </a:p>
        </p:txBody>
      </p:sp>
      <p:sp>
        <p:nvSpPr>
          <p:cNvPr id="110" name="TextBox 109">
            <a:extLst>
              <a:ext uri="{FF2B5EF4-FFF2-40B4-BE49-F238E27FC236}">
                <a16:creationId xmlns:a16="http://schemas.microsoft.com/office/drawing/2014/main" id="{2AAF9087-772F-497D-82A5-5DB9379CEED0}"/>
              </a:ext>
            </a:extLst>
          </p:cNvPr>
          <p:cNvSpPr txBox="1"/>
          <p:nvPr/>
        </p:nvSpPr>
        <p:spPr>
          <a:xfrm>
            <a:off x="305362" y="1487561"/>
            <a:ext cx="987115" cy="615516"/>
          </a:xfrm>
          <a:prstGeom prst="rect">
            <a:avLst/>
          </a:prstGeom>
          <a:noFill/>
        </p:spPr>
        <p:txBody>
          <a:bodyPr wrap="none" lIns="179285" tIns="143428" rIns="179285" bIns="143428" rtlCol="0">
            <a:spAutoFit/>
          </a:bodyPr>
          <a:lstStyle/>
          <a:p>
            <a:pPr>
              <a:lnSpc>
                <a:spcPct val="90000"/>
              </a:lnSpc>
              <a:spcAft>
                <a:spcPts val="588"/>
              </a:spcAft>
            </a:pPr>
            <a:r>
              <a:rPr lang="sv-SE" sz="2353" dirty="0">
                <a:gradFill>
                  <a:gsLst>
                    <a:gs pos="2917">
                      <a:schemeClr val="tx1"/>
                    </a:gs>
                    <a:gs pos="30000">
                      <a:schemeClr val="tx1"/>
                    </a:gs>
                  </a:gsLst>
                  <a:lin ang="5400000" scaled="0"/>
                </a:gradFill>
              </a:rPr>
              <a:t>State</a:t>
            </a:r>
          </a:p>
        </p:txBody>
      </p:sp>
      <p:sp>
        <p:nvSpPr>
          <p:cNvPr id="113" name="Rectangle: Rounded Corners 112">
            <a:extLst>
              <a:ext uri="{FF2B5EF4-FFF2-40B4-BE49-F238E27FC236}">
                <a16:creationId xmlns:a16="http://schemas.microsoft.com/office/drawing/2014/main" id="{24793451-908E-4F7B-B987-E0401F65600B}"/>
              </a:ext>
            </a:extLst>
          </p:cNvPr>
          <p:cNvSpPr/>
          <p:nvPr/>
        </p:nvSpPr>
        <p:spPr bwMode="auto">
          <a:xfrm>
            <a:off x="5558151" y="1725812"/>
            <a:ext cx="2420321" cy="4840641"/>
          </a:xfrm>
          <a:prstGeom prst="roundRect">
            <a:avLst>
              <a:gd name="adj" fmla="val 1710"/>
            </a:avLst>
          </a:prstGeom>
          <a:no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sv-SE" sz="1961" dirty="0">
              <a:gradFill>
                <a:gsLst>
                  <a:gs pos="5417">
                    <a:schemeClr val="accent6"/>
                  </a:gs>
                  <a:gs pos="100000">
                    <a:schemeClr val="accent6"/>
                  </a:gs>
                </a:gsLst>
                <a:lin ang="5400000" scaled="0"/>
              </a:gradFill>
            </a:endParaRPr>
          </a:p>
        </p:txBody>
      </p:sp>
      <p:sp>
        <p:nvSpPr>
          <p:cNvPr id="116" name="TextBox 115">
            <a:extLst>
              <a:ext uri="{FF2B5EF4-FFF2-40B4-BE49-F238E27FC236}">
                <a16:creationId xmlns:a16="http://schemas.microsoft.com/office/drawing/2014/main" id="{AFA75872-4689-4DD0-A263-AD18A3A38CEF}"/>
              </a:ext>
            </a:extLst>
          </p:cNvPr>
          <p:cNvSpPr txBox="1"/>
          <p:nvPr/>
        </p:nvSpPr>
        <p:spPr>
          <a:xfrm>
            <a:off x="5558151" y="1677123"/>
            <a:ext cx="1317461" cy="615516"/>
          </a:xfrm>
          <a:prstGeom prst="rect">
            <a:avLst/>
          </a:prstGeom>
          <a:noFill/>
        </p:spPr>
        <p:txBody>
          <a:bodyPr wrap="none" lIns="179285" tIns="143428" rIns="179285" bIns="143428" rtlCol="0">
            <a:spAutoFit/>
          </a:bodyPr>
          <a:lstStyle/>
          <a:p>
            <a:pPr>
              <a:lnSpc>
                <a:spcPct val="90000"/>
              </a:lnSpc>
              <a:spcAft>
                <a:spcPts val="588"/>
              </a:spcAft>
            </a:pPr>
            <a:r>
              <a:rPr lang="sv-SE" sz="2353" dirty="0">
                <a:gradFill>
                  <a:gsLst>
                    <a:gs pos="2917">
                      <a:schemeClr val="tx1"/>
                    </a:gs>
                    <a:gs pos="30000">
                      <a:schemeClr val="tx1"/>
                    </a:gs>
                  </a:gsLst>
                  <a:lin ang="5400000" scaled="0"/>
                </a:gradFill>
              </a:rPr>
              <a:t>IoT </a:t>
            </a:r>
            <a:r>
              <a:rPr lang="sv-SE" sz="2353" dirty="0" err="1">
                <a:gradFill>
                  <a:gsLst>
                    <a:gs pos="2917">
                      <a:schemeClr val="tx1"/>
                    </a:gs>
                    <a:gs pos="30000">
                      <a:schemeClr val="tx1"/>
                    </a:gs>
                  </a:gsLst>
                  <a:lin ang="5400000" scaled="0"/>
                </a:gradFill>
              </a:rPr>
              <a:t>Hub</a:t>
            </a:r>
            <a:endParaRPr lang="sv-SE" sz="2353" dirty="0">
              <a:gradFill>
                <a:gsLst>
                  <a:gs pos="2917">
                    <a:schemeClr val="tx1"/>
                  </a:gs>
                  <a:gs pos="30000">
                    <a:schemeClr val="tx1"/>
                  </a:gs>
                </a:gsLst>
                <a:lin ang="5400000" scaled="0"/>
              </a:gradFill>
            </a:endParaRPr>
          </a:p>
        </p:txBody>
      </p:sp>
      <p:grpSp>
        <p:nvGrpSpPr>
          <p:cNvPr id="164" name="Group 163">
            <a:extLst>
              <a:ext uri="{FF2B5EF4-FFF2-40B4-BE49-F238E27FC236}">
                <a16:creationId xmlns:a16="http://schemas.microsoft.com/office/drawing/2014/main" id="{9B5E9F06-D4F0-434F-A285-098557D0357A}"/>
              </a:ext>
            </a:extLst>
          </p:cNvPr>
          <p:cNvGrpSpPr/>
          <p:nvPr/>
        </p:nvGrpSpPr>
        <p:grpSpPr>
          <a:xfrm>
            <a:off x="10010346" y="2174019"/>
            <a:ext cx="1463653" cy="4118673"/>
            <a:chOff x="10211074" y="2217116"/>
            <a:chExt cx="1493002" cy="4201261"/>
          </a:xfrm>
        </p:grpSpPr>
        <p:sp>
          <p:nvSpPr>
            <p:cNvPr id="33" name="Frame 5">
              <a:extLst>
                <a:ext uri="{FF2B5EF4-FFF2-40B4-BE49-F238E27FC236}">
                  <a16:creationId xmlns:a16="http://schemas.microsoft.com/office/drawing/2014/main" id="{6AAE7A2C-6358-40E7-80E9-A1C9E77E5519}"/>
                </a:ext>
              </a:extLst>
            </p:cNvPr>
            <p:cNvSpPr>
              <a:spLocks noChangeAspect="1"/>
            </p:cNvSpPr>
            <p:nvPr/>
          </p:nvSpPr>
          <p:spPr bwMode="auto">
            <a:xfrm>
              <a:off x="10211074" y="221711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34" name="Frame 5">
              <a:extLst>
                <a:ext uri="{FF2B5EF4-FFF2-40B4-BE49-F238E27FC236}">
                  <a16:creationId xmlns:a16="http://schemas.microsoft.com/office/drawing/2014/main" id="{5C849056-4454-4CC7-BDA9-0E8FBA756913}"/>
                </a:ext>
              </a:extLst>
            </p:cNvPr>
            <p:cNvSpPr>
              <a:spLocks noChangeAspect="1"/>
            </p:cNvSpPr>
            <p:nvPr/>
          </p:nvSpPr>
          <p:spPr bwMode="auto">
            <a:xfrm>
              <a:off x="10513330" y="221711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35" name="Frame 5">
              <a:extLst>
                <a:ext uri="{FF2B5EF4-FFF2-40B4-BE49-F238E27FC236}">
                  <a16:creationId xmlns:a16="http://schemas.microsoft.com/office/drawing/2014/main" id="{F034945C-E844-45EE-B43D-EDEEE24F2B8C}"/>
                </a:ext>
              </a:extLst>
            </p:cNvPr>
            <p:cNvSpPr>
              <a:spLocks noChangeAspect="1"/>
            </p:cNvSpPr>
            <p:nvPr/>
          </p:nvSpPr>
          <p:spPr bwMode="auto">
            <a:xfrm>
              <a:off x="10815586" y="221711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36" name="Frame 5">
              <a:extLst>
                <a:ext uri="{FF2B5EF4-FFF2-40B4-BE49-F238E27FC236}">
                  <a16:creationId xmlns:a16="http://schemas.microsoft.com/office/drawing/2014/main" id="{EF2CD93F-41DC-4424-87A7-F36BC69361C2}"/>
                </a:ext>
              </a:extLst>
            </p:cNvPr>
            <p:cNvSpPr>
              <a:spLocks noChangeAspect="1"/>
            </p:cNvSpPr>
            <p:nvPr/>
          </p:nvSpPr>
          <p:spPr bwMode="auto">
            <a:xfrm>
              <a:off x="11117842" y="221711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39" name="Frame 5">
              <a:extLst>
                <a:ext uri="{FF2B5EF4-FFF2-40B4-BE49-F238E27FC236}">
                  <a16:creationId xmlns:a16="http://schemas.microsoft.com/office/drawing/2014/main" id="{5E9401BB-E31E-47AC-8E3B-BD35768D447C}"/>
                </a:ext>
              </a:extLst>
            </p:cNvPr>
            <p:cNvSpPr>
              <a:spLocks noChangeAspect="1"/>
            </p:cNvSpPr>
            <p:nvPr/>
          </p:nvSpPr>
          <p:spPr bwMode="auto">
            <a:xfrm>
              <a:off x="11420098" y="221711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42" name="Frame 5">
              <a:extLst>
                <a:ext uri="{FF2B5EF4-FFF2-40B4-BE49-F238E27FC236}">
                  <a16:creationId xmlns:a16="http://schemas.microsoft.com/office/drawing/2014/main" id="{2B912413-298F-414F-A211-EF7F299E3F8E}"/>
                </a:ext>
              </a:extLst>
            </p:cNvPr>
            <p:cNvSpPr>
              <a:spLocks noChangeAspect="1"/>
            </p:cNvSpPr>
            <p:nvPr/>
          </p:nvSpPr>
          <p:spPr bwMode="auto">
            <a:xfrm>
              <a:off x="10211074" y="251989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43" name="Frame 5">
              <a:extLst>
                <a:ext uri="{FF2B5EF4-FFF2-40B4-BE49-F238E27FC236}">
                  <a16:creationId xmlns:a16="http://schemas.microsoft.com/office/drawing/2014/main" id="{34976A55-D731-48AA-A549-99AC45334BBC}"/>
                </a:ext>
              </a:extLst>
            </p:cNvPr>
            <p:cNvSpPr>
              <a:spLocks noChangeAspect="1"/>
            </p:cNvSpPr>
            <p:nvPr/>
          </p:nvSpPr>
          <p:spPr bwMode="auto">
            <a:xfrm>
              <a:off x="10513330" y="251989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46" name="Frame 5">
              <a:extLst>
                <a:ext uri="{FF2B5EF4-FFF2-40B4-BE49-F238E27FC236}">
                  <a16:creationId xmlns:a16="http://schemas.microsoft.com/office/drawing/2014/main" id="{B573AF9F-5597-4D79-9B2B-0FD1EDB0CC51}"/>
                </a:ext>
              </a:extLst>
            </p:cNvPr>
            <p:cNvSpPr>
              <a:spLocks noChangeAspect="1"/>
            </p:cNvSpPr>
            <p:nvPr/>
          </p:nvSpPr>
          <p:spPr bwMode="auto">
            <a:xfrm>
              <a:off x="10815586" y="251989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47" name="Frame 5">
              <a:extLst>
                <a:ext uri="{FF2B5EF4-FFF2-40B4-BE49-F238E27FC236}">
                  <a16:creationId xmlns:a16="http://schemas.microsoft.com/office/drawing/2014/main" id="{B26878EC-CDDD-4E11-9D62-E145FF4CE167}"/>
                </a:ext>
              </a:extLst>
            </p:cNvPr>
            <p:cNvSpPr>
              <a:spLocks noChangeAspect="1"/>
            </p:cNvSpPr>
            <p:nvPr/>
          </p:nvSpPr>
          <p:spPr bwMode="auto">
            <a:xfrm>
              <a:off x="11117842" y="251989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48" name="Frame 5">
              <a:extLst>
                <a:ext uri="{FF2B5EF4-FFF2-40B4-BE49-F238E27FC236}">
                  <a16:creationId xmlns:a16="http://schemas.microsoft.com/office/drawing/2014/main" id="{1A6CE0E6-7CE0-42D2-85F1-57CD5BA9DCCD}"/>
                </a:ext>
              </a:extLst>
            </p:cNvPr>
            <p:cNvSpPr>
              <a:spLocks noChangeAspect="1"/>
            </p:cNvSpPr>
            <p:nvPr/>
          </p:nvSpPr>
          <p:spPr bwMode="auto">
            <a:xfrm>
              <a:off x="11420098" y="251989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53" name="Frame 5">
              <a:extLst>
                <a:ext uri="{FF2B5EF4-FFF2-40B4-BE49-F238E27FC236}">
                  <a16:creationId xmlns:a16="http://schemas.microsoft.com/office/drawing/2014/main" id="{CE454E77-91CB-4020-9833-5204C3854A7C}"/>
                </a:ext>
              </a:extLst>
            </p:cNvPr>
            <p:cNvSpPr>
              <a:spLocks noChangeAspect="1"/>
            </p:cNvSpPr>
            <p:nvPr/>
          </p:nvSpPr>
          <p:spPr bwMode="auto">
            <a:xfrm>
              <a:off x="10211074" y="282268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67" name="Frame 5">
              <a:extLst>
                <a:ext uri="{FF2B5EF4-FFF2-40B4-BE49-F238E27FC236}">
                  <a16:creationId xmlns:a16="http://schemas.microsoft.com/office/drawing/2014/main" id="{B16B5240-C5D8-4A6B-B038-8DBD80C59F37}"/>
                </a:ext>
              </a:extLst>
            </p:cNvPr>
            <p:cNvSpPr>
              <a:spLocks noChangeAspect="1"/>
            </p:cNvSpPr>
            <p:nvPr/>
          </p:nvSpPr>
          <p:spPr bwMode="auto">
            <a:xfrm>
              <a:off x="10513330" y="282268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68" name="Frame 5">
              <a:extLst>
                <a:ext uri="{FF2B5EF4-FFF2-40B4-BE49-F238E27FC236}">
                  <a16:creationId xmlns:a16="http://schemas.microsoft.com/office/drawing/2014/main" id="{4666DB86-135B-4977-AF56-26384905C98A}"/>
                </a:ext>
              </a:extLst>
            </p:cNvPr>
            <p:cNvSpPr>
              <a:spLocks noChangeAspect="1"/>
            </p:cNvSpPr>
            <p:nvPr/>
          </p:nvSpPr>
          <p:spPr bwMode="auto">
            <a:xfrm>
              <a:off x="10815586" y="282268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69" name="Frame 5">
              <a:extLst>
                <a:ext uri="{FF2B5EF4-FFF2-40B4-BE49-F238E27FC236}">
                  <a16:creationId xmlns:a16="http://schemas.microsoft.com/office/drawing/2014/main" id="{17C8D3EE-5D42-48E0-97AB-343907FF0ABA}"/>
                </a:ext>
              </a:extLst>
            </p:cNvPr>
            <p:cNvSpPr>
              <a:spLocks noChangeAspect="1"/>
            </p:cNvSpPr>
            <p:nvPr/>
          </p:nvSpPr>
          <p:spPr bwMode="auto">
            <a:xfrm>
              <a:off x="11117842" y="282268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70" name="Frame 5">
              <a:extLst>
                <a:ext uri="{FF2B5EF4-FFF2-40B4-BE49-F238E27FC236}">
                  <a16:creationId xmlns:a16="http://schemas.microsoft.com/office/drawing/2014/main" id="{F1DAB5A2-7AFC-445C-B47D-A7BE26EA7F8C}"/>
                </a:ext>
              </a:extLst>
            </p:cNvPr>
            <p:cNvSpPr>
              <a:spLocks noChangeAspect="1"/>
            </p:cNvSpPr>
            <p:nvPr/>
          </p:nvSpPr>
          <p:spPr bwMode="auto">
            <a:xfrm>
              <a:off x="11420098" y="282268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73" name="Frame 5">
              <a:extLst>
                <a:ext uri="{FF2B5EF4-FFF2-40B4-BE49-F238E27FC236}">
                  <a16:creationId xmlns:a16="http://schemas.microsoft.com/office/drawing/2014/main" id="{69D1C89B-A4E0-4212-8E80-702A6945FFB2}"/>
                </a:ext>
              </a:extLst>
            </p:cNvPr>
            <p:cNvSpPr>
              <a:spLocks noChangeAspect="1"/>
            </p:cNvSpPr>
            <p:nvPr/>
          </p:nvSpPr>
          <p:spPr bwMode="auto">
            <a:xfrm>
              <a:off x="10211074" y="312546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74" name="Frame 5">
              <a:extLst>
                <a:ext uri="{FF2B5EF4-FFF2-40B4-BE49-F238E27FC236}">
                  <a16:creationId xmlns:a16="http://schemas.microsoft.com/office/drawing/2014/main" id="{B6B9C6A8-1743-4FB2-9A59-A8AF9618A9E9}"/>
                </a:ext>
              </a:extLst>
            </p:cNvPr>
            <p:cNvSpPr>
              <a:spLocks noChangeAspect="1"/>
            </p:cNvSpPr>
            <p:nvPr/>
          </p:nvSpPr>
          <p:spPr bwMode="auto">
            <a:xfrm>
              <a:off x="10513330" y="312546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75" name="Frame 5">
              <a:extLst>
                <a:ext uri="{FF2B5EF4-FFF2-40B4-BE49-F238E27FC236}">
                  <a16:creationId xmlns:a16="http://schemas.microsoft.com/office/drawing/2014/main" id="{319475CC-5168-4FC2-9FC1-B5384E596BC4}"/>
                </a:ext>
              </a:extLst>
            </p:cNvPr>
            <p:cNvSpPr>
              <a:spLocks noChangeAspect="1"/>
            </p:cNvSpPr>
            <p:nvPr/>
          </p:nvSpPr>
          <p:spPr bwMode="auto">
            <a:xfrm>
              <a:off x="10815586" y="312546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76" name="Frame 5">
              <a:extLst>
                <a:ext uri="{FF2B5EF4-FFF2-40B4-BE49-F238E27FC236}">
                  <a16:creationId xmlns:a16="http://schemas.microsoft.com/office/drawing/2014/main" id="{AB565922-F561-49B5-A281-D9E7C7D0094F}"/>
                </a:ext>
              </a:extLst>
            </p:cNvPr>
            <p:cNvSpPr>
              <a:spLocks noChangeAspect="1"/>
            </p:cNvSpPr>
            <p:nvPr/>
          </p:nvSpPr>
          <p:spPr bwMode="auto">
            <a:xfrm>
              <a:off x="11117842" y="312546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77" name="Frame 5">
              <a:extLst>
                <a:ext uri="{FF2B5EF4-FFF2-40B4-BE49-F238E27FC236}">
                  <a16:creationId xmlns:a16="http://schemas.microsoft.com/office/drawing/2014/main" id="{4C2B2821-FD88-42A7-984B-91F1757E0FC1}"/>
                </a:ext>
              </a:extLst>
            </p:cNvPr>
            <p:cNvSpPr>
              <a:spLocks noChangeAspect="1"/>
            </p:cNvSpPr>
            <p:nvPr/>
          </p:nvSpPr>
          <p:spPr bwMode="auto">
            <a:xfrm>
              <a:off x="11420098" y="312546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80" name="Frame 5">
              <a:extLst>
                <a:ext uri="{FF2B5EF4-FFF2-40B4-BE49-F238E27FC236}">
                  <a16:creationId xmlns:a16="http://schemas.microsoft.com/office/drawing/2014/main" id="{150AC678-BAA5-42F3-A6B1-3CA64B1FD66C}"/>
                </a:ext>
              </a:extLst>
            </p:cNvPr>
            <p:cNvSpPr>
              <a:spLocks noChangeAspect="1"/>
            </p:cNvSpPr>
            <p:nvPr/>
          </p:nvSpPr>
          <p:spPr bwMode="auto">
            <a:xfrm>
              <a:off x="10211074" y="342824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81" name="Frame 5">
              <a:extLst>
                <a:ext uri="{FF2B5EF4-FFF2-40B4-BE49-F238E27FC236}">
                  <a16:creationId xmlns:a16="http://schemas.microsoft.com/office/drawing/2014/main" id="{AB89F195-BF01-47E7-94A8-41F91A8812F7}"/>
                </a:ext>
              </a:extLst>
            </p:cNvPr>
            <p:cNvSpPr>
              <a:spLocks noChangeAspect="1"/>
            </p:cNvSpPr>
            <p:nvPr/>
          </p:nvSpPr>
          <p:spPr bwMode="auto">
            <a:xfrm>
              <a:off x="10513330" y="342824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82" name="Frame 5">
              <a:extLst>
                <a:ext uri="{FF2B5EF4-FFF2-40B4-BE49-F238E27FC236}">
                  <a16:creationId xmlns:a16="http://schemas.microsoft.com/office/drawing/2014/main" id="{15C5526C-740A-4A13-A506-47578FAE5E94}"/>
                </a:ext>
              </a:extLst>
            </p:cNvPr>
            <p:cNvSpPr>
              <a:spLocks noChangeAspect="1"/>
            </p:cNvSpPr>
            <p:nvPr/>
          </p:nvSpPr>
          <p:spPr bwMode="auto">
            <a:xfrm>
              <a:off x="10815586" y="342824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83" name="Frame 5">
              <a:extLst>
                <a:ext uri="{FF2B5EF4-FFF2-40B4-BE49-F238E27FC236}">
                  <a16:creationId xmlns:a16="http://schemas.microsoft.com/office/drawing/2014/main" id="{1114B207-3C69-4D08-A13C-456C36FB4854}"/>
                </a:ext>
              </a:extLst>
            </p:cNvPr>
            <p:cNvSpPr>
              <a:spLocks noChangeAspect="1"/>
            </p:cNvSpPr>
            <p:nvPr/>
          </p:nvSpPr>
          <p:spPr bwMode="auto">
            <a:xfrm>
              <a:off x="11117842" y="342824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84" name="Frame 5">
              <a:extLst>
                <a:ext uri="{FF2B5EF4-FFF2-40B4-BE49-F238E27FC236}">
                  <a16:creationId xmlns:a16="http://schemas.microsoft.com/office/drawing/2014/main" id="{19BBEE82-DDB9-44F0-B1BC-E4D977A41736}"/>
                </a:ext>
              </a:extLst>
            </p:cNvPr>
            <p:cNvSpPr>
              <a:spLocks noChangeAspect="1"/>
            </p:cNvSpPr>
            <p:nvPr/>
          </p:nvSpPr>
          <p:spPr bwMode="auto">
            <a:xfrm>
              <a:off x="11420098" y="342824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87" name="Frame 5">
              <a:extLst>
                <a:ext uri="{FF2B5EF4-FFF2-40B4-BE49-F238E27FC236}">
                  <a16:creationId xmlns:a16="http://schemas.microsoft.com/office/drawing/2014/main" id="{9025E1AF-6731-40D9-BFC8-02E1D1D5424C}"/>
                </a:ext>
              </a:extLst>
            </p:cNvPr>
            <p:cNvSpPr>
              <a:spLocks noChangeAspect="1"/>
            </p:cNvSpPr>
            <p:nvPr/>
          </p:nvSpPr>
          <p:spPr bwMode="auto">
            <a:xfrm>
              <a:off x="10211074" y="373103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88" name="Frame 5">
              <a:extLst>
                <a:ext uri="{FF2B5EF4-FFF2-40B4-BE49-F238E27FC236}">
                  <a16:creationId xmlns:a16="http://schemas.microsoft.com/office/drawing/2014/main" id="{CE52CEA9-0803-45B5-8371-72BD5DDB0B44}"/>
                </a:ext>
              </a:extLst>
            </p:cNvPr>
            <p:cNvSpPr>
              <a:spLocks noChangeAspect="1"/>
            </p:cNvSpPr>
            <p:nvPr/>
          </p:nvSpPr>
          <p:spPr bwMode="auto">
            <a:xfrm>
              <a:off x="10513330" y="373103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89" name="Frame 5">
              <a:extLst>
                <a:ext uri="{FF2B5EF4-FFF2-40B4-BE49-F238E27FC236}">
                  <a16:creationId xmlns:a16="http://schemas.microsoft.com/office/drawing/2014/main" id="{B5846028-A38F-4E14-B3B7-8558C777CEE8}"/>
                </a:ext>
              </a:extLst>
            </p:cNvPr>
            <p:cNvSpPr>
              <a:spLocks noChangeAspect="1"/>
            </p:cNvSpPr>
            <p:nvPr/>
          </p:nvSpPr>
          <p:spPr bwMode="auto">
            <a:xfrm>
              <a:off x="10815586" y="373103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90" name="Frame 5">
              <a:extLst>
                <a:ext uri="{FF2B5EF4-FFF2-40B4-BE49-F238E27FC236}">
                  <a16:creationId xmlns:a16="http://schemas.microsoft.com/office/drawing/2014/main" id="{35429E11-B4FA-42CC-9D2D-FF3B55CB2E6A}"/>
                </a:ext>
              </a:extLst>
            </p:cNvPr>
            <p:cNvSpPr>
              <a:spLocks noChangeAspect="1"/>
            </p:cNvSpPr>
            <p:nvPr/>
          </p:nvSpPr>
          <p:spPr bwMode="auto">
            <a:xfrm>
              <a:off x="11117842" y="373103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91" name="Frame 5">
              <a:extLst>
                <a:ext uri="{FF2B5EF4-FFF2-40B4-BE49-F238E27FC236}">
                  <a16:creationId xmlns:a16="http://schemas.microsoft.com/office/drawing/2014/main" id="{79A6FAF3-0025-4CA0-AEEB-2140615EEDC4}"/>
                </a:ext>
              </a:extLst>
            </p:cNvPr>
            <p:cNvSpPr>
              <a:spLocks noChangeAspect="1"/>
            </p:cNvSpPr>
            <p:nvPr/>
          </p:nvSpPr>
          <p:spPr bwMode="auto">
            <a:xfrm>
              <a:off x="11420098" y="373103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94" name="Frame 5">
              <a:extLst>
                <a:ext uri="{FF2B5EF4-FFF2-40B4-BE49-F238E27FC236}">
                  <a16:creationId xmlns:a16="http://schemas.microsoft.com/office/drawing/2014/main" id="{2E90C2EA-4D11-4F0D-A57F-1CE5277B76F7}"/>
                </a:ext>
              </a:extLst>
            </p:cNvPr>
            <p:cNvSpPr>
              <a:spLocks noChangeAspect="1"/>
            </p:cNvSpPr>
            <p:nvPr/>
          </p:nvSpPr>
          <p:spPr bwMode="auto">
            <a:xfrm>
              <a:off x="10211074" y="403381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95" name="Frame 5">
              <a:extLst>
                <a:ext uri="{FF2B5EF4-FFF2-40B4-BE49-F238E27FC236}">
                  <a16:creationId xmlns:a16="http://schemas.microsoft.com/office/drawing/2014/main" id="{B6EA4690-7695-4095-B840-B33B567E9D0D}"/>
                </a:ext>
              </a:extLst>
            </p:cNvPr>
            <p:cNvSpPr>
              <a:spLocks noChangeAspect="1"/>
            </p:cNvSpPr>
            <p:nvPr/>
          </p:nvSpPr>
          <p:spPr bwMode="auto">
            <a:xfrm>
              <a:off x="10513330" y="403381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96" name="Frame 5">
              <a:extLst>
                <a:ext uri="{FF2B5EF4-FFF2-40B4-BE49-F238E27FC236}">
                  <a16:creationId xmlns:a16="http://schemas.microsoft.com/office/drawing/2014/main" id="{491CB16F-A6C7-4846-8619-39A7473585FA}"/>
                </a:ext>
              </a:extLst>
            </p:cNvPr>
            <p:cNvSpPr>
              <a:spLocks noChangeAspect="1"/>
            </p:cNvSpPr>
            <p:nvPr/>
          </p:nvSpPr>
          <p:spPr bwMode="auto">
            <a:xfrm>
              <a:off x="10815586" y="403381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97" name="Frame 5">
              <a:extLst>
                <a:ext uri="{FF2B5EF4-FFF2-40B4-BE49-F238E27FC236}">
                  <a16:creationId xmlns:a16="http://schemas.microsoft.com/office/drawing/2014/main" id="{C3F7026F-B40E-4901-BAD7-D8F42B2D92D7}"/>
                </a:ext>
              </a:extLst>
            </p:cNvPr>
            <p:cNvSpPr>
              <a:spLocks noChangeAspect="1"/>
            </p:cNvSpPr>
            <p:nvPr/>
          </p:nvSpPr>
          <p:spPr bwMode="auto">
            <a:xfrm>
              <a:off x="11117842" y="403381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98" name="Frame 5">
              <a:extLst>
                <a:ext uri="{FF2B5EF4-FFF2-40B4-BE49-F238E27FC236}">
                  <a16:creationId xmlns:a16="http://schemas.microsoft.com/office/drawing/2014/main" id="{6F617DB9-082F-4B92-A013-B9D1453BBB83}"/>
                </a:ext>
              </a:extLst>
            </p:cNvPr>
            <p:cNvSpPr>
              <a:spLocks noChangeAspect="1"/>
            </p:cNvSpPr>
            <p:nvPr/>
          </p:nvSpPr>
          <p:spPr bwMode="auto">
            <a:xfrm>
              <a:off x="11420098" y="403381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20" name="Frame 5">
              <a:extLst>
                <a:ext uri="{FF2B5EF4-FFF2-40B4-BE49-F238E27FC236}">
                  <a16:creationId xmlns:a16="http://schemas.microsoft.com/office/drawing/2014/main" id="{0B65E01D-E88B-4A9A-9570-3AF75E890C5E}"/>
                </a:ext>
              </a:extLst>
            </p:cNvPr>
            <p:cNvSpPr>
              <a:spLocks noChangeAspect="1"/>
            </p:cNvSpPr>
            <p:nvPr/>
          </p:nvSpPr>
          <p:spPr bwMode="auto">
            <a:xfrm>
              <a:off x="10220736" y="432743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21" name="Frame 5">
              <a:extLst>
                <a:ext uri="{FF2B5EF4-FFF2-40B4-BE49-F238E27FC236}">
                  <a16:creationId xmlns:a16="http://schemas.microsoft.com/office/drawing/2014/main" id="{F8403804-A157-4402-9AA2-623962C2F794}"/>
                </a:ext>
              </a:extLst>
            </p:cNvPr>
            <p:cNvSpPr>
              <a:spLocks noChangeAspect="1"/>
            </p:cNvSpPr>
            <p:nvPr/>
          </p:nvSpPr>
          <p:spPr bwMode="auto">
            <a:xfrm>
              <a:off x="10522992" y="432743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22" name="Frame 5">
              <a:extLst>
                <a:ext uri="{FF2B5EF4-FFF2-40B4-BE49-F238E27FC236}">
                  <a16:creationId xmlns:a16="http://schemas.microsoft.com/office/drawing/2014/main" id="{535025D6-0EA5-4552-AE92-0DEF931ACD5A}"/>
                </a:ext>
              </a:extLst>
            </p:cNvPr>
            <p:cNvSpPr>
              <a:spLocks noChangeAspect="1"/>
            </p:cNvSpPr>
            <p:nvPr/>
          </p:nvSpPr>
          <p:spPr bwMode="auto">
            <a:xfrm>
              <a:off x="10825248" y="432743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23" name="Frame 5">
              <a:extLst>
                <a:ext uri="{FF2B5EF4-FFF2-40B4-BE49-F238E27FC236}">
                  <a16:creationId xmlns:a16="http://schemas.microsoft.com/office/drawing/2014/main" id="{FE40C43D-30DD-4AFC-9D6A-A7E3159C6200}"/>
                </a:ext>
              </a:extLst>
            </p:cNvPr>
            <p:cNvSpPr>
              <a:spLocks noChangeAspect="1"/>
            </p:cNvSpPr>
            <p:nvPr/>
          </p:nvSpPr>
          <p:spPr bwMode="auto">
            <a:xfrm>
              <a:off x="11127504" y="432743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24" name="Frame 5">
              <a:extLst>
                <a:ext uri="{FF2B5EF4-FFF2-40B4-BE49-F238E27FC236}">
                  <a16:creationId xmlns:a16="http://schemas.microsoft.com/office/drawing/2014/main" id="{6E86BAF6-8D28-45B5-A211-CA9711CB34C1}"/>
                </a:ext>
              </a:extLst>
            </p:cNvPr>
            <p:cNvSpPr>
              <a:spLocks noChangeAspect="1"/>
            </p:cNvSpPr>
            <p:nvPr/>
          </p:nvSpPr>
          <p:spPr bwMode="auto">
            <a:xfrm>
              <a:off x="11429760" y="432743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25" name="Frame 5">
              <a:extLst>
                <a:ext uri="{FF2B5EF4-FFF2-40B4-BE49-F238E27FC236}">
                  <a16:creationId xmlns:a16="http://schemas.microsoft.com/office/drawing/2014/main" id="{E0558F56-C704-4CE1-8C57-4EE61D29CA57}"/>
                </a:ext>
              </a:extLst>
            </p:cNvPr>
            <p:cNvSpPr>
              <a:spLocks noChangeAspect="1"/>
            </p:cNvSpPr>
            <p:nvPr/>
          </p:nvSpPr>
          <p:spPr bwMode="auto">
            <a:xfrm>
              <a:off x="10220736" y="463021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26" name="Frame 5">
              <a:extLst>
                <a:ext uri="{FF2B5EF4-FFF2-40B4-BE49-F238E27FC236}">
                  <a16:creationId xmlns:a16="http://schemas.microsoft.com/office/drawing/2014/main" id="{33AD8291-8CD0-4680-8FE6-55A4A566CB9B}"/>
                </a:ext>
              </a:extLst>
            </p:cNvPr>
            <p:cNvSpPr>
              <a:spLocks noChangeAspect="1"/>
            </p:cNvSpPr>
            <p:nvPr/>
          </p:nvSpPr>
          <p:spPr bwMode="auto">
            <a:xfrm>
              <a:off x="10522992" y="463021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27" name="Frame 5">
              <a:extLst>
                <a:ext uri="{FF2B5EF4-FFF2-40B4-BE49-F238E27FC236}">
                  <a16:creationId xmlns:a16="http://schemas.microsoft.com/office/drawing/2014/main" id="{F093E0A1-7C5F-4D64-83AA-AD618A7D3866}"/>
                </a:ext>
              </a:extLst>
            </p:cNvPr>
            <p:cNvSpPr>
              <a:spLocks noChangeAspect="1"/>
            </p:cNvSpPr>
            <p:nvPr/>
          </p:nvSpPr>
          <p:spPr bwMode="auto">
            <a:xfrm>
              <a:off x="10825248" y="463021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28" name="Frame 5">
              <a:extLst>
                <a:ext uri="{FF2B5EF4-FFF2-40B4-BE49-F238E27FC236}">
                  <a16:creationId xmlns:a16="http://schemas.microsoft.com/office/drawing/2014/main" id="{DD54CAB4-D7A8-4068-A9DB-245064E5113A}"/>
                </a:ext>
              </a:extLst>
            </p:cNvPr>
            <p:cNvSpPr>
              <a:spLocks noChangeAspect="1"/>
            </p:cNvSpPr>
            <p:nvPr/>
          </p:nvSpPr>
          <p:spPr bwMode="auto">
            <a:xfrm>
              <a:off x="11127504" y="463021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29" name="Frame 5">
              <a:extLst>
                <a:ext uri="{FF2B5EF4-FFF2-40B4-BE49-F238E27FC236}">
                  <a16:creationId xmlns:a16="http://schemas.microsoft.com/office/drawing/2014/main" id="{B9A8DBB1-7ECD-4988-B4CB-5DB70F416AB1}"/>
                </a:ext>
              </a:extLst>
            </p:cNvPr>
            <p:cNvSpPr>
              <a:spLocks noChangeAspect="1"/>
            </p:cNvSpPr>
            <p:nvPr/>
          </p:nvSpPr>
          <p:spPr bwMode="auto">
            <a:xfrm>
              <a:off x="11429760" y="463021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30" name="Frame 5">
              <a:extLst>
                <a:ext uri="{FF2B5EF4-FFF2-40B4-BE49-F238E27FC236}">
                  <a16:creationId xmlns:a16="http://schemas.microsoft.com/office/drawing/2014/main" id="{7E1BEF43-2EA1-46F3-A329-D59936134CD4}"/>
                </a:ext>
              </a:extLst>
            </p:cNvPr>
            <p:cNvSpPr>
              <a:spLocks noChangeAspect="1"/>
            </p:cNvSpPr>
            <p:nvPr/>
          </p:nvSpPr>
          <p:spPr bwMode="auto">
            <a:xfrm>
              <a:off x="10220736" y="493300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31" name="Frame 5">
              <a:extLst>
                <a:ext uri="{FF2B5EF4-FFF2-40B4-BE49-F238E27FC236}">
                  <a16:creationId xmlns:a16="http://schemas.microsoft.com/office/drawing/2014/main" id="{52AD8A62-50F7-4D15-BE2A-877553897593}"/>
                </a:ext>
              </a:extLst>
            </p:cNvPr>
            <p:cNvSpPr>
              <a:spLocks noChangeAspect="1"/>
            </p:cNvSpPr>
            <p:nvPr/>
          </p:nvSpPr>
          <p:spPr bwMode="auto">
            <a:xfrm>
              <a:off x="10522992" y="493300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32" name="Frame 5">
              <a:extLst>
                <a:ext uri="{FF2B5EF4-FFF2-40B4-BE49-F238E27FC236}">
                  <a16:creationId xmlns:a16="http://schemas.microsoft.com/office/drawing/2014/main" id="{F5A6025E-E9D7-401F-97CD-64D9CA1DC5DD}"/>
                </a:ext>
              </a:extLst>
            </p:cNvPr>
            <p:cNvSpPr>
              <a:spLocks noChangeAspect="1"/>
            </p:cNvSpPr>
            <p:nvPr/>
          </p:nvSpPr>
          <p:spPr bwMode="auto">
            <a:xfrm>
              <a:off x="10825248" y="493300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33" name="Frame 5">
              <a:extLst>
                <a:ext uri="{FF2B5EF4-FFF2-40B4-BE49-F238E27FC236}">
                  <a16:creationId xmlns:a16="http://schemas.microsoft.com/office/drawing/2014/main" id="{6E6860D4-BFF1-4491-BECB-8CC3B81B5EE3}"/>
                </a:ext>
              </a:extLst>
            </p:cNvPr>
            <p:cNvSpPr>
              <a:spLocks noChangeAspect="1"/>
            </p:cNvSpPr>
            <p:nvPr/>
          </p:nvSpPr>
          <p:spPr bwMode="auto">
            <a:xfrm>
              <a:off x="11127504" y="493300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34" name="Frame 5">
              <a:extLst>
                <a:ext uri="{FF2B5EF4-FFF2-40B4-BE49-F238E27FC236}">
                  <a16:creationId xmlns:a16="http://schemas.microsoft.com/office/drawing/2014/main" id="{CFAA7C86-9844-45C1-8397-75EE2B198F9B}"/>
                </a:ext>
              </a:extLst>
            </p:cNvPr>
            <p:cNvSpPr>
              <a:spLocks noChangeAspect="1"/>
            </p:cNvSpPr>
            <p:nvPr/>
          </p:nvSpPr>
          <p:spPr bwMode="auto">
            <a:xfrm>
              <a:off x="11429760" y="493300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35" name="Frame 5">
              <a:extLst>
                <a:ext uri="{FF2B5EF4-FFF2-40B4-BE49-F238E27FC236}">
                  <a16:creationId xmlns:a16="http://schemas.microsoft.com/office/drawing/2014/main" id="{3C2C50B5-0F93-431F-AE94-A5AD2EE6383E}"/>
                </a:ext>
              </a:extLst>
            </p:cNvPr>
            <p:cNvSpPr>
              <a:spLocks noChangeAspect="1"/>
            </p:cNvSpPr>
            <p:nvPr/>
          </p:nvSpPr>
          <p:spPr bwMode="auto">
            <a:xfrm>
              <a:off x="10220736" y="523578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36" name="Frame 5">
              <a:extLst>
                <a:ext uri="{FF2B5EF4-FFF2-40B4-BE49-F238E27FC236}">
                  <a16:creationId xmlns:a16="http://schemas.microsoft.com/office/drawing/2014/main" id="{71417149-B74A-4BD2-A018-9C3E9D4D1AB0}"/>
                </a:ext>
              </a:extLst>
            </p:cNvPr>
            <p:cNvSpPr>
              <a:spLocks noChangeAspect="1"/>
            </p:cNvSpPr>
            <p:nvPr/>
          </p:nvSpPr>
          <p:spPr bwMode="auto">
            <a:xfrm>
              <a:off x="10522992" y="523578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37" name="Frame 5">
              <a:extLst>
                <a:ext uri="{FF2B5EF4-FFF2-40B4-BE49-F238E27FC236}">
                  <a16:creationId xmlns:a16="http://schemas.microsoft.com/office/drawing/2014/main" id="{3FDA089B-8202-41CF-91D6-7788701D53C9}"/>
                </a:ext>
              </a:extLst>
            </p:cNvPr>
            <p:cNvSpPr>
              <a:spLocks noChangeAspect="1"/>
            </p:cNvSpPr>
            <p:nvPr/>
          </p:nvSpPr>
          <p:spPr bwMode="auto">
            <a:xfrm>
              <a:off x="10825248" y="523578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38" name="Frame 5">
              <a:extLst>
                <a:ext uri="{FF2B5EF4-FFF2-40B4-BE49-F238E27FC236}">
                  <a16:creationId xmlns:a16="http://schemas.microsoft.com/office/drawing/2014/main" id="{4378B8E8-8D11-40E4-B99D-263AC8256087}"/>
                </a:ext>
              </a:extLst>
            </p:cNvPr>
            <p:cNvSpPr>
              <a:spLocks noChangeAspect="1"/>
            </p:cNvSpPr>
            <p:nvPr/>
          </p:nvSpPr>
          <p:spPr bwMode="auto">
            <a:xfrm>
              <a:off x="11127504" y="523578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39" name="Frame 5">
              <a:extLst>
                <a:ext uri="{FF2B5EF4-FFF2-40B4-BE49-F238E27FC236}">
                  <a16:creationId xmlns:a16="http://schemas.microsoft.com/office/drawing/2014/main" id="{97702B86-634A-4D65-A016-FA239D3DF1AD}"/>
                </a:ext>
              </a:extLst>
            </p:cNvPr>
            <p:cNvSpPr>
              <a:spLocks noChangeAspect="1"/>
            </p:cNvSpPr>
            <p:nvPr/>
          </p:nvSpPr>
          <p:spPr bwMode="auto">
            <a:xfrm>
              <a:off x="11429760" y="523578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40" name="Frame 5">
              <a:extLst>
                <a:ext uri="{FF2B5EF4-FFF2-40B4-BE49-F238E27FC236}">
                  <a16:creationId xmlns:a16="http://schemas.microsoft.com/office/drawing/2014/main" id="{89999CA6-F36E-4571-9DE5-9F6FC7FFBF53}"/>
                </a:ext>
              </a:extLst>
            </p:cNvPr>
            <p:cNvSpPr>
              <a:spLocks noChangeAspect="1"/>
            </p:cNvSpPr>
            <p:nvPr/>
          </p:nvSpPr>
          <p:spPr bwMode="auto">
            <a:xfrm>
              <a:off x="10220736" y="553856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41" name="Frame 5">
              <a:extLst>
                <a:ext uri="{FF2B5EF4-FFF2-40B4-BE49-F238E27FC236}">
                  <a16:creationId xmlns:a16="http://schemas.microsoft.com/office/drawing/2014/main" id="{51926374-B36E-473F-B548-5BB959FFFAD5}"/>
                </a:ext>
              </a:extLst>
            </p:cNvPr>
            <p:cNvSpPr>
              <a:spLocks noChangeAspect="1"/>
            </p:cNvSpPr>
            <p:nvPr/>
          </p:nvSpPr>
          <p:spPr bwMode="auto">
            <a:xfrm>
              <a:off x="10522992" y="553856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42" name="Frame 5">
              <a:extLst>
                <a:ext uri="{FF2B5EF4-FFF2-40B4-BE49-F238E27FC236}">
                  <a16:creationId xmlns:a16="http://schemas.microsoft.com/office/drawing/2014/main" id="{27069069-5331-4D95-8606-3C2455D5314A}"/>
                </a:ext>
              </a:extLst>
            </p:cNvPr>
            <p:cNvSpPr>
              <a:spLocks noChangeAspect="1"/>
            </p:cNvSpPr>
            <p:nvPr/>
          </p:nvSpPr>
          <p:spPr bwMode="auto">
            <a:xfrm>
              <a:off x="10825248" y="553856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43" name="Frame 5">
              <a:extLst>
                <a:ext uri="{FF2B5EF4-FFF2-40B4-BE49-F238E27FC236}">
                  <a16:creationId xmlns:a16="http://schemas.microsoft.com/office/drawing/2014/main" id="{8D5E7B07-F778-4913-96A8-607D88614D92}"/>
                </a:ext>
              </a:extLst>
            </p:cNvPr>
            <p:cNvSpPr>
              <a:spLocks noChangeAspect="1"/>
            </p:cNvSpPr>
            <p:nvPr/>
          </p:nvSpPr>
          <p:spPr bwMode="auto">
            <a:xfrm>
              <a:off x="11127504" y="553856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44" name="Frame 5">
              <a:extLst>
                <a:ext uri="{FF2B5EF4-FFF2-40B4-BE49-F238E27FC236}">
                  <a16:creationId xmlns:a16="http://schemas.microsoft.com/office/drawing/2014/main" id="{A53FD703-EBBB-4F6D-BFAF-45EBB3090E16}"/>
                </a:ext>
              </a:extLst>
            </p:cNvPr>
            <p:cNvSpPr>
              <a:spLocks noChangeAspect="1"/>
            </p:cNvSpPr>
            <p:nvPr/>
          </p:nvSpPr>
          <p:spPr bwMode="auto">
            <a:xfrm>
              <a:off x="11429760" y="553856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45" name="Frame 5">
              <a:extLst>
                <a:ext uri="{FF2B5EF4-FFF2-40B4-BE49-F238E27FC236}">
                  <a16:creationId xmlns:a16="http://schemas.microsoft.com/office/drawing/2014/main" id="{76BE248D-C6A4-4157-99B8-7B0175335FE2}"/>
                </a:ext>
              </a:extLst>
            </p:cNvPr>
            <p:cNvSpPr>
              <a:spLocks noChangeAspect="1"/>
            </p:cNvSpPr>
            <p:nvPr/>
          </p:nvSpPr>
          <p:spPr bwMode="auto">
            <a:xfrm>
              <a:off x="10220736" y="584135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46" name="Frame 5">
              <a:extLst>
                <a:ext uri="{FF2B5EF4-FFF2-40B4-BE49-F238E27FC236}">
                  <a16:creationId xmlns:a16="http://schemas.microsoft.com/office/drawing/2014/main" id="{2A0F37EA-5A0E-418F-BFD7-10EED36C030B}"/>
                </a:ext>
              </a:extLst>
            </p:cNvPr>
            <p:cNvSpPr>
              <a:spLocks noChangeAspect="1"/>
            </p:cNvSpPr>
            <p:nvPr/>
          </p:nvSpPr>
          <p:spPr bwMode="auto">
            <a:xfrm>
              <a:off x="10522992" y="584135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47" name="Frame 5">
              <a:extLst>
                <a:ext uri="{FF2B5EF4-FFF2-40B4-BE49-F238E27FC236}">
                  <a16:creationId xmlns:a16="http://schemas.microsoft.com/office/drawing/2014/main" id="{F0EB4AF5-A986-431A-AB57-A38B1A6BA569}"/>
                </a:ext>
              </a:extLst>
            </p:cNvPr>
            <p:cNvSpPr>
              <a:spLocks noChangeAspect="1"/>
            </p:cNvSpPr>
            <p:nvPr/>
          </p:nvSpPr>
          <p:spPr bwMode="auto">
            <a:xfrm>
              <a:off x="10825248" y="584135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48" name="Frame 5">
              <a:extLst>
                <a:ext uri="{FF2B5EF4-FFF2-40B4-BE49-F238E27FC236}">
                  <a16:creationId xmlns:a16="http://schemas.microsoft.com/office/drawing/2014/main" id="{DE304C76-5E2F-4845-99EA-F5929344223F}"/>
                </a:ext>
              </a:extLst>
            </p:cNvPr>
            <p:cNvSpPr>
              <a:spLocks noChangeAspect="1"/>
            </p:cNvSpPr>
            <p:nvPr/>
          </p:nvSpPr>
          <p:spPr bwMode="auto">
            <a:xfrm>
              <a:off x="11127504" y="584135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49" name="Frame 5">
              <a:extLst>
                <a:ext uri="{FF2B5EF4-FFF2-40B4-BE49-F238E27FC236}">
                  <a16:creationId xmlns:a16="http://schemas.microsoft.com/office/drawing/2014/main" id="{525A9628-4393-4584-966E-3AD93066E51D}"/>
                </a:ext>
              </a:extLst>
            </p:cNvPr>
            <p:cNvSpPr>
              <a:spLocks noChangeAspect="1"/>
            </p:cNvSpPr>
            <p:nvPr/>
          </p:nvSpPr>
          <p:spPr bwMode="auto">
            <a:xfrm>
              <a:off x="11429760" y="584135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50" name="Frame 5">
              <a:extLst>
                <a:ext uri="{FF2B5EF4-FFF2-40B4-BE49-F238E27FC236}">
                  <a16:creationId xmlns:a16="http://schemas.microsoft.com/office/drawing/2014/main" id="{F46724B9-AD78-491C-9C4B-AE5BA9A77CD9}"/>
                </a:ext>
              </a:extLst>
            </p:cNvPr>
            <p:cNvSpPr>
              <a:spLocks noChangeAspect="1"/>
            </p:cNvSpPr>
            <p:nvPr/>
          </p:nvSpPr>
          <p:spPr bwMode="auto">
            <a:xfrm>
              <a:off x="10220736" y="614413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51" name="Frame 5">
              <a:extLst>
                <a:ext uri="{FF2B5EF4-FFF2-40B4-BE49-F238E27FC236}">
                  <a16:creationId xmlns:a16="http://schemas.microsoft.com/office/drawing/2014/main" id="{C62D2447-B2D0-4778-B196-1948CE9FA881}"/>
                </a:ext>
              </a:extLst>
            </p:cNvPr>
            <p:cNvSpPr>
              <a:spLocks noChangeAspect="1"/>
            </p:cNvSpPr>
            <p:nvPr/>
          </p:nvSpPr>
          <p:spPr bwMode="auto">
            <a:xfrm>
              <a:off x="10522992" y="614413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52" name="Frame 5">
              <a:extLst>
                <a:ext uri="{FF2B5EF4-FFF2-40B4-BE49-F238E27FC236}">
                  <a16:creationId xmlns:a16="http://schemas.microsoft.com/office/drawing/2014/main" id="{8F5B5763-EA46-4FDA-9679-B45803A79EA2}"/>
                </a:ext>
              </a:extLst>
            </p:cNvPr>
            <p:cNvSpPr>
              <a:spLocks noChangeAspect="1"/>
            </p:cNvSpPr>
            <p:nvPr/>
          </p:nvSpPr>
          <p:spPr bwMode="auto">
            <a:xfrm>
              <a:off x="10825248" y="614413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53" name="Frame 5">
              <a:extLst>
                <a:ext uri="{FF2B5EF4-FFF2-40B4-BE49-F238E27FC236}">
                  <a16:creationId xmlns:a16="http://schemas.microsoft.com/office/drawing/2014/main" id="{66AAD492-4831-464E-80B3-5562FF298176}"/>
                </a:ext>
              </a:extLst>
            </p:cNvPr>
            <p:cNvSpPr>
              <a:spLocks noChangeAspect="1"/>
            </p:cNvSpPr>
            <p:nvPr/>
          </p:nvSpPr>
          <p:spPr bwMode="auto">
            <a:xfrm>
              <a:off x="11127504" y="614413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54" name="Frame 5">
              <a:extLst>
                <a:ext uri="{FF2B5EF4-FFF2-40B4-BE49-F238E27FC236}">
                  <a16:creationId xmlns:a16="http://schemas.microsoft.com/office/drawing/2014/main" id="{EE8631A6-7CBE-4A31-9634-36879FC80314}"/>
                </a:ext>
              </a:extLst>
            </p:cNvPr>
            <p:cNvSpPr>
              <a:spLocks noChangeAspect="1"/>
            </p:cNvSpPr>
            <p:nvPr/>
          </p:nvSpPr>
          <p:spPr bwMode="auto">
            <a:xfrm>
              <a:off x="11429760" y="614413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grpSp>
      <p:cxnSp>
        <p:nvCxnSpPr>
          <p:cNvPr id="161" name="Connector: Elbow 160">
            <a:extLst>
              <a:ext uri="{FF2B5EF4-FFF2-40B4-BE49-F238E27FC236}">
                <a16:creationId xmlns:a16="http://schemas.microsoft.com/office/drawing/2014/main" id="{8767D011-E66A-4D31-8524-D95842C510A9}"/>
              </a:ext>
            </a:extLst>
          </p:cNvPr>
          <p:cNvCxnSpPr>
            <a:cxnSpLocks/>
            <a:stCxn id="114" idx="3"/>
          </p:cNvCxnSpPr>
          <p:nvPr/>
        </p:nvCxnSpPr>
        <p:spPr>
          <a:xfrm flipV="1">
            <a:off x="7454265" y="2816451"/>
            <a:ext cx="2541726" cy="1645689"/>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65" name="TextBox 164">
            <a:extLst>
              <a:ext uri="{FF2B5EF4-FFF2-40B4-BE49-F238E27FC236}">
                <a16:creationId xmlns:a16="http://schemas.microsoft.com/office/drawing/2014/main" id="{AEA6F104-9257-43B4-AAE4-EF3C496B44C2}"/>
              </a:ext>
            </a:extLst>
          </p:cNvPr>
          <p:cNvSpPr txBox="1"/>
          <p:nvPr/>
        </p:nvSpPr>
        <p:spPr>
          <a:xfrm>
            <a:off x="9771204" y="1609887"/>
            <a:ext cx="1299957" cy="615516"/>
          </a:xfrm>
          <a:prstGeom prst="rect">
            <a:avLst/>
          </a:prstGeom>
          <a:noFill/>
        </p:spPr>
        <p:txBody>
          <a:bodyPr wrap="none" lIns="179285" tIns="143428" rIns="179285" bIns="143428" rtlCol="0">
            <a:spAutoFit/>
          </a:bodyPr>
          <a:lstStyle/>
          <a:p>
            <a:pPr>
              <a:lnSpc>
                <a:spcPct val="90000"/>
              </a:lnSpc>
              <a:spcAft>
                <a:spcPts val="588"/>
              </a:spcAft>
            </a:pPr>
            <a:r>
              <a:rPr lang="sv-SE" sz="2353" dirty="0" err="1">
                <a:gradFill>
                  <a:gsLst>
                    <a:gs pos="2917">
                      <a:schemeClr val="tx1"/>
                    </a:gs>
                    <a:gs pos="30000">
                      <a:schemeClr val="tx1"/>
                    </a:gs>
                  </a:gsLst>
                  <a:lin ang="5400000" scaled="0"/>
                </a:gradFill>
              </a:rPr>
              <a:t>Devices</a:t>
            </a:r>
            <a:endParaRPr lang="sv-SE" sz="2353" dirty="0">
              <a:gradFill>
                <a:gsLst>
                  <a:gs pos="2917">
                    <a:schemeClr val="tx1"/>
                  </a:gs>
                  <a:gs pos="30000">
                    <a:schemeClr val="tx1"/>
                  </a:gs>
                </a:gsLst>
                <a:lin ang="5400000" scaled="0"/>
              </a:gradFill>
            </a:endParaRPr>
          </a:p>
        </p:txBody>
      </p:sp>
      <p:sp>
        <p:nvSpPr>
          <p:cNvPr id="112" name="Rectangle: Rounded Corners 111">
            <a:extLst>
              <a:ext uri="{FF2B5EF4-FFF2-40B4-BE49-F238E27FC236}">
                <a16:creationId xmlns:a16="http://schemas.microsoft.com/office/drawing/2014/main" id="{514CFB06-C360-4601-8897-33A2DF374FA3}"/>
              </a:ext>
            </a:extLst>
          </p:cNvPr>
          <p:cNvSpPr/>
          <p:nvPr/>
        </p:nvSpPr>
        <p:spPr bwMode="auto">
          <a:xfrm>
            <a:off x="5915422" y="3575217"/>
            <a:ext cx="1733067" cy="1736254"/>
          </a:xfrm>
          <a:prstGeom prst="roundRect">
            <a:avLst>
              <a:gd name="adj" fmla="val 1710"/>
            </a:avLst>
          </a:prstGeom>
          <a:no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sv-SE" sz="1961" dirty="0">
              <a:gradFill>
                <a:gsLst>
                  <a:gs pos="5417">
                    <a:schemeClr val="accent6"/>
                  </a:gs>
                  <a:gs pos="100000">
                    <a:schemeClr val="accent6"/>
                  </a:gs>
                </a:gsLst>
                <a:lin ang="5400000" scaled="0"/>
              </a:gradFill>
            </a:endParaRPr>
          </a:p>
        </p:txBody>
      </p:sp>
      <p:grpSp>
        <p:nvGrpSpPr>
          <p:cNvPr id="7" name="Group 6">
            <a:extLst>
              <a:ext uri="{FF2B5EF4-FFF2-40B4-BE49-F238E27FC236}">
                <a16:creationId xmlns:a16="http://schemas.microsoft.com/office/drawing/2014/main" id="{744EDDCD-3B60-4CE9-A820-C5516F2402F1}"/>
              </a:ext>
            </a:extLst>
          </p:cNvPr>
          <p:cNvGrpSpPr/>
          <p:nvPr/>
        </p:nvGrpSpPr>
        <p:grpSpPr>
          <a:xfrm>
            <a:off x="5788909" y="3417281"/>
            <a:ext cx="373747" cy="387105"/>
            <a:chOff x="4922605" y="2279443"/>
            <a:chExt cx="381241" cy="394867"/>
          </a:xfrm>
        </p:grpSpPr>
        <p:sp>
          <p:nvSpPr>
            <p:cNvPr id="3" name="Rectangle 2">
              <a:extLst>
                <a:ext uri="{FF2B5EF4-FFF2-40B4-BE49-F238E27FC236}">
                  <a16:creationId xmlns:a16="http://schemas.microsoft.com/office/drawing/2014/main" id="{852FDED9-A971-4F4A-9F95-05B4CD24686C}"/>
                </a:ext>
              </a:extLst>
            </p:cNvPr>
            <p:cNvSpPr/>
            <p:nvPr/>
          </p:nvSpPr>
          <p:spPr bwMode="auto">
            <a:xfrm>
              <a:off x="4922605" y="2279443"/>
              <a:ext cx="381241" cy="394867"/>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sv-SE" sz="1961" dirty="0">
                <a:gradFill>
                  <a:gsLst>
                    <a:gs pos="5417">
                      <a:schemeClr val="accent6"/>
                    </a:gs>
                    <a:gs pos="100000">
                      <a:schemeClr val="accent6"/>
                    </a:gs>
                  </a:gsLst>
                  <a:lin ang="5400000" scaled="0"/>
                </a:gradFill>
              </a:endParaRPr>
            </a:p>
          </p:txBody>
        </p:sp>
        <p:sp>
          <p:nvSpPr>
            <p:cNvPr id="108" name="Frame 5">
              <a:extLst>
                <a:ext uri="{FF2B5EF4-FFF2-40B4-BE49-F238E27FC236}">
                  <a16:creationId xmlns:a16="http://schemas.microsoft.com/office/drawing/2014/main" id="{9B09FCE0-705C-4F87-8656-42DF6CAEA3AC}"/>
                </a:ext>
              </a:extLst>
            </p:cNvPr>
            <p:cNvSpPr>
              <a:spLocks noChangeAspect="1"/>
            </p:cNvSpPr>
            <p:nvPr/>
          </p:nvSpPr>
          <p:spPr bwMode="auto">
            <a:xfrm>
              <a:off x="4947371" y="2307316"/>
              <a:ext cx="336279" cy="336190"/>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grpSp>
      <p:sp>
        <p:nvSpPr>
          <p:cNvPr id="9" name="Rectangle 8">
            <a:extLst>
              <a:ext uri="{FF2B5EF4-FFF2-40B4-BE49-F238E27FC236}">
                <a16:creationId xmlns:a16="http://schemas.microsoft.com/office/drawing/2014/main" id="{3B5D2CFA-3E6D-46BD-B4AE-6F68B4138762}"/>
              </a:ext>
            </a:extLst>
          </p:cNvPr>
          <p:cNvSpPr/>
          <p:nvPr/>
        </p:nvSpPr>
        <p:spPr bwMode="auto">
          <a:xfrm>
            <a:off x="6109643" y="3857974"/>
            <a:ext cx="1344623" cy="349763"/>
          </a:xfrm>
          <a:prstGeom prst="rect">
            <a:avLst/>
          </a:prstGeom>
          <a:solidFill>
            <a:schemeClr val="bg1"/>
          </a:solid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b" anchorCtr="0" compatLnSpc="1">
            <a:prstTxWarp prst="textNoShape">
              <a:avLst/>
            </a:prstTxWarp>
          </a:bodyPr>
          <a:lstStyle/>
          <a:p>
            <a:pPr algn="ctr" defTabSz="914102" fontAlgn="base">
              <a:spcBef>
                <a:spcPct val="0"/>
              </a:spcBef>
              <a:spcAft>
                <a:spcPct val="0"/>
              </a:spcAft>
            </a:pPr>
            <a:r>
              <a:rPr lang="sv-SE" sz="1765" dirty="0">
                <a:solidFill>
                  <a:schemeClr val="tx1"/>
                </a:solidFill>
              </a:rPr>
              <a:t>Tags</a:t>
            </a:r>
            <a:endParaRPr lang="sv-SE" sz="1961" dirty="0">
              <a:solidFill>
                <a:schemeClr val="tx1"/>
              </a:solidFill>
            </a:endParaRPr>
          </a:p>
        </p:txBody>
      </p:sp>
      <p:sp>
        <p:nvSpPr>
          <p:cNvPr id="114" name="Rectangle 113">
            <a:extLst>
              <a:ext uri="{FF2B5EF4-FFF2-40B4-BE49-F238E27FC236}">
                <a16:creationId xmlns:a16="http://schemas.microsoft.com/office/drawing/2014/main" id="{58EBA68F-3104-4184-84C5-237B5E74A1C3}"/>
              </a:ext>
            </a:extLst>
          </p:cNvPr>
          <p:cNvSpPr/>
          <p:nvPr/>
        </p:nvSpPr>
        <p:spPr bwMode="auto">
          <a:xfrm>
            <a:off x="6109642" y="4287258"/>
            <a:ext cx="1344623" cy="349763"/>
          </a:xfrm>
          <a:prstGeom prst="rect">
            <a:avLst/>
          </a:prstGeom>
          <a:solidFill>
            <a:schemeClr val="bg1"/>
          </a:solid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b" anchorCtr="0" compatLnSpc="1">
            <a:prstTxWarp prst="textNoShape">
              <a:avLst/>
            </a:prstTxWarp>
          </a:bodyPr>
          <a:lstStyle/>
          <a:p>
            <a:pPr algn="ctr" defTabSz="914102" fontAlgn="base">
              <a:spcBef>
                <a:spcPct val="0"/>
              </a:spcBef>
              <a:spcAft>
                <a:spcPct val="0"/>
              </a:spcAft>
            </a:pPr>
            <a:r>
              <a:rPr lang="en-US" sz="1765" dirty="0">
                <a:gradFill>
                  <a:gsLst>
                    <a:gs pos="5417">
                      <a:schemeClr val="accent6"/>
                    </a:gs>
                    <a:gs pos="100000">
                      <a:schemeClr val="accent6"/>
                    </a:gs>
                  </a:gsLst>
                  <a:lin ang="5400000" scaled="0"/>
                </a:gradFill>
              </a:rPr>
              <a:t>Desired</a:t>
            </a:r>
            <a:endParaRPr lang="en-US" sz="1961" dirty="0">
              <a:gradFill>
                <a:gsLst>
                  <a:gs pos="5417">
                    <a:schemeClr val="accent6"/>
                  </a:gs>
                  <a:gs pos="100000">
                    <a:schemeClr val="accent6"/>
                  </a:gs>
                </a:gsLst>
                <a:lin ang="5400000" scaled="0"/>
              </a:gradFill>
            </a:endParaRPr>
          </a:p>
        </p:txBody>
      </p:sp>
      <p:sp>
        <p:nvSpPr>
          <p:cNvPr id="117" name="Rectangle 116">
            <a:extLst>
              <a:ext uri="{FF2B5EF4-FFF2-40B4-BE49-F238E27FC236}">
                <a16:creationId xmlns:a16="http://schemas.microsoft.com/office/drawing/2014/main" id="{5AB8A091-F810-485E-81A9-25B0189E2F98}"/>
              </a:ext>
            </a:extLst>
          </p:cNvPr>
          <p:cNvSpPr/>
          <p:nvPr/>
        </p:nvSpPr>
        <p:spPr bwMode="auto">
          <a:xfrm>
            <a:off x="6109642" y="4737196"/>
            <a:ext cx="1344623" cy="349763"/>
          </a:xfrm>
          <a:prstGeom prst="rect">
            <a:avLst/>
          </a:prstGeom>
          <a:solidFill>
            <a:schemeClr val="bg1"/>
          </a:solid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b" anchorCtr="0" compatLnSpc="1">
            <a:prstTxWarp prst="textNoShape">
              <a:avLst/>
            </a:prstTxWarp>
          </a:bodyPr>
          <a:lstStyle/>
          <a:p>
            <a:pPr algn="ctr" defTabSz="914102" fontAlgn="base">
              <a:spcBef>
                <a:spcPct val="0"/>
              </a:spcBef>
              <a:spcAft>
                <a:spcPct val="0"/>
              </a:spcAft>
            </a:pPr>
            <a:r>
              <a:rPr lang="en-US" sz="1765" dirty="0">
                <a:solidFill>
                  <a:srgbClr val="FF0000"/>
                </a:solidFill>
              </a:rPr>
              <a:t>Reported</a:t>
            </a:r>
            <a:endParaRPr lang="en-US" sz="1961" dirty="0">
              <a:solidFill>
                <a:srgbClr val="FF0000"/>
              </a:solidFill>
            </a:endParaRPr>
          </a:p>
        </p:txBody>
      </p:sp>
      <p:cxnSp>
        <p:nvCxnSpPr>
          <p:cNvPr id="156" name="Connector: Elbow 155">
            <a:extLst>
              <a:ext uri="{FF2B5EF4-FFF2-40B4-BE49-F238E27FC236}">
                <a16:creationId xmlns:a16="http://schemas.microsoft.com/office/drawing/2014/main" id="{A4510213-D7F3-4DFC-B320-7E9DBC09A1E6}"/>
              </a:ext>
            </a:extLst>
          </p:cNvPr>
          <p:cNvCxnSpPr>
            <a:cxnSpLocks/>
            <a:endCxn id="117" idx="3"/>
          </p:cNvCxnSpPr>
          <p:nvPr/>
        </p:nvCxnSpPr>
        <p:spPr>
          <a:xfrm rot="10800000" flipV="1">
            <a:off x="7454265" y="2980792"/>
            <a:ext cx="2538164" cy="1931285"/>
          </a:xfrm>
          <a:prstGeom prst="bentConnector3">
            <a:avLst>
              <a:gd name="adj1" fmla="val 42936"/>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4" name="Group 23">
            <a:extLst>
              <a:ext uri="{FF2B5EF4-FFF2-40B4-BE49-F238E27FC236}">
                <a16:creationId xmlns:a16="http://schemas.microsoft.com/office/drawing/2014/main" id="{7630CCDF-EE19-4116-B3E9-C819D305F1E0}"/>
              </a:ext>
            </a:extLst>
          </p:cNvPr>
          <p:cNvGrpSpPr/>
          <p:nvPr/>
        </p:nvGrpSpPr>
        <p:grpSpPr>
          <a:xfrm>
            <a:off x="2831305" y="2837789"/>
            <a:ext cx="1714891" cy="3619489"/>
            <a:chOff x="2888078" y="2894196"/>
            <a:chExt cx="1749278" cy="3692067"/>
          </a:xfrm>
        </p:grpSpPr>
        <p:grpSp>
          <p:nvGrpSpPr>
            <p:cNvPr id="20" name="Group 19">
              <a:extLst>
                <a:ext uri="{FF2B5EF4-FFF2-40B4-BE49-F238E27FC236}">
                  <a16:creationId xmlns:a16="http://schemas.microsoft.com/office/drawing/2014/main" id="{DF57B673-8D5F-46DE-9EE7-8A2C302149C8}"/>
                </a:ext>
              </a:extLst>
            </p:cNvPr>
            <p:cNvGrpSpPr/>
            <p:nvPr/>
          </p:nvGrpSpPr>
          <p:grpSpPr>
            <a:xfrm>
              <a:off x="2888078" y="2943945"/>
              <a:ext cx="1276987" cy="3571122"/>
              <a:chOff x="587256" y="2519899"/>
              <a:chExt cx="1505389" cy="4209855"/>
            </a:xfrm>
          </p:grpSpPr>
          <p:pic>
            <p:nvPicPr>
              <p:cNvPr id="162" name="Picture 161">
                <a:extLst>
                  <a:ext uri="{FF2B5EF4-FFF2-40B4-BE49-F238E27FC236}">
                    <a16:creationId xmlns:a16="http://schemas.microsoft.com/office/drawing/2014/main" id="{904CAA0C-D7CA-4584-9535-6C467FC3DF61}"/>
                  </a:ext>
                </a:extLst>
              </p:cNvPr>
              <p:cNvPicPr>
                <a:picLocks noChangeAspect="1"/>
              </p:cNvPicPr>
              <p:nvPr/>
            </p:nvPicPr>
            <p:blipFill>
              <a:blip r:embed="rId3"/>
              <a:stretch>
                <a:fillRect/>
              </a:stretch>
            </p:blipFill>
            <p:spPr>
              <a:xfrm>
                <a:off x="956030" y="2519899"/>
                <a:ext cx="826960" cy="826960"/>
              </a:xfrm>
              <a:prstGeom prst="rect">
                <a:avLst/>
              </a:prstGeom>
            </p:spPr>
          </p:pic>
          <p:pic>
            <p:nvPicPr>
              <p:cNvPr id="163" name="Picture 162">
                <a:extLst>
                  <a:ext uri="{FF2B5EF4-FFF2-40B4-BE49-F238E27FC236}">
                    <a16:creationId xmlns:a16="http://schemas.microsoft.com/office/drawing/2014/main" id="{9CC74494-CA08-4480-8C29-1581AF0D99F1}"/>
                  </a:ext>
                </a:extLst>
              </p:cNvPr>
              <p:cNvPicPr>
                <a:picLocks noChangeAspect="1"/>
              </p:cNvPicPr>
              <p:nvPr/>
            </p:nvPicPr>
            <p:blipFill>
              <a:blip r:embed="rId4"/>
              <a:stretch>
                <a:fillRect/>
              </a:stretch>
            </p:blipFill>
            <p:spPr>
              <a:xfrm>
                <a:off x="1062518" y="4120805"/>
                <a:ext cx="687504" cy="687504"/>
              </a:xfrm>
              <a:prstGeom prst="rect">
                <a:avLst/>
              </a:prstGeom>
            </p:spPr>
          </p:pic>
          <p:pic>
            <p:nvPicPr>
              <p:cNvPr id="167" name="Picture 166">
                <a:extLst>
                  <a:ext uri="{FF2B5EF4-FFF2-40B4-BE49-F238E27FC236}">
                    <a16:creationId xmlns:a16="http://schemas.microsoft.com/office/drawing/2014/main" id="{1AA2FBBF-FE67-4786-A0F2-06990EB89401}"/>
                  </a:ext>
                </a:extLst>
              </p:cNvPr>
              <p:cNvPicPr>
                <a:picLocks noChangeAspect="1"/>
              </p:cNvPicPr>
              <p:nvPr/>
            </p:nvPicPr>
            <p:blipFill>
              <a:blip r:embed="rId5"/>
              <a:stretch>
                <a:fillRect/>
              </a:stretch>
            </p:blipFill>
            <p:spPr>
              <a:xfrm>
                <a:off x="956030" y="5510322"/>
                <a:ext cx="695804" cy="695804"/>
              </a:xfrm>
              <a:prstGeom prst="rect">
                <a:avLst/>
              </a:prstGeom>
            </p:spPr>
          </p:pic>
          <p:sp>
            <p:nvSpPr>
              <p:cNvPr id="168" name="TextBox 167">
                <a:extLst>
                  <a:ext uri="{FF2B5EF4-FFF2-40B4-BE49-F238E27FC236}">
                    <a16:creationId xmlns:a16="http://schemas.microsoft.com/office/drawing/2014/main" id="{DA5FA9FD-2043-432D-B99E-1A724216B227}"/>
                  </a:ext>
                </a:extLst>
              </p:cNvPr>
              <p:cNvSpPr txBox="1"/>
              <p:nvPr/>
            </p:nvSpPr>
            <p:spPr>
              <a:xfrm>
                <a:off x="652834" y="3160393"/>
                <a:ext cx="1433351" cy="805473"/>
              </a:xfrm>
              <a:prstGeom prst="rect">
                <a:avLst/>
              </a:prstGeom>
              <a:noFill/>
            </p:spPr>
            <p:txBody>
              <a:bodyPr wrap="square" lIns="179285" tIns="143428" rIns="179285" bIns="143428" rtlCol="0">
                <a:spAutoFit/>
              </a:bodyPr>
              <a:lstStyle/>
              <a:p>
                <a:pPr algn="ctr">
                  <a:lnSpc>
                    <a:spcPct val="90000"/>
                  </a:lnSpc>
                  <a:spcAft>
                    <a:spcPts val="588"/>
                  </a:spcAft>
                </a:pPr>
                <a:r>
                  <a:rPr lang="en-US" sz="1372" dirty="0">
                    <a:gradFill>
                      <a:gsLst>
                        <a:gs pos="2917">
                          <a:schemeClr val="tx1"/>
                        </a:gs>
                        <a:gs pos="30000">
                          <a:schemeClr val="tx1"/>
                        </a:gs>
                      </a:gsLst>
                      <a:lin ang="5400000" scaled="0"/>
                    </a:gradFill>
                  </a:rPr>
                  <a:t>Function App</a:t>
                </a:r>
              </a:p>
            </p:txBody>
          </p:sp>
          <p:sp>
            <p:nvSpPr>
              <p:cNvPr id="169" name="TextBox 168">
                <a:extLst>
                  <a:ext uri="{FF2B5EF4-FFF2-40B4-BE49-F238E27FC236}">
                    <a16:creationId xmlns:a16="http://schemas.microsoft.com/office/drawing/2014/main" id="{0D01DFCD-EFAB-4209-8E09-89512639F511}"/>
                  </a:ext>
                </a:extLst>
              </p:cNvPr>
              <p:cNvSpPr txBox="1"/>
              <p:nvPr/>
            </p:nvSpPr>
            <p:spPr>
              <a:xfrm>
                <a:off x="659294" y="4767340"/>
                <a:ext cx="1433351" cy="576893"/>
              </a:xfrm>
              <a:prstGeom prst="rect">
                <a:avLst/>
              </a:prstGeom>
              <a:noFill/>
            </p:spPr>
            <p:txBody>
              <a:bodyPr wrap="square" lIns="179285" tIns="143428" rIns="179285" bIns="143428" rtlCol="0">
                <a:spAutoFit/>
              </a:bodyPr>
              <a:lstStyle/>
              <a:p>
                <a:pPr algn="ctr">
                  <a:lnSpc>
                    <a:spcPct val="90000"/>
                  </a:lnSpc>
                  <a:spcAft>
                    <a:spcPts val="588"/>
                  </a:spcAft>
                </a:pPr>
                <a:r>
                  <a:rPr lang="en-US" sz="1372" dirty="0">
                    <a:gradFill>
                      <a:gsLst>
                        <a:gs pos="2917">
                          <a:schemeClr val="tx1"/>
                        </a:gs>
                        <a:gs pos="30000">
                          <a:schemeClr val="tx1"/>
                        </a:gs>
                      </a:gsLst>
                      <a:lin ang="5400000" scaled="0"/>
                    </a:gradFill>
                  </a:rPr>
                  <a:t>Logic App</a:t>
                </a:r>
              </a:p>
            </p:txBody>
          </p:sp>
          <p:sp>
            <p:nvSpPr>
              <p:cNvPr id="170" name="TextBox 169">
                <a:extLst>
                  <a:ext uri="{FF2B5EF4-FFF2-40B4-BE49-F238E27FC236}">
                    <a16:creationId xmlns:a16="http://schemas.microsoft.com/office/drawing/2014/main" id="{2D968C3C-4231-48E6-A951-69F084E5CECE}"/>
                  </a:ext>
                </a:extLst>
              </p:cNvPr>
              <p:cNvSpPr txBox="1"/>
              <p:nvPr/>
            </p:nvSpPr>
            <p:spPr>
              <a:xfrm>
                <a:off x="587256" y="6152861"/>
                <a:ext cx="1433351" cy="576893"/>
              </a:xfrm>
              <a:prstGeom prst="rect">
                <a:avLst/>
              </a:prstGeom>
              <a:noFill/>
            </p:spPr>
            <p:txBody>
              <a:bodyPr wrap="square" lIns="179285" tIns="143428" rIns="179285" bIns="143428" rtlCol="0">
                <a:spAutoFit/>
              </a:bodyPr>
              <a:lstStyle/>
              <a:p>
                <a:pPr algn="ctr">
                  <a:lnSpc>
                    <a:spcPct val="90000"/>
                  </a:lnSpc>
                  <a:spcAft>
                    <a:spcPts val="588"/>
                  </a:spcAft>
                </a:pPr>
                <a:r>
                  <a:rPr lang="en-US" sz="1372" dirty="0">
                    <a:gradFill>
                      <a:gsLst>
                        <a:gs pos="2917">
                          <a:schemeClr val="tx1"/>
                        </a:gs>
                        <a:gs pos="30000">
                          <a:schemeClr val="tx1"/>
                        </a:gs>
                      </a:gsLst>
                      <a:lin ang="5400000" scaled="0"/>
                    </a:gradFill>
                  </a:rPr>
                  <a:t>Custom</a:t>
                </a:r>
              </a:p>
            </p:txBody>
          </p:sp>
        </p:grpSp>
        <p:sp>
          <p:nvSpPr>
            <p:cNvPr id="23" name="Right Brace 22">
              <a:extLst>
                <a:ext uri="{FF2B5EF4-FFF2-40B4-BE49-F238E27FC236}">
                  <a16:creationId xmlns:a16="http://schemas.microsoft.com/office/drawing/2014/main" id="{8498C0A4-B7B3-4F60-BC43-08FC967536CC}"/>
                </a:ext>
              </a:extLst>
            </p:cNvPr>
            <p:cNvSpPr/>
            <p:nvPr/>
          </p:nvSpPr>
          <p:spPr>
            <a:xfrm>
              <a:off x="4400450" y="2894196"/>
              <a:ext cx="236906" cy="3692067"/>
            </a:xfrm>
            <a:prstGeom prst="rightBrace">
              <a:avLst>
                <a:gd name="adj1" fmla="val 12167"/>
                <a:gd name="adj2" fmla="val 50000"/>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sv-SE" sz="1765"/>
            </a:p>
          </p:txBody>
        </p:sp>
      </p:grpSp>
      <p:sp>
        <p:nvSpPr>
          <p:cNvPr id="171" name="Striped Right Arrow 8">
            <a:extLst>
              <a:ext uri="{FF2B5EF4-FFF2-40B4-BE49-F238E27FC236}">
                <a16:creationId xmlns:a16="http://schemas.microsoft.com/office/drawing/2014/main" id="{F4C5D909-5297-4CFB-BBA6-B083631ABCBA}"/>
              </a:ext>
            </a:extLst>
          </p:cNvPr>
          <p:cNvSpPr/>
          <p:nvPr/>
        </p:nvSpPr>
        <p:spPr bwMode="auto">
          <a:xfrm>
            <a:off x="4896723" y="4325338"/>
            <a:ext cx="1149390" cy="311683"/>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endParaRPr lang="en-US" sz="1961" dirty="0">
              <a:gradFill>
                <a:gsLst>
                  <a:gs pos="16814">
                    <a:srgbClr val="FFFFFF"/>
                  </a:gs>
                  <a:gs pos="46000">
                    <a:srgbClr val="FFFFFF"/>
                  </a:gs>
                </a:gsLst>
                <a:lin ang="5400000" scaled="0"/>
              </a:gradFill>
            </a:endParaRPr>
          </a:p>
        </p:txBody>
      </p:sp>
      <p:sp>
        <p:nvSpPr>
          <p:cNvPr id="172" name="Striped Right Arrow 8">
            <a:extLst>
              <a:ext uri="{FF2B5EF4-FFF2-40B4-BE49-F238E27FC236}">
                <a16:creationId xmlns:a16="http://schemas.microsoft.com/office/drawing/2014/main" id="{1D390FE5-2DA7-417F-8870-76ACA2277E7F}"/>
              </a:ext>
            </a:extLst>
          </p:cNvPr>
          <p:cNvSpPr/>
          <p:nvPr/>
        </p:nvSpPr>
        <p:spPr bwMode="auto">
          <a:xfrm rot="10800000">
            <a:off x="4824989" y="4756235"/>
            <a:ext cx="1194802" cy="311683"/>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endParaRPr lang="en-US" sz="1961" dirty="0">
              <a:gradFill>
                <a:gsLst>
                  <a:gs pos="16814">
                    <a:srgbClr val="FFFFFF"/>
                  </a:gs>
                  <a:gs pos="46000">
                    <a:srgbClr val="FFFFFF"/>
                  </a:gs>
                </a:gsLst>
                <a:lin ang="5400000" scaled="0"/>
              </a:gradFill>
            </a:endParaRPr>
          </a:p>
        </p:txBody>
      </p:sp>
      <p:grpSp>
        <p:nvGrpSpPr>
          <p:cNvPr id="27" name="Group 26">
            <a:extLst>
              <a:ext uri="{FF2B5EF4-FFF2-40B4-BE49-F238E27FC236}">
                <a16:creationId xmlns:a16="http://schemas.microsoft.com/office/drawing/2014/main" id="{33BAC39F-F6DC-4855-A3A1-6F661D6840C9}"/>
              </a:ext>
            </a:extLst>
          </p:cNvPr>
          <p:cNvGrpSpPr/>
          <p:nvPr/>
        </p:nvGrpSpPr>
        <p:grpSpPr>
          <a:xfrm>
            <a:off x="9950586" y="2108328"/>
            <a:ext cx="1951703" cy="4212343"/>
            <a:chOff x="10150115" y="2150107"/>
            <a:chExt cx="1990839" cy="4296809"/>
          </a:xfrm>
        </p:grpSpPr>
        <p:sp>
          <p:nvSpPr>
            <p:cNvPr id="25" name="Rectangle 24">
              <a:extLst>
                <a:ext uri="{FF2B5EF4-FFF2-40B4-BE49-F238E27FC236}">
                  <a16:creationId xmlns:a16="http://schemas.microsoft.com/office/drawing/2014/main" id="{3B30478B-70BB-45B8-A689-4DEF628884F2}"/>
                </a:ext>
              </a:extLst>
            </p:cNvPr>
            <p:cNvSpPr/>
            <p:nvPr/>
          </p:nvSpPr>
          <p:spPr bwMode="auto">
            <a:xfrm>
              <a:off x="10150115" y="2150107"/>
              <a:ext cx="1645902" cy="659452"/>
            </a:xfrm>
            <a:prstGeom prst="rect">
              <a:avLst/>
            </a:prstGeom>
            <a:solidFill>
              <a:schemeClr val="bg1">
                <a:alpha val="72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sv-SE" sz="1961" dirty="0">
                <a:gradFill>
                  <a:gsLst>
                    <a:gs pos="5417">
                      <a:schemeClr val="accent6"/>
                    </a:gs>
                    <a:gs pos="100000">
                      <a:schemeClr val="accent6"/>
                    </a:gs>
                  </a:gsLst>
                  <a:lin ang="5400000" scaled="0"/>
                </a:gradFill>
              </a:endParaRPr>
            </a:p>
          </p:txBody>
        </p:sp>
        <p:sp>
          <p:nvSpPr>
            <p:cNvPr id="173" name="Rectangle 172">
              <a:extLst>
                <a:ext uri="{FF2B5EF4-FFF2-40B4-BE49-F238E27FC236}">
                  <a16:creationId xmlns:a16="http://schemas.microsoft.com/office/drawing/2014/main" id="{AD97D549-EEF0-4968-BB73-DB5BC6D2EB3E}"/>
                </a:ext>
              </a:extLst>
            </p:cNvPr>
            <p:cNvSpPr/>
            <p:nvPr/>
          </p:nvSpPr>
          <p:spPr bwMode="auto">
            <a:xfrm>
              <a:off x="10495052" y="2796254"/>
              <a:ext cx="1645902" cy="329211"/>
            </a:xfrm>
            <a:prstGeom prst="rect">
              <a:avLst/>
            </a:prstGeom>
            <a:solidFill>
              <a:schemeClr val="bg1">
                <a:alpha val="72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sv-SE" sz="1961" dirty="0">
                <a:gradFill>
                  <a:gsLst>
                    <a:gs pos="5417">
                      <a:schemeClr val="accent6"/>
                    </a:gs>
                    <a:gs pos="100000">
                      <a:schemeClr val="accent6"/>
                    </a:gs>
                  </a:gsLst>
                  <a:lin ang="5400000" scaled="0"/>
                </a:gradFill>
              </a:endParaRPr>
            </a:p>
          </p:txBody>
        </p:sp>
        <p:sp>
          <p:nvSpPr>
            <p:cNvPr id="174" name="Rectangle 173">
              <a:extLst>
                <a:ext uri="{FF2B5EF4-FFF2-40B4-BE49-F238E27FC236}">
                  <a16:creationId xmlns:a16="http://schemas.microsoft.com/office/drawing/2014/main" id="{B460F31B-AEC0-46DF-9787-74184AF54620}"/>
                </a:ext>
              </a:extLst>
            </p:cNvPr>
            <p:cNvSpPr/>
            <p:nvPr/>
          </p:nvSpPr>
          <p:spPr bwMode="auto">
            <a:xfrm>
              <a:off x="10192797" y="3098521"/>
              <a:ext cx="1645902" cy="3348395"/>
            </a:xfrm>
            <a:prstGeom prst="rect">
              <a:avLst/>
            </a:prstGeom>
            <a:solidFill>
              <a:schemeClr val="bg1">
                <a:alpha val="72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sv-SE" sz="1961" dirty="0">
                <a:gradFill>
                  <a:gsLst>
                    <a:gs pos="5417">
                      <a:schemeClr val="accent6"/>
                    </a:gs>
                    <a:gs pos="100000">
                      <a:schemeClr val="accent6"/>
                    </a:gs>
                  </a:gsLst>
                  <a:lin ang="5400000" scaled="0"/>
                </a:gradFill>
              </a:endParaRPr>
            </a:p>
          </p:txBody>
        </p:sp>
      </p:grpSp>
      <p:sp>
        <p:nvSpPr>
          <p:cNvPr id="31" name="Rectangle 30">
            <a:extLst>
              <a:ext uri="{FF2B5EF4-FFF2-40B4-BE49-F238E27FC236}">
                <a16:creationId xmlns:a16="http://schemas.microsoft.com/office/drawing/2014/main" id="{17CDE4AB-7A0F-4FEF-83A3-F827657B67C5}"/>
              </a:ext>
            </a:extLst>
          </p:cNvPr>
          <p:cNvSpPr/>
          <p:nvPr/>
        </p:nvSpPr>
        <p:spPr bwMode="auto">
          <a:xfrm>
            <a:off x="6447880" y="3352132"/>
            <a:ext cx="721753" cy="417259"/>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sv-SE" sz="1961" dirty="0">
                <a:solidFill>
                  <a:schemeClr val="tx1"/>
                </a:solidFill>
              </a:rPr>
              <a:t>Twin</a:t>
            </a:r>
          </a:p>
        </p:txBody>
      </p:sp>
    </p:spTree>
    <p:extLst>
      <p:ext uri="{BB962C8B-B14F-4D97-AF65-F5344CB8AC3E}">
        <p14:creationId xmlns:p14="http://schemas.microsoft.com/office/powerpoint/2010/main" val="34378351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ntr" presetSubtype="0" fill="hold" nodeType="withEffect">
                                  <p:stCondLst>
                                    <p:cond delay="0"/>
                                  </p:stCondLst>
                                  <p:childTnLst>
                                    <p:set>
                                      <p:cBhvr>
                                        <p:cTn id="9" dur="1" fill="hold">
                                          <p:stCondLst>
                                            <p:cond delay="0"/>
                                          </p:stCondLst>
                                        </p:cTn>
                                        <p:tgtEl>
                                          <p:spTgt spid="27"/>
                                        </p:tgtEl>
                                        <p:attrNameLst>
                                          <p:attrName>style.visibility</p:attrName>
                                        </p:attrNameLst>
                                      </p:cBhvr>
                                      <p:to>
                                        <p:strVal val="visible"/>
                                      </p:to>
                                    </p:set>
                                    <p:animEffect transition="in" filter="fade">
                                      <p:cBhvr>
                                        <p:cTn id="10" dur="500"/>
                                        <p:tgtEl>
                                          <p:spTgt spid="27"/>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14"/>
                                        </p:tgtEl>
                                        <p:attrNameLst>
                                          <p:attrName>style.visibility</p:attrName>
                                        </p:attrNameLst>
                                      </p:cBhvr>
                                      <p:to>
                                        <p:strVal val="visible"/>
                                      </p:to>
                                    </p:set>
                                    <p:animEffect transition="in" filter="fade">
                                      <p:cBhvr>
                                        <p:cTn id="15" dur="500"/>
                                        <p:tgtEl>
                                          <p:spTgt spid="114"/>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171"/>
                                        </p:tgtEl>
                                        <p:attrNameLst>
                                          <p:attrName>style.visibility</p:attrName>
                                        </p:attrNameLst>
                                      </p:cBhvr>
                                      <p:to>
                                        <p:strVal val="visible"/>
                                      </p:to>
                                    </p:set>
                                    <p:animEffect transition="in" filter="fade">
                                      <p:cBhvr>
                                        <p:cTn id="20" dur="500"/>
                                        <p:tgtEl>
                                          <p:spTgt spid="171"/>
                                        </p:tgtEl>
                                      </p:cBhvr>
                                    </p:animEffect>
                                  </p:childTnLst>
                                </p:cTn>
                              </p:par>
                            </p:childTnLst>
                          </p:cTn>
                        </p:par>
                        <p:par>
                          <p:cTn id="21" fill="hold">
                            <p:stCondLst>
                              <p:cond delay="500"/>
                            </p:stCondLst>
                            <p:childTnLst>
                              <p:par>
                                <p:cTn id="22" presetID="10" presetClass="entr" presetSubtype="0" fill="hold" nodeType="afterEffect">
                                  <p:stCondLst>
                                    <p:cond delay="0"/>
                                  </p:stCondLst>
                                  <p:childTnLst>
                                    <p:set>
                                      <p:cBhvr>
                                        <p:cTn id="23" dur="1" fill="hold">
                                          <p:stCondLst>
                                            <p:cond delay="0"/>
                                          </p:stCondLst>
                                        </p:cTn>
                                        <p:tgtEl>
                                          <p:spTgt spid="24"/>
                                        </p:tgtEl>
                                        <p:attrNameLst>
                                          <p:attrName>style.visibility</p:attrName>
                                        </p:attrNameLst>
                                      </p:cBhvr>
                                      <p:to>
                                        <p:strVal val="visible"/>
                                      </p:to>
                                    </p:set>
                                    <p:animEffect transition="in" filter="fade">
                                      <p:cBhvr>
                                        <p:cTn id="24" dur="500"/>
                                        <p:tgtEl>
                                          <p:spTgt spid="24"/>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161"/>
                                        </p:tgtEl>
                                        <p:attrNameLst>
                                          <p:attrName>style.visibility</p:attrName>
                                        </p:attrNameLst>
                                      </p:cBhvr>
                                      <p:to>
                                        <p:strVal val="visible"/>
                                      </p:to>
                                    </p:set>
                                    <p:animEffect transition="in" filter="fade">
                                      <p:cBhvr>
                                        <p:cTn id="29" dur="500"/>
                                        <p:tgtEl>
                                          <p:spTgt spid="161"/>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117"/>
                                        </p:tgtEl>
                                        <p:attrNameLst>
                                          <p:attrName>style.visibility</p:attrName>
                                        </p:attrNameLst>
                                      </p:cBhvr>
                                      <p:to>
                                        <p:strVal val="visible"/>
                                      </p:to>
                                    </p:set>
                                    <p:animEffect transition="in" filter="fade">
                                      <p:cBhvr>
                                        <p:cTn id="34" dur="500"/>
                                        <p:tgtEl>
                                          <p:spTgt spid="117"/>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156"/>
                                        </p:tgtEl>
                                        <p:attrNameLst>
                                          <p:attrName>style.visibility</p:attrName>
                                        </p:attrNameLst>
                                      </p:cBhvr>
                                      <p:to>
                                        <p:strVal val="visible"/>
                                      </p:to>
                                    </p:set>
                                    <p:animEffect transition="in" filter="fade">
                                      <p:cBhvr>
                                        <p:cTn id="39" dur="500"/>
                                        <p:tgtEl>
                                          <p:spTgt spid="156"/>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grpId="0" nodeType="clickEffect">
                                  <p:stCondLst>
                                    <p:cond delay="0"/>
                                  </p:stCondLst>
                                  <p:childTnLst>
                                    <p:set>
                                      <p:cBhvr>
                                        <p:cTn id="43" dur="1" fill="hold">
                                          <p:stCondLst>
                                            <p:cond delay="0"/>
                                          </p:stCondLst>
                                        </p:cTn>
                                        <p:tgtEl>
                                          <p:spTgt spid="172"/>
                                        </p:tgtEl>
                                        <p:attrNameLst>
                                          <p:attrName>style.visibility</p:attrName>
                                        </p:attrNameLst>
                                      </p:cBhvr>
                                      <p:to>
                                        <p:strVal val="visible"/>
                                      </p:to>
                                    </p:set>
                                    <p:animEffect transition="in" filter="fade">
                                      <p:cBhvr>
                                        <p:cTn id="44" dur="500"/>
                                        <p:tgtEl>
                                          <p:spTgt spid="17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14" grpId="0" animBg="1"/>
      <p:bldP spid="117" grpId="0" animBg="1"/>
      <p:bldP spid="171" grpId="0" animBg="1"/>
      <p:bldP spid="172"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08D574-BF0A-4EEB-B339-6EA85904C3B2}"/>
              </a:ext>
            </a:extLst>
          </p:cNvPr>
          <p:cNvSpPr>
            <a:spLocks noGrp="1"/>
          </p:cNvSpPr>
          <p:nvPr>
            <p:ph type="title"/>
          </p:nvPr>
        </p:nvSpPr>
        <p:spPr/>
        <p:txBody>
          <a:bodyPr/>
          <a:lstStyle/>
          <a:p>
            <a:r>
              <a:rPr lang="sv-SE" dirty="0"/>
              <a:t>Day 2</a:t>
            </a:r>
          </a:p>
        </p:txBody>
      </p:sp>
      <p:sp>
        <p:nvSpPr>
          <p:cNvPr id="3" name="Content Placeholder 2">
            <a:extLst>
              <a:ext uri="{FF2B5EF4-FFF2-40B4-BE49-F238E27FC236}">
                <a16:creationId xmlns:a16="http://schemas.microsoft.com/office/drawing/2014/main" id="{1D683399-EE7E-472A-AADC-EF679476DB11}"/>
              </a:ext>
            </a:extLst>
          </p:cNvPr>
          <p:cNvSpPr>
            <a:spLocks noGrp="1"/>
          </p:cNvSpPr>
          <p:nvPr>
            <p:ph idx="1"/>
          </p:nvPr>
        </p:nvSpPr>
        <p:spPr>
          <a:xfrm>
            <a:off x="838200" y="1325563"/>
            <a:ext cx="10515600" cy="4851400"/>
          </a:xfrm>
        </p:spPr>
        <p:txBody>
          <a:bodyPr>
            <a:normAutofit lnSpcReduction="10000"/>
          </a:bodyPr>
          <a:lstStyle/>
          <a:p>
            <a:r>
              <a:rPr lang="sv-SE" dirty="0"/>
              <a:t>Day 1 Recap</a:t>
            </a:r>
          </a:p>
          <a:p>
            <a:r>
              <a:rPr lang="sv-SE" dirty="0"/>
              <a:t>Create IoT Hub and mSB Organization</a:t>
            </a:r>
          </a:p>
          <a:p>
            <a:r>
              <a:rPr lang="sv-SE" dirty="0"/>
              <a:t>Integrate Cisco Jasper</a:t>
            </a:r>
          </a:p>
          <a:p>
            <a:r>
              <a:rPr lang="sv-SE" dirty="0"/>
              <a:t>Provisioning new gateways</a:t>
            </a:r>
          </a:p>
          <a:p>
            <a:r>
              <a:rPr lang="sv-SE" dirty="0"/>
              <a:t>IoT Message Exchange Patterns</a:t>
            </a:r>
          </a:p>
          <a:p>
            <a:r>
              <a:rPr lang="sv-SE" b="1" dirty="0"/>
              <a:t>Common IoT </a:t>
            </a:r>
            <a:r>
              <a:rPr lang="sv-SE" b="1" dirty="0" err="1"/>
              <a:t>protocols</a:t>
            </a:r>
            <a:endParaRPr lang="sv-SE" b="1" dirty="0"/>
          </a:p>
          <a:p>
            <a:r>
              <a:rPr lang="sv-SE" dirty="0">
                <a:solidFill>
                  <a:schemeClr val="tx1">
                    <a:lumMod val="50000"/>
                  </a:schemeClr>
                </a:solidFill>
              </a:rPr>
              <a:t>Build a real world sensor to cloud solution </a:t>
            </a:r>
          </a:p>
          <a:p>
            <a:pPr lvl="1"/>
            <a:r>
              <a:rPr lang="sv-SE" dirty="0">
                <a:solidFill>
                  <a:schemeClr val="tx1">
                    <a:lumMod val="50000"/>
                  </a:schemeClr>
                </a:solidFill>
              </a:rPr>
              <a:t>Lab</a:t>
            </a:r>
          </a:p>
          <a:p>
            <a:pPr lvl="2"/>
            <a:r>
              <a:rPr lang="sv-SE" dirty="0">
                <a:solidFill>
                  <a:schemeClr val="tx1">
                    <a:lumMod val="50000"/>
                  </a:schemeClr>
                </a:solidFill>
              </a:rPr>
              <a:t>1. </a:t>
            </a:r>
            <a:r>
              <a:rPr lang="sv-SE" dirty="0" err="1">
                <a:solidFill>
                  <a:schemeClr val="tx1">
                    <a:lumMod val="50000"/>
                  </a:schemeClr>
                </a:solidFill>
              </a:rPr>
              <a:t>Receive</a:t>
            </a:r>
            <a:r>
              <a:rPr lang="sv-SE" dirty="0">
                <a:solidFill>
                  <a:schemeClr val="tx1">
                    <a:lumMod val="50000"/>
                  </a:schemeClr>
                </a:solidFill>
              </a:rPr>
              <a:t> </a:t>
            </a:r>
            <a:r>
              <a:rPr lang="sv-SE" dirty="0" err="1">
                <a:solidFill>
                  <a:schemeClr val="tx1">
                    <a:lumMod val="50000"/>
                  </a:schemeClr>
                </a:solidFill>
              </a:rPr>
              <a:t>whitelist</a:t>
            </a:r>
            <a:r>
              <a:rPr lang="sv-SE" dirty="0">
                <a:solidFill>
                  <a:schemeClr val="tx1">
                    <a:lumMod val="50000"/>
                  </a:schemeClr>
                </a:solidFill>
              </a:rPr>
              <a:t> </a:t>
            </a:r>
            <a:r>
              <a:rPr lang="sv-SE" dirty="0" err="1">
                <a:solidFill>
                  <a:schemeClr val="tx1">
                    <a:lumMod val="50000"/>
                  </a:schemeClr>
                </a:solidFill>
              </a:rPr>
              <a:t>through</a:t>
            </a:r>
            <a:r>
              <a:rPr lang="sv-SE" dirty="0">
                <a:solidFill>
                  <a:schemeClr val="tx1">
                    <a:lumMod val="50000"/>
                  </a:schemeClr>
                </a:solidFill>
              </a:rPr>
              <a:t> state</a:t>
            </a:r>
          </a:p>
          <a:p>
            <a:pPr lvl="2"/>
            <a:r>
              <a:rPr lang="sv-SE" dirty="0">
                <a:solidFill>
                  <a:schemeClr val="tx1">
                    <a:lumMod val="50000"/>
                  </a:schemeClr>
                </a:solidFill>
              </a:rPr>
              <a:t>2. Read telegrams from sensors and send to </a:t>
            </a:r>
            <a:r>
              <a:rPr lang="sv-SE" dirty="0" err="1">
                <a:solidFill>
                  <a:schemeClr val="tx1">
                    <a:lumMod val="50000"/>
                  </a:schemeClr>
                </a:solidFill>
              </a:rPr>
              <a:t>cloud</a:t>
            </a:r>
            <a:endParaRPr lang="sv-SE" dirty="0">
              <a:solidFill>
                <a:schemeClr val="tx1">
                  <a:lumMod val="50000"/>
                </a:schemeClr>
              </a:solidFill>
            </a:endParaRPr>
          </a:p>
          <a:p>
            <a:pPr lvl="2"/>
            <a:r>
              <a:rPr lang="sv-SE" dirty="0">
                <a:solidFill>
                  <a:schemeClr val="tx1">
                    <a:lumMod val="50000"/>
                  </a:schemeClr>
                </a:solidFill>
              </a:rPr>
              <a:t>3. </a:t>
            </a:r>
            <a:r>
              <a:rPr lang="sv-SE" dirty="0" err="1">
                <a:solidFill>
                  <a:schemeClr val="tx1">
                    <a:lumMod val="50000"/>
                  </a:schemeClr>
                </a:solidFill>
              </a:rPr>
              <a:t>Create</a:t>
            </a:r>
            <a:r>
              <a:rPr lang="sv-SE" dirty="0">
                <a:solidFill>
                  <a:schemeClr val="tx1">
                    <a:lumMod val="50000"/>
                  </a:schemeClr>
                </a:solidFill>
              </a:rPr>
              <a:t> Azure Event </a:t>
            </a:r>
            <a:r>
              <a:rPr lang="sv-SE" dirty="0" err="1">
                <a:solidFill>
                  <a:schemeClr val="tx1">
                    <a:lumMod val="50000"/>
                  </a:schemeClr>
                </a:solidFill>
              </a:rPr>
              <a:t>Hub</a:t>
            </a:r>
            <a:r>
              <a:rPr lang="sv-SE" dirty="0">
                <a:solidFill>
                  <a:schemeClr val="tx1">
                    <a:lumMod val="50000"/>
                  </a:schemeClr>
                </a:solidFill>
              </a:rPr>
              <a:t> and </a:t>
            </a:r>
            <a:r>
              <a:rPr lang="sv-SE" dirty="0" err="1">
                <a:solidFill>
                  <a:schemeClr val="tx1">
                    <a:lumMod val="50000"/>
                  </a:schemeClr>
                </a:solidFill>
              </a:rPr>
              <a:t>Time</a:t>
            </a:r>
            <a:r>
              <a:rPr lang="sv-SE" dirty="0">
                <a:solidFill>
                  <a:schemeClr val="tx1">
                    <a:lumMod val="50000"/>
                  </a:schemeClr>
                </a:solidFill>
              </a:rPr>
              <a:t> Series </a:t>
            </a:r>
            <a:r>
              <a:rPr lang="sv-SE" dirty="0" err="1">
                <a:solidFill>
                  <a:schemeClr val="tx1">
                    <a:lumMod val="50000"/>
                  </a:schemeClr>
                </a:solidFill>
              </a:rPr>
              <a:t>Insight</a:t>
            </a:r>
            <a:endParaRPr lang="sv-SE" dirty="0">
              <a:solidFill>
                <a:schemeClr val="tx1">
                  <a:lumMod val="50000"/>
                </a:schemeClr>
              </a:solidFill>
            </a:endParaRPr>
          </a:p>
        </p:txBody>
      </p:sp>
    </p:spTree>
    <p:extLst>
      <p:ext uri="{BB962C8B-B14F-4D97-AF65-F5344CB8AC3E}">
        <p14:creationId xmlns:p14="http://schemas.microsoft.com/office/powerpoint/2010/main" val="166014587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B18156-6225-4F7E-872E-0ADDA52DCE9D}"/>
              </a:ext>
            </a:extLst>
          </p:cNvPr>
          <p:cNvSpPr>
            <a:spLocks noGrp="1"/>
          </p:cNvSpPr>
          <p:nvPr>
            <p:ph type="title"/>
          </p:nvPr>
        </p:nvSpPr>
        <p:spPr/>
        <p:txBody>
          <a:bodyPr/>
          <a:lstStyle/>
          <a:p>
            <a:r>
              <a:rPr lang="sv-SE" b="1" dirty="0"/>
              <a:t>Common IoT </a:t>
            </a:r>
            <a:r>
              <a:rPr lang="sv-SE" b="1" dirty="0" err="1"/>
              <a:t>protocols</a:t>
            </a:r>
            <a:endParaRPr lang="en-US" dirty="0"/>
          </a:p>
        </p:txBody>
      </p:sp>
      <p:sp>
        <p:nvSpPr>
          <p:cNvPr id="3" name="Content Placeholder 2">
            <a:extLst>
              <a:ext uri="{FF2B5EF4-FFF2-40B4-BE49-F238E27FC236}">
                <a16:creationId xmlns:a16="http://schemas.microsoft.com/office/drawing/2014/main" id="{3C722CD2-4A74-4FC1-89BA-515BCE9A6EFF}"/>
              </a:ext>
            </a:extLst>
          </p:cNvPr>
          <p:cNvSpPr>
            <a:spLocks noGrp="1"/>
          </p:cNvSpPr>
          <p:nvPr>
            <p:ph idx="1"/>
          </p:nvPr>
        </p:nvSpPr>
        <p:spPr/>
        <p:txBody>
          <a:bodyPr/>
          <a:lstStyle/>
          <a:p>
            <a:endParaRPr lang="en-US"/>
          </a:p>
        </p:txBody>
      </p:sp>
    </p:spTree>
    <p:extLst>
      <p:ext uri="{BB962C8B-B14F-4D97-AF65-F5344CB8AC3E}">
        <p14:creationId xmlns:p14="http://schemas.microsoft.com/office/powerpoint/2010/main" val="411902982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B18156-6225-4F7E-872E-0ADDA52DCE9D}"/>
              </a:ext>
            </a:extLst>
          </p:cNvPr>
          <p:cNvSpPr>
            <a:spLocks noGrp="1"/>
          </p:cNvSpPr>
          <p:nvPr>
            <p:ph type="title"/>
          </p:nvPr>
        </p:nvSpPr>
        <p:spPr/>
        <p:txBody>
          <a:bodyPr/>
          <a:lstStyle/>
          <a:p>
            <a:r>
              <a:rPr lang="sv-SE" b="1" dirty="0"/>
              <a:t>Common IoT </a:t>
            </a:r>
            <a:r>
              <a:rPr lang="sv-SE" b="1" dirty="0" err="1"/>
              <a:t>protocols</a:t>
            </a:r>
            <a:endParaRPr lang="en-US" dirty="0"/>
          </a:p>
        </p:txBody>
      </p:sp>
      <p:sp>
        <p:nvSpPr>
          <p:cNvPr id="3" name="Content Placeholder 2">
            <a:extLst>
              <a:ext uri="{FF2B5EF4-FFF2-40B4-BE49-F238E27FC236}">
                <a16:creationId xmlns:a16="http://schemas.microsoft.com/office/drawing/2014/main" id="{3C722CD2-4A74-4FC1-89BA-515BCE9A6EFF}"/>
              </a:ext>
            </a:extLst>
          </p:cNvPr>
          <p:cNvSpPr>
            <a:spLocks noGrp="1"/>
          </p:cNvSpPr>
          <p:nvPr>
            <p:ph idx="1"/>
          </p:nvPr>
        </p:nvSpPr>
        <p:spPr>
          <a:xfrm>
            <a:off x="838200" y="1825624"/>
            <a:ext cx="10515600" cy="4738461"/>
          </a:xfrm>
        </p:spPr>
        <p:txBody>
          <a:bodyPr>
            <a:normAutofit/>
          </a:bodyPr>
          <a:lstStyle/>
          <a:p>
            <a:endParaRPr lang="en-US" dirty="0"/>
          </a:p>
          <a:p>
            <a:r>
              <a:rPr lang="en-US" dirty="0"/>
              <a:t>De facto standard communication protocol, widely spread for connecting industrial electronic devices.</a:t>
            </a:r>
          </a:p>
          <a:p>
            <a:r>
              <a:rPr lang="en-US" dirty="0"/>
              <a:t>Devices: Heat pumps, energy meters, PLC, …</a:t>
            </a:r>
          </a:p>
          <a:p>
            <a:r>
              <a:rPr lang="en-US" dirty="0"/>
              <a:t>Other versions: Modbus RTU, Modbus TCP, …</a:t>
            </a:r>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endParaRPr lang="en-US" dirty="0"/>
          </a:p>
        </p:txBody>
      </p:sp>
      <p:pic>
        <p:nvPicPr>
          <p:cNvPr id="4" name="Picture 3">
            <a:extLst>
              <a:ext uri="{FF2B5EF4-FFF2-40B4-BE49-F238E27FC236}">
                <a16:creationId xmlns:a16="http://schemas.microsoft.com/office/drawing/2014/main" id="{D9EA4566-3628-4BC6-9A47-1DFA07E4B330}"/>
              </a:ext>
            </a:extLst>
          </p:cNvPr>
          <p:cNvPicPr>
            <a:picLocks noChangeAspect="1"/>
          </p:cNvPicPr>
          <p:nvPr/>
        </p:nvPicPr>
        <p:blipFill>
          <a:blip r:embed="rId2"/>
          <a:stretch>
            <a:fillRect/>
          </a:stretch>
        </p:blipFill>
        <p:spPr>
          <a:xfrm>
            <a:off x="4729843" y="1152887"/>
            <a:ext cx="2317567" cy="822736"/>
          </a:xfrm>
          <a:prstGeom prst="rect">
            <a:avLst/>
          </a:prstGeom>
        </p:spPr>
      </p:pic>
      <p:pic>
        <p:nvPicPr>
          <p:cNvPr id="6" name="Picture 5">
            <a:extLst>
              <a:ext uri="{FF2B5EF4-FFF2-40B4-BE49-F238E27FC236}">
                <a16:creationId xmlns:a16="http://schemas.microsoft.com/office/drawing/2014/main" id="{CBDC2FDD-5A26-4F48-B84F-2E9461874C87}"/>
              </a:ext>
            </a:extLst>
          </p:cNvPr>
          <p:cNvPicPr>
            <a:picLocks noChangeAspect="1"/>
          </p:cNvPicPr>
          <p:nvPr/>
        </p:nvPicPr>
        <p:blipFill>
          <a:blip r:embed="rId3"/>
          <a:stretch>
            <a:fillRect/>
          </a:stretch>
        </p:blipFill>
        <p:spPr>
          <a:xfrm>
            <a:off x="1212261" y="4298632"/>
            <a:ext cx="876217" cy="2265453"/>
          </a:xfrm>
          <a:prstGeom prst="rect">
            <a:avLst/>
          </a:prstGeom>
        </p:spPr>
      </p:pic>
      <p:pic>
        <p:nvPicPr>
          <p:cNvPr id="7" name="Picture 6">
            <a:extLst>
              <a:ext uri="{FF2B5EF4-FFF2-40B4-BE49-F238E27FC236}">
                <a16:creationId xmlns:a16="http://schemas.microsoft.com/office/drawing/2014/main" id="{B1245C4F-EE4A-4726-B2C3-8CF9F5C45797}"/>
              </a:ext>
            </a:extLst>
          </p:cNvPr>
          <p:cNvPicPr>
            <a:picLocks noChangeAspect="1"/>
          </p:cNvPicPr>
          <p:nvPr/>
        </p:nvPicPr>
        <p:blipFill>
          <a:blip r:embed="rId4"/>
          <a:stretch>
            <a:fillRect/>
          </a:stretch>
        </p:blipFill>
        <p:spPr>
          <a:xfrm>
            <a:off x="2655705" y="4473750"/>
            <a:ext cx="1845538" cy="1653960"/>
          </a:xfrm>
          <a:prstGeom prst="rect">
            <a:avLst/>
          </a:prstGeom>
        </p:spPr>
      </p:pic>
      <p:pic>
        <p:nvPicPr>
          <p:cNvPr id="8" name="Picture 7">
            <a:extLst>
              <a:ext uri="{FF2B5EF4-FFF2-40B4-BE49-F238E27FC236}">
                <a16:creationId xmlns:a16="http://schemas.microsoft.com/office/drawing/2014/main" id="{C11638D8-514F-4158-8BCD-8A389AB4C1DB}"/>
              </a:ext>
            </a:extLst>
          </p:cNvPr>
          <p:cNvPicPr>
            <a:picLocks noChangeAspect="1"/>
          </p:cNvPicPr>
          <p:nvPr/>
        </p:nvPicPr>
        <p:blipFill>
          <a:blip r:embed="rId5"/>
          <a:stretch>
            <a:fillRect/>
          </a:stretch>
        </p:blipFill>
        <p:spPr>
          <a:xfrm>
            <a:off x="5324861" y="4473750"/>
            <a:ext cx="2792556" cy="1653960"/>
          </a:xfrm>
          <a:prstGeom prst="rect">
            <a:avLst/>
          </a:prstGeom>
        </p:spPr>
      </p:pic>
    </p:spTree>
    <p:extLst>
      <p:ext uri="{BB962C8B-B14F-4D97-AF65-F5344CB8AC3E}">
        <p14:creationId xmlns:p14="http://schemas.microsoft.com/office/powerpoint/2010/main" val="62938406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B18156-6225-4F7E-872E-0ADDA52DCE9D}"/>
              </a:ext>
            </a:extLst>
          </p:cNvPr>
          <p:cNvSpPr>
            <a:spLocks noGrp="1"/>
          </p:cNvSpPr>
          <p:nvPr>
            <p:ph type="title"/>
          </p:nvPr>
        </p:nvSpPr>
        <p:spPr/>
        <p:txBody>
          <a:bodyPr/>
          <a:lstStyle/>
          <a:p>
            <a:r>
              <a:rPr lang="sv-SE" b="1" dirty="0" err="1"/>
              <a:t>Modbus</a:t>
            </a:r>
            <a:endParaRPr lang="en-US" dirty="0"/>
          </a:p>
        </p:txBody>
      </p:sp>
    </p:spTree>
    <p:extLst>
      <p:ext uri="{BB962C8B-B14F-4D97-AF65-F5344CB8AC3E}">
        <p14:creationId xmlns:p14="http://schemas.microsoft.com/office/powerpoint/2010/main" val="192794685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1CC42B6A-EFCE-46C9-B0BC-356962B8253A}"/>
              </a:ext>
            </a:extLst>
          </p:cNvPr>
          <p:cNvGrpSpPr/>
          <p:nvPr/>
        </p:nvGrpSpPr>
        <p:grpSpPr>
          <a:xfrm>
            <a:off x="3102023" y="1901761"/>
            <a:ext cx="2876550" cy="2871788"/>
            <a:chOff x="4657725" y="1533525"/>
            <a:chExt cx="2876550" cy="2871788"/>
          </a:xfrm>
        </p:grpSpPr>
        <p:sp>
          <p:nvSpPr>
            <p:cNvPr id="11" name="Freeform: Shape 10">
              <a:extLst>
                <a:ext uri="{FF2B5EF4-FFF2-40B4-BE49-F238E27FC236}">
                  <a16:creationId xmlns:a16="http://schemas.microsoft.com/office/drawing/2014/main" id="{766E293F-28B8-40F5-A9D6-D34AD0661506}"/>
                </a:ext>
              </a:extLst>
            </p:cNvPr>
            <p:cNvSpPr/>
            <p:nvPr/>
          </p:nvSpPr>
          <p:spPr>
            <a:xfrm>
              <a:off x="4657725" y="1533525"/>
              <a:ext cx="2876550" cy="2871788"/>
            </a:xfrm>
            <a:custGeom>
              <a:avLst/>
              <a:gdLst>
                <a:gd name="connsiteX0" fmla="*/ 319088 w 2876550"/>
                <a:gd name="connsiteY0" fmla="*/ 0 h 2871788"/>
                <a:gd name="connsiteX1" fmla="*/ 2552700 w 2876550"/>
                <a:gd name="connsiteY1" fmla="*/ 4763 h 2871788"/>
                <a:gd name="connsiteX2" fmla="*/ 2871788 w 2876550"/>
                <a:gd name="connsiteY2" fmla="*/ 328613 h 2871788"/>
                <a:gd name="connsiteX3" fmla="*/ 2876550 w 2876550"/>
                <a:gd name="connsiteY3" fmla="*/ 2538413 h 2871788"/>
                <a:gd name="connsiteX4" fmla="*/ 2562225 w 2876550"/>
                <a:gd name="connsiteY4" fmla="*/ 2871788 h 2871788"/>
                <a:gd name="connsiteX5" fmla="*/ 328613 w 2876550"/>
                <a:gd name="connsiteY5" fmla="*/ 2871788 h 2871788"/>
                <a:gd name="connsiteX6" fmla="*/ 0 w 2876550"/>
                <a:gd name="connsiteY6" fmla="*/ 2552700 h 2871788"/>
                <a:gd name="connsiteX7" fmla="*/ 4763 w 2876550"/>
                <a:gd name="connsiteY7" fmla="*/ 328613 h 2871788"/>
                <a:gd name="connsiteX8" fmla="*/ 319088 w 2876550"/>
                <a:gd name="connsiteY8" fmla="*/ 0 h 2871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76550" h="2871788">
                  <a:moveTo>
                    <a:pt x="319088" y="0"/>
                  </a:moveTo>
                  <a:lnTo>
                    <a:pt x="2552700" y="4763"/>
                  </a:lnTo>
                  <a:lnTo>
                    <a:pt x="2871788" y="328613"/>
                  </a:lnTo>
                  <a:cubicBezTo>
                    <a:pt x="2873375" y="1065213"/>
                    <a:pt x="2874963" y="1801813"/>
                    <a:pt x="2876550" y="2538413"/>
                  </a:cubicBezTo>
                  <a:lnTo>
                    <a:pt x="2562225" y="2871788"/>
                  </a:lnTo>
                  <a:lnTo>
                    <a:pt x="328613" y="2871788"/>
                  </a:lnTo>
                  <a:lnTo>
                    <a:pt x="0" y="2552700"/>
                  </a:lnTo>
                  <a:cubicBezTo>
                    <a:pt x="1588" y="1811338"/>
                    <a:pt x="3175" y="1069975"/>
                    <a:pt x="4763" y="328613"/>
                  </a:cubicBezTo>
                  <a:lnTo>
                    <a:pt x="319088" y="0"/>
                  </a:lnTo>
                  <a:close/>
                </a:path>
              </a:pathLst>
            </a:cu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accent2">
                    <a:lumMod val="75000"/>
                  </a:schemeClr>
                </a:solidFill>
              </a:endParaRPr>
            </a:p>
          </p:txBody>
        </p:sp>
        <p:sp>
          <p:nvSpPr>
            <p:cNvPr id="107" name="Rubrik 1">
              <a:extLst>
                <a:ext uri="{FF2B5EF4-FFF2-40B4-BE49-F238E27FC236}">
                  <a16:creationId xmlns:a16="http://schemas.microsoft.com/office/drawing/2014/main" id="{27740E61-938A-4342-9F34-442081FE8204}"/>
                </a:ext>
              </a:extLst>
            </p:cNvPr>
            <p:cNvSpPr txBox="1">
              <a:spLocks/>
            </p:cNvSpPr>
            <p:nvPr/>
          </p:nvSpPr>
          <p:spPr>
            <a:xfrm>
              <a:off x="4946644" y="4072658"/>
              <a:ext cx="2287013" cy="325036"/>
            </a:xfrm>
            <a:prstGeom prst="rect">
              <a:avLst/>
            </a:prstGeom>
            <a:noFill/>
            <a:ln>
              <a:noFill/>
              <a:prstDash val="sysDot"/>
            </a:ln>
          </p:spPr>
          <p:txBody>
            <a:bodyPr vert="horz" lIns="121920" tIns="60960" rIns="121920" bIns="60960" rtlCol="0" anchor="b">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1600" b="1" i="0" strike="noStrike" kern="1200" cap="all" spc="0" normalizeH="0" baseline="0" noProof="0" dirty="0">
                  <a:ln>
                    <a:noFill/>
                  </a:ln>
                  <a:solidFill>
                    <a:schemeClr val="accent2">
                      <a:lumMod val="75000"/>
                    </a:schemeClr>
                  </a:solidFill>
                  <a:effectLst/>
                  <a:uLnTx/>
                  <a:uFillTx/>
                  <a:latin typeface="Segoe UI"/>
                  <a:ea typeface="+mj-ea"/>
                  <a:cs typeface="+mj-cs"/>
                </a:rPr>
                <a:t>“Any PROTOCOL”</a:t>
              </a:r>
            </a:p>
          </p:txBody>
        </p:sp>
        <p:sp>
          <p:nvSpPr>
            <p:cNvPr id="110" name="Rubrik 1">
              <a:extLst>
                <a:ext uri="{FF2B5EF4-FFF2-40B4-BE49-F238E27FC236}">
                  <a16:creationId xmlns:a16="http://schemas.microsoft.com/office/drawing/2014/main" id="{19E13C5A-8899-4BE0-83DE-C8F96615D068}"/>
                </a:ext>
              </a:extLst>
            </p:cNvPr>
            <p:cNvSpPr txBox="1">
              <a:spLocks/>
            </p:cNvSpPr>
            <p:nvPr/>
          </p:nvSpPr>
          <p:spPr>
            <a:xfrm>
              <a:off x="4952275" y="1781342"/>
              <a:ext cx="2281382" cy="91633"/>
            </a:xfrm>
            <a:prstGeom prst="rect">
              <a:avLst/>
            </a:prstGeom>
            <a:noFill/>
            <a:ln>
              <a:noFill/>
              <a:prstDash val="sysDot"/>
            </a:ln>
          </p:spPr>
          <p:txBody>
            <a:bodyPr vert="horz" lIns="121920" tIns="60960" rIns="121920" bIns="60960" rtlCol="0" anchor="b">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1600" b="1" i="0" strike="noStrike" kern="1200" cap="all" spc="0" normalizeH="0" baseline="0" noProof="0" dirty="0">
                  <a:ln>
                    <a:noFill/>
                  </a:ln>
                  <a:solidFill>
                    <a:schemeClr val="accent2">
                      <a:lumMod val="75000"/>
                    </a:schemeClr>
                  </a:solidFill>
                  <a:effectLst/>
                  <a:uLnTx/>
                  <a:uFillTx/>
                  <a:latin typeface="Segoe UI"/>
                  <a:ea typeface="+mj-ea"/>
                  <a:cs typeface="+mj-cs"/>
                </a:rPr>
                <a:t>“Any </a:t>
              </a:r>
              <a:r>
                <a:rPr kumimoji="0" lang="en-US" sz="1600" b="1" i="0" strike="noStrike" kern="1200" cap="all" spc="0" normalizeH="0" baseline="0" noProof="0" dirty="0" err="1">
                  <a:ln>
                    <a:noFill/>
                  </a:ln>
                  <a:solidFill>
                    <a:schemeClr val="accent2">
                      <a:lumMod val="75000"/>
                    </a:schemeClr>
                  </a:solidFill>
                  <a:effectLst/>
                  <a:uLnTx/>
                  <a:uFillTx/>
                  <a:latin typeface="Segoe UI"/>
                  <a:ea typeface="+mj-ea"/>
                  <a:cs typeface="+mj-cs"/>
                </a:rPr>
                <a:t>DEvice</a:t>
              </a:r>
              <a:r>
                <a:rPr kumimoji="0" lang="en-US" sz="1600" b="1" i="0" strike="noStrike" kern="1200" cap="all" spc="0" normalizeH="0" baseline="0" noProof="0" dirty="0">
                  <a:ln>
                    <a:noFill/>
                  </a:ln>
                  <a:solidFill>
                    <a:schemeClr val="accent2">
                      <a:lumMod val="75000"/>
                    </a:schemeClr>
                  </a:solidFill>
                  <a:effectLst/>
                  <a:uLnTx/>
                  <a:uFillTx/>
                  <a:latin typeface="Segoe UI"/>
                  <a:ea typeface="+mj-ea"/>
                  <a:cs typeface="+mj-cs"/>
                </a:rPr>
                <a:t>”</a:t>
              </a:r>
            </a:p>
          </p:txBody>
        </p:sp>
        <p:pic>
          <p:nvPicPr>
            <p:cNvPr id="112" name="Picture 2" descr="Bildresultat för microservicebus">
              <a:extLst>
                <a:ext uri="{FF2B5EF4-FFF2-40B4-BE49-F238E27FC236}">
                  <a16:creationId xmlns:a16="http://schemas.microsoft.com/office/drawing/2014/main" id="{2E60779E-6CD1-49E8-8B75-108D57B467A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24328" y="2067182"/>
              <a:ext cx="1743343" cy="1743343"/>
            </a:xfrm>
            <a:prstGeom prst="rect">
              <a:avLst/>
            </a:prstGeom>
            <a:noFill/>
            <a:extLst>
              <a:ext uri="{909E8E84-426E-40DD-AFC4-6F175D3DCCD1}">
                <a14:hiddenFill xmlns:a14="http://schemas.microsoft.com/office/drawing/2010/main">
                  <a:solidFill>
                    <a:srgbClr val="FFFFFF"/>
                  </a:solidFill>
                </a14:hiddenFill>
              </a:ext>
            </a:extLst>
          </p:spPr>
        </p:pic>
        <p:sp>
          <p:nvSpPr>
            <p:cNvPr id="114" name="Rubrik 1">
              <a:extLst>
                <a:ext uri="{FF2B5EF4-FFF2-40B4-BE49-F238E27FC236}">
                  <a16:creationId xmlns:a16="http://schemas.microsoft.com/office/drawing/2014/main" id="{C3DF8A39-47D7-4F74-91AA-CC49BCEDBF83}"/>
                </a:ext>
              </a:extLst>
            </p:cNvPr>
            <p:cNvSpPr txBox="1">
              <a:spLocks/>
            </p:cNvSpPr>
            <p:nvPr/>
          </p:nvSpPr>
          <p:spPr>
            <a:xfrm rot="5400000">
              <a:off x="3576240" y="2852710"/>
              <a:ext cx="2346888" cy="139175"/>
            </a:xfrm>
            <a:prstGeom prst="rect">
              <a:avLst/>
            </a:prstGeom>
            <a:noFill/>
            <a:ln>
              <a:noFill/>
              <a:prstDash val="sysDot"/>
            </a:ln>
          </p:spPr>
          <p:txBody>
            <a:bodyPr vert="horz" lIns="121920" tIns="60960" rIns="121920" bIns="60960" rtlCol="0" anchor="b">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1600" b="1" i="0" strike="noStrike" kern="1200" cap="all" spc="0" normalizeH="0" baseline="0" noProof="0" dirty="0">
                  <a:ln>
                    <a:noFill/>
                  </a:ln>
                  <a:solidFill>
                    <a:schemeClr val="accent2">
                      <a:lumMod val="75000"/>
                    </a:schemeClr>
                  </a:solidFill>
                  <a:effectLst/>
                  <a:uLnTx/>
                  <a:uFillTx/>
                  <a:latin typeface="Segoe UI"/>
                  <a:ea typeface="+mj-ea"/>
                  <a:cs typeface="+mj-cs"/>
                </a:rPr>
                <a:t>“Any Data Source”</a:t>
              </a:r>
            </a:p>
          </p:txBody>
        </p:sp>
        <p:sp>
          <p:nvSpPr>
            <p:cNvPr id="117" name="Rubrik 1">
              <a:extLst>
                <a:ext uri="{FF2B5EF4-FFF2-40B4-BE49-F238E27FC236}">
                  <a16:creationId xmlns:a16="http://schemas.microsoft.com/office/drawing/2014/main" id="{85D01752-60AA-4022-ADCB-2D1181F606D7}"/>
                </a:ext>
              </a:extLst>
            </p:cNvPr>
            <p:cNvSpPr txBox="1">
              <a:spLocks/>
            </p:cNvSpPr>
            <p:nvPr/>
          </p:nvSpPr>
          <p:spPr>
            <a:xfrm rot="16200000">
              <a:off x="6218975" y="2942718"/>
              <a:ext cx="2448097" cy="125346"/>
            </a:xfrm>
            <a:prstGeom prst="rect">
              <a:avLst/>
            </a:prstGeom>
            <a:noFill/>
            <a:ln>
              <a:noFill/>
              <a:prstDash val="sysDot"/>
            </a:ln>
          </p:spPr>
          <p:txBody>
            <a:bodyPr vert="horz" lIns="121920" tIns="60960" rIns="121920" bIns="60960" rtlCol="0" anchor="b">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1600" b="1" i="0" strike="noStrike" kern="1200" cap="all" spc="0" normalizeH="0" baseline="0" noProof="0" dirty="0">
                  <a:ln>
                    <a:noFill/>
                  </a:ln>
                  <a:solidFill>
                    <a:schemeClr val="accent2">
                      <a:lumMod val="75000"/>
                    </a:schemeClr>
                  </a:solidFill>
                  <a:effectLst/>
                  <a:uLnTx/>
                  <a:uFillTx/>
                  <a:latin typeface="Segoe UI"/>
                  <a:ea typeface="+mj-ea"/>
                  <a:cs typeface="+mj-cs"/>
                </a:rPr>
                <a:t>“Any IoT platform”</a:t>
              </a:r>
            </a:p>
          </p:txBody>
        </p:sp>
      </p:grpSp>
      <p:pic>
        <p:nvPicPr>
          <p:cNvPr id="120" name="Bildobjekt 14">
            <a:extLst>
              <a:ext uri="{FF2B5EF4-FFF2-40B4-BE49-F238E27FC236}">
                <a16:creationId xmlns:a16="http://schemas.microsoft.com/office/drawing/2014/main" id="{94DF39C5-B515-4026-BE49-FD5F2A905C26}"/>
              </a:ext>
            </a:extLst>
          </p:cNvPr>
          <p:cNvPicPr>
            <a:picLocks noChangeAspect="1"/>
          </p:cNvPicPr>
          <p:nvPr/>
        </p:nvPicPr>
        <p:blipFill>
          <a:blip r:embed="rId4"/>
          <a:stretch>
            <a:fillRect/>
          </a:stretch>
        </p:blipFill>
        <p:spPr>
          <a:xfrm>
            <a:off x="3921533" y="2722207"/>
            <a:ext cx="1374344" cy="1403587"/>
          </a:xfrm>
          <a:prstGeom prst="rect">
            <a:avLst/>
          </a:prstGeom>
        </p:spPr>
      </p:pic>
      <p:sp>
        <p:nvSpPr>
          <p:cNvPr id="121" name="TextBox 33">
            <a:extLst>
              <a:ext uri="{FF2B5EF4-FFF2-40B4-BE49-F238E27FC236}">
                <a16:creationId xmlns:a16="http://schemas.microsoft.com/office/drawing/2014/main" id="{260798AB-83A7-4441-BD9D-C9949CC87DAA}"/>
              </a:ext>
            </a:extLst>
          </p:cNvPr>
          <p:cNvSpPr txBox="1"/>
          <p:nvPr/>
        </p:nvSpPr>
        <p:spPr>
          <a:xfrm>
            <a:off x="3261102" y="603324"/>
            <a:ext cx="3650710" cy="1822037"/>
          </a:xfrm>
          <a:prstGeom prst="rect">
            <a:avLst/>
          </a:prstGeom>
          <a:noFill/>
        </p:spPr>
        <p:txBody>
          <a:bodyPr wrap="square" lIns="182880" tIns="146304" rIns="182880" bIns="146304" rtlCol="0" anchor="t">
            <a:spAutoFit/>
          </a:bodyPr>
          <a:lstStyle/>
          <a:p>
            <a:pPr marL="0" marR="0" lvl="0" indent="0" algn="l" defTabSz="914400" rtl="0" eaLnBrk="1" fontAlgn="auto" latinLnBrk="0" hangingPunct="1">
              <a:lnSpc>
                <a:spcPct val="80000"/>
              </a:lnSpc>
              <a:spcBef>
                <a:spcPts val="0"/>
              </a:spcBef>
              <a:buClrTx/>
              <a:buSzTx/>
              <a:buFontTx/>
              <a:buNone/>
              <a:tabLst/>
              <a:defRPr/>
            </a:pPr>
            <a:r>
              <a:rPr kumimoji="0" lang="en-US" sz="2400" b="1" i="0" u="none" strike="noStrike" kern="0" cap="none" spc="0" normalizeH="0" baseline="0" noProof="0" dirty="0">
                <a:ln>
                  <a:noFill/>
                </a:ln>
                <a:solidFill>
                  <a:schemeClr val="tx2">
                    <a:lumMod val="75000"/>
                    <a:lumOff val="25000"/>
                  </a:schemeClr>
                </a:solidFill>
                <a:effectLst/>
                <a:uLnTx/>
                <a:uFillTx/>
                <a:latin typeface="Segoe UI"/>
                <a:ea typeface="+mn-ea"/>
                <a:cs typeface="+mn-cs"/>
              </a:rPr>
              <a:t>    Challenges</a:t>
            </a:r>
          </a:p>
          <a:p>
            <a:pPr lvl="1">
              <a:defRPr/>
            </a:pPr>
            <a:r>
              <a:rPr kumimoji="0" lang="en-US" sz="1600" b="0" i="0" u="none" strike="noStrike" kern="0" cap="none" spc="0" normalizeH="0" baseline="0" noProof="0" dirty="0">
                <a:ln>
                  <a:noFill/>
                </a:ln>
                <a:solidFill>
                  <a:schemeClr val="tx2">
                    <a:lumMod val="90000"/>
                    <a:lumOff val="10000"/>
                  </a:schemeClr>
                </a:solidFill>
                <a:effectLst/>
                <a:uLnTx/>
                <a:uFillTx/>
                <a:latin typeface="Segoe UI"/>
                <a:ea typeface="+mn-ea"/>
                <a:cs typeface="+mn-cs"/>
              </a:rPr>
              <a:t>Onboarding</a:t>
            </a:r>
          </a:p>
          <a:p>
            <a:pPr lvl="1">
              <a:defRPr/>
            </a:pPr>
            <a:r>
              <a:rPr kumimoji="0" lang="en-US" sz="1600" b="0" i="0" u="none" strike="noStrike" kern="0" cap="none" spc="0" normalizeH="0" baseline="0" noProof="0" dirty="0">
                <a:ln>
                  <a:noFill/>
                </a:ln>
                <a:solidFill>
                  <a:schemeClr val="tx2">
                    <a:lumMod val="90000"/>
                    <a:lumOff val="10000"/>
                  </a:schemeClr>
                </a:solidFill>
                <a:effectLst/>
                <a:uLnTx/>
                <a:uFillTx/>
                <a:latin typeface="Segoe UI"/>
                <a:ea typeface="+mn-ea"/>
                <a:cs typeface="+mn-cs"/>
              </a:rPr>
              <a:t>Hub independence</a:t>
            </a:r>
          </a:p>
          <a:p>
            <a:pPr lvl="1">
              <a:defRPr/>
            </a:pPr>
            <a:r>
              <a:rPr kumimoji="0" lang="en-US" sz="1600" b="0" i="0" u="none" strike="noStrike" kern="0" cap="none" spc="0" normalizeH="0" baseline="0" noProof="0" dirty="0">
                <a:ln>
                  <a:noFill/>
                </a:ln>
                <a:solidFill>
                  <a:schemeClr val="tx2">
                    <a:lumMod val="90000"/>
                    <a:lumOff val="10000"/>
                  </a:schemeClr>
                </a:solidFill>
                <a:effectLst/>
                <a:uLnTx/>
                <a:uFillTx/>
                <a:latin typeface="Segoe UI"/>
                <a:ea typeface="+mn-ea"/>
                <a:cs typeface="+mn-cs"/>
              </a:rPr>
              <a:t>Updates &amp; Patches</a:t>
            </a:r>
          </a:p>
          <a:p>
            <a:pPr lvl="1">
              <a:defRPr/>
            </a:pPr>
            <a:r>
              <a:rPr kumimoji="0" lang="en-US" sz="1600" b="0" i="0" u="none" strike="noStrike" kern="0" cap="none" spc="0" normalizeH="0" baseline="0" noProof="0" dirty="0">
                <a:ln>
                  <a:noFill/>
                </a:ln>
                <a:solidFill>
                  <a:schemeClr val="tx2">
                    <a:lumMod val="90000"/>
                    <a:lumOff val="10000"/>
                  </a:schemeClr>
                </a:solidFill>
                <a:effectLst/>
                <a:uLnTx/>
                <a:uFillTx/>
                <a:latin typeface="Segoe UI"/>
                <a:ea typeface="+mn-ea"/>
                <a:cs typeface="+mn-cs"/>
              </a:rPr>
              <a:t>Issue tracking</a:t>
            </a:r>
          </a:p>
          <a:p>
            <a:pPr lvl="1">
              <a:defRPr/>
            </a:pPr>
            <a:r>
              <a:rPr kumimoji="0" lang="en-US" sz="1600" b="0" i="0" u="none" strike="noStrike" kern="0" cap="none" spc="0" normalizeH="0" baseline="0" noProof="0" dirty="0">
                <a:ln>
                  <a:noFill/>
                </a:ln>
                <a:solidFill>
                  <a:schemeClr val="tx2">
                    <a:lumMod val="90000"/>
                    <a:lumOff val="10000"/>
                  </a:schemeClr>
                </a:solidFill>
                <a:effectLst/>
                <a:uLnTx/>
                <a:uFillTx/>
                <a:latin typeface="Segoe UI"/>
                <a:ea typeface="+mn-ea"/>
                <a:cs typeface="+mn-cs"/>
              </a:rPr>
              <a:t>Monitoring</a:t>
            </a:r>
          </a:p>
        </p:txBody>
      </p:sp>
      <p:cxnSp>
        <p:nvCxnSpPr>
          <p:cNvPr id="140" name="Rak pilkoppling 75">
            <a:extLst>
              <a:ext uri="{FF2B5EF4-FFF2-40B4-BE49-F238E27FC236}">
                <a16:creationId xmlns:a16="http://schemas.microsoft.com/office/drawing/2014/main" id="{E7643F97-6A1C-41F6-A892-C0F67C043EA0}"/>
              </a:ext>
            </a:extLst>
          </p:cNvPr>
          <p:cNvCxnSpPr>
            <a:cxnSpLocks/>
          </p:cNvCxnSpPr>
          <p:nvPr/>
        </p:nvCxnSpPr>
        <p:spPr>
          <a:xfrm>
            <a:off x="5331853" y="3629673"/>
            <a:ext cx="914400" cy="0"/>
          </a:xfrm>
          <a:prstGeom prst="straightConnector1">
            <a:avLst/>
          </a:prstGeom>
          <a:noFill/>
          <a:ln w="50800" cap="flat" cmpd="sng" algn="ctr">
            <a:solidFill>
              <a:srgbClr val="005EB8"/>
            </a:solidFill>
            <a:prstDash val="solid"/>
            <a:headEnd type="triangle" w="med" len="med"/>
            <a:tailEnd type="triangle" w="med" len="med"/>
          </a:ln>
          <a:effectLst>
            <a:outerShdw blurRad="40000" dist="20000" dir="5400000" rotWithShape="0">
              <a:srgbClr val="000000">
                <a:alpha val="38000"/>
              </a:srgbClr>
            </a:outerShdw>
          </a:effectLst>
        </p:spPr>
      </p:cxnSp>
      <p:cxnSp>
        <p:nvCxnSpPr>
          <p:cNvPr id="143" name="Rak pilkoppling 75">
            <a:extLst>
              <a:ext uri="{FF2B5EF4-FFF2-40B4-BE49-F238E27FC236}">
                <a16:creationId xmlns:a16="http://schemas.microsoft.com/office/drawing/2014/main" id="{20908B5E-D2C5-465B-A2EE-D75099E388D9}"/>
              </a:ext>
            </a:extLst>
          </p:cNvPr>
          <p:cNvCxnSpPr>
            <a:cxnSpLocks/>
          </p:cNvCxnSpPr>
          <p:nvPr/>
        </p:nvCxnSpPr>
        <p:spPr>
          <a:xfrm>
            <a:off x="2994212" y="3603248"/>
            <a:ext cx="893728" cy="26426"/>
          </a:xfrm>
          <a:prstGeom prst="straightConnector1">
            <a:avLst/>
          </a:prstGeom>
          <a:noFill/>
          <a:ln w="50800" cap="flat" cmpd="sng" algn="ctr">
            <a:solidFill>
              <a:srgbClr val="005EB8"/>
            </a:solidFill>
            <a:prstDash val="solid"/>
            <a:headEnd type="triangle" w="med" len="med"/>
            <a:tailEnd type="triangle" w="med" len="med"/>
          </a:ln>
          <a:effectLst>
            <a:outerShdw blurRad="40000" dist="20000" dir="5400000" rotWithShape="0">
              <a:srgbClr val="000000">
                <a:alpha val="38000"/>
              </a:srgbClr>
            </a:outerShdw>
          </a:effectLst>
        </p:spPr>
      </p:cxnSp>
      <p:grpSp>
        <p:nvGrpSpPr>
          <p:cNvPr id="152" name="Group 49">
            <a:extLst>
              <a:ext uri="{FF2B5EF4-FFF2-40B4-BE49-F238E27FC236}">
                <a16:creationId xmlns:a16="http://schemas.microsoft.com/office/drawing/2014/main" id="{938C5642-2FFD-4969-8734-4E4ED8864B8B}"/>
              </a:ext>
            </a:extLst>
          </p:cNvPr>
          <p:cNvGrpSpPr/>
          <p:nvPr/>
        </p:nvGrpSpPr>
        <p:grpSpPr>
          <a:xfrm>
            <a:off x="6565426" y="2210729"/>
            <a:ext cx="2459930" cy="2459929"/>
            <a:chOff x="4113771" y="1033079"/>
            <a:chExt cx="3813242" cy="3813242"/>
          </a:xfrm>
        </p:grpSpPr>
        <p:pic>
          <p:nvPicPr>
            <p:cNvPr id="154" name="Picture 8" descr="Bildresultat för microsoft cloud one drive">
              <a:extLst>
                <a:ext uri="{FF2B5EF4-FFF2-40B4-BE49-F238E27FC236}">
                  <a16:creationId xmlns:a16="http://schemas.microsoft.com/office/drawing/2014/main" id="{9B1C54D7-870D-4942-9338-5AAA16F5CE7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13771" y="1033079"/>
              <a:ext cx="3813242" cy="3813242"/>
            </a:xfrm>
            <a:prstGeom prst="rect">
              <a:avLst/>
            </a:prstGeom>
            <a:noFill/>
            <a:extLst>
              <a:ext uri="{909E8E84-426E-40DD-AFC4-6F175D3DCCD1}">
                <a14:hiddenFill xmlns:a14="http://schemas.microsoft.com/office/drawing/2010/main">
                  <a:solidFill>
                    <a:srgbClr val="FFFFFF"/>
                  </a:solidFill>
                </a14:hiddenFill>
              </a:ext>
            </a:extLst>
          </p:spPr>
        </p:pic>
        <p:pic>
          <p:nvPicPr>
            <p:cNvPr id="155" name="Picture 55">
              <a:extLst>
                <a:ext uri="{FF2B5EF4-FFF2-40B4-BE49-F238E27FC236}">
                  <a16:creationId xmlns:a16="http://schemas.microsoft.com/office/drawing/2014/main" id="{9AF05AB0-81A4-411E-B99D-4149773294EF}"/>
                </a:ext>
              </a:extLst>
            </p:cNvPr>
            <p:cNvPicPr>
              <a:picLocks noChangeAspect="1"/>
            </p:cNvPicPr>
            <p:nvPr/>
          </p:nvPicPr>
          <p:blipFill>
            <a:blip r:embed="rId6"/>
            <a:stretch>
              <a:fillRect/>
            </a:stretch>
          </p:blipFill>
          <p:spPr>
            <a:xfrm>
              <a:off x="5494792" y="3034285"/>
              <a:ext cx="621753" cy="621753"/>
            </a:xfrm>
            <a:prstGeom prst="rect">
              <a:avLst/>
            </a:prstGeom>
          </p:spPr>
        </p:pic>
        <p:pic>
          <p:nvPicPr>
            <p:cNvPr id="156" name="Picture 57">
              <a:extLst>
                <a:ext uri="{FF2B5EF4-FFF2-40B4-BE49-F238E27FC236}">
                  <a16:creationId xmlns:a16="http://schemas.microsoft.com/office/drawing/2014/main" id="{12804536-2C67-47D1-BDC9-6A9461D69387}"/>
                </a:ext>
              </a:extLst>
            </p:cNvPr>
            <p:cNvPicPr>
              <a:picLocks noChangeAspect="1"/>
            </p:cNvPicPr>
            <p:nvPr/>
          </p:nvPicPr>
          <p:blipFill>
            <a:blip r:embed="rId7"/>
            <a:stretch>
              <a:fillRect/>
            </a:stretch>
          </p:blipFill>
          <p:spPr>
            <a:xfrm>
              <a:off x="6232767" y="3034285"/>
              <a:ext cx="831871" cy="642502"/>
            </a:xfrm>
            <a:prstGeom prst="rect">
              <a:avLst/>
            </a:prstGeom>
          </p:spPr>
        </p:pic>
      </p:grpSp>
      <p:grpSp>
        <p:nvGrpSpPr>
          <p:cNvPr id="30" name="Group 29">
            <a:extLst>
              <a:ext uri="{FF2B5EF4-FFF2-40B4-BE49-F238E27FC236}">
                <a16:creationId xmlns:a16="http://schemas.microsoft.com/office/drawing/2014/main" id="{ECDE4DDC-23E3-4689-9F6B-A692114C96AC}"/>
              </a:ext>
            </a:extLst>
          </p:cNvPr>
          <p:cNvGrpSpPr/>
          <p:nvPr/>
        </p:nvGrpSpPr>
        <p:grpSpPr>
          <a:xfrm>
            <a:off x="6756927" y="4941036"/>
            <a:ext cx="2091797" cy="1199189"/>
            <a:chOff x="6756927" y="4941036"/>
            <a:chExt cx="2091797" cy="1199189"/>
          </a:xfrm>
        </p:grpSpPr>
        <p:sp>
          <p:nvSpPr>
            <p:cNvPr id="123" name="Left Brace 34">
              <a:extLst>
                <a:ext uri="{FF2B5EF4-FFF2-40B4-BE49-F238E27FC236}">
                  <a16:creationId xmlns:a16="http://schemas.microsoft.com/office/drawing/2014/main" id="{0092E0FF-690A-4480-90CA-E27E3EF249DB}"/>
                </a:ext>
              </a:extLst>
            </p:cNvPr>
            <p:cNvSpPr/>
            <p:nvPr/>
          </p:nvSpPr>
          <p:spPr>
            <a:xfrm rot="5400000">
              <a:off x="7562536" y="4135427"/>
              <a:ext cx="480580" cy="2091797"/>
            </a:xfrm>
            <a:prstGeom prst="leftBrace">
              <a:avLst>
                <a:gd name="adj1" fmla="val 8333"/>
                <a:gd name="adj2" fmla="val 50090"/>
              </a:avLst>
            </a:prstGeom>
            <a:ln>
              <a:solidFill>
                <a:srgbClr val="2F3643"/>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pic>
          <p:nvPicPr>
            <p:cNvPr id="138" name="Bildobjekt 62" descr="Image result for weather services icon png">
              <a:extLst>
                <a:ext uri="{FF2B5EF4-FFF2-40B4-BE49-F238E27FC236}">
                  <a16:creationId xmlns:a16="http://schemas.microsoft.com/office/drawing/2014/main" id="{CAB90086-D12D-4803-A8B2-441C7BAA241A}"/>
                </a:ext>
              </a:extLst>
            </p:cNvPr>
            <p:cNvPicPr/>
            <p:nvPr/>
          </p:nvPicPr>
          <p:blipFill>
            <a:blip r:embed="rId8">
              <a:extLst>
                <a:ext uri="{28A0092B-C50C-407E-A947-70E740481C1C}">
                  <a14:useLocalDpi xmlns:a14="http://schemas.microsoft.com/office/drawing/2010/main" val="0"/>
                </a:ext>
              </a:extLst>
            </a:blip>
            <a:srcRect/>
            <a:stretch>
              <a:fillRect/>
            </a:stretch>
          </p:blipFill>
          <p:spPr bwMode="auto">
            <a:xfrm>
              <a:off x="7963960" y="5411755"/>
              <a:ext cx="628972" cy="683234"/>
            </a:xfrm>
            <a:prstGeom prst="rect">
              <a:avLst/>
            </a:prstGeom>
            <a:noFill/>
            <a:ln>
              <a:noFill/>
            </a:ln>
          </p:spPr>
        </p:pic>
        <p:pic>
          <p:nvPicPr>
            <p:cNvPr id="171" name="Picture 24" descr="Bildresultat för price icon png">
              <a:extLst>
                <a:ext uri="{FF2B5EF4-FFF2-40B4-BE49-F238E27FC236}">
                  <a16:creationId xmlns:a16="http://schemas.microsoft.com/office/drawing/2014/main" id="{5ADF65E3-60E0-4A7F-B8D0-ACC34EA6AB7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051485" y="5393405"/>
              <a:ext cx="746820" cy="746820"/>
            </a:xfrm>
            <a:prstGeom prst="rect">
              <a:avLst/>
            </a:prstGeom>
            <a:noFill/>
            <a:extLst>
              <a:ext uri="{909E8E84-426E-40DD-AFC4-6F175D3DCCD1}">
                <a14:hiddenFill xmlns:a14="http://schemas.microsoft.com/office/drawing/2010/main">
                  <a:solidFill>
                    <a:srgbClr val="FFFFFF"/>
                  </a:solidFill>
                </a14:hiddenFill>
              </a:ext>
            </a:extLst>
          </p:spPr>
        </p:pic>
      </p:grpSp>
      <p:sp>
        <p:nvSpPr>
          <p:cNvPr id="164" name="Left Brace 34">
            <a:extLst>
              <a:ext uri="{FF2B5EF4-FFF2-40B4-BE49-F238E27FC236}">
                <a16:creationId xmlns:a16="http://schemas.microsoft.com/office/drawing/2014/main" id="{A0A2A1C6-FD40-4635-8652-05F2AB60B890}"/>
              </a:ext>
            </a:extLst>
          </p:cNvPr>
          <p:cNvSpPr/>
          <p:nvPr/>
        </p:nvSpPr>
        <p:spPr>
          <a:xfrm rot="10800000">
            <a:off x="2022720" y="1303105"/>
            <a:ext cx="329643" cy="4488298"/>
          </a:xfrm>
          <a:prstGeom prst="leftBrace">
            <a:avLst>
              <a:gd name="adj1" fmla="val 0"/>
              <a:gd name="adj2" fmla="val 47118"/>
            </a:avLst>
          </a:prstGeom>
          <a:ln>
            <a:solidFill>
              <a:srgbClr val="2F3643"/>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3B3C40"/>
              </a:solidFill>
              <a:effectLst/>
              <a:uLnTx/>
              <a:uFillTx/>
              <a:latin typeface="Segoe UI"/>
              <a:ea typeface="+mn-ea"/>
              <a:cs typeface="+mn-cs"/>
            </a:endParaRPr>
          </a:p>
        </p:txBody>
      </p:sp>
      <p:pic>
        <p:nvPicPr>
          <p:cNvPr id="166" name="Picture 14" descr="Bildresultat för Wind turbine icon png">
            <a:extLst>
              <a:ext uri="{FF2B5EF4-FFF2-40B4-BE49-F238E27FC236}">
                <a16:creationId xmlns:a16="http://schemas.microsoft.com/office/drawing/2014/main" id="{6345A6E5-15B4-4F93-A0A0-225882ADBD5F}"/>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190550" y="4261006"/>
            <a:ext cx="694086" cy="694086"/>
          </a:xfrm>
          <a:prstGeom prst="rect">
            <a:avLst/>
          </a:prstGeom>
          <a:noFill/>
          <a:extLst>
            <a:ext uri="{909E8E84-426E-40DD-AFC4-6F175D3DCCD1}">
              <a14:hiddenFill xmlns:a14="http://schemas.microsoft.com/office/drawing/2010/main">
                <a:solidFill>
                  <a:srgbClr val="FFFFFF"/>
                </a:solidFill>
              </a14:hiddenFill>
            </a:ext>
          </a:extLst>
        </p:spPr>
      </p:pic>
      <p:pic>
        <p:nvPicPr>
          <p:cNvPr id="167" name="Picture 16" descr="Bildresultat för charging station icon png">
            <a:extLst>
              <a:ext uri="{FF2B5EF4-FFF2-40B4-BE49-F238E27FC236}">
                <a16:creationId xmlns:a16="http://schemas.microsoft.com/office/drawing/2014/main" id="{CC1A303D-0AC0-4BB6-AECB-D7E5734D119F}"/>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289981" y="5046629"/>
            <a:ext cx="637090" cy="637090"/>
          </a:xfrm>
          <a:prstGeom prst="rect">
            <a:avLst/>
          </a:prstGeom>
          <a:noFill/>
          <a:extLst>
            <a:ext uri="{909E8E84-426E-40DD-AFC4-6F175D3DCCD1}">
              <a14:hiddenFill xmlns:a14="http://schemas.microsoft.com/office/drawing/2010/main">
                <a:solidFill>
                  <a:srgbClr val="FFFFFF"/>
                </a:solidFill>
              </a14:hiddenFill>
            </a:ext>
          </a:extLst>
        </p:spPr>
      </p:pic>
      <p:pic>
        <p:nvPicPr>
          <p:cNvPr id="169" name="Picture 18" descr="Relaterad bild">
            <a:extLst>
              <a:ext uri="{FF2B5EF4-FFF2-40B4-BE49-F238E27FC236}">
                <a16:creationId xmlns:a16="http://schemas.microsoft.com/office/drawing/2014/main" id="{FEE5A8F1-785E-4A81-8409-6CB479BB3E22}"/>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262108" y="1514343"/>
            <a:ext cx="601399" cy="462795"/>
          </a:xfrm>
          <a:prstGeom prst="rect">
            <a:avLst/>
          </a:prstGeom>
          <a:noFill/>
          <a:extLst>
            <a:ext uri="{909E8E84-426E-40DD-AFC4-6F175D3DCCD1}">
              <a14:hiddenFill xmlns:a14="http://schemas.microsoft.com/office/drawing/2010/main">
                <a:solidFill>
                  <a:srgbClr val="FFFFFF"/>
                </a:solidFill>
              </a14:hiddenFill>
            </a:ext>
          </a:extLst>
        </p:spPr>
      </p:pic>
      <p:pic>
        <p:nvPicPr>
          <p:cNvPr id="170" name="Picture 20" descr="Bildresultat för illumination icon png">
            <a:extLst>
              <a:ext uri="{FF2B5EF4-FFF2-40B4-BE49-F238E27FC236}">
                <a16:creationId xmlns:a16="http://schemas.microsoft.com/office/drawing/2014/main" id="{3ABF56DC-224E-4E1D-9FEF-FA69F61C0E6E}"/>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165262" y="2046016"/>
            <a:ext cx="769707" cy="769707"/>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a:extLst>
              <a:ext uri="{FF2B5EF4-FFF2-40B4-BE49-F238E27FC236}">
                <a16:creationId xmlns:a16="http://schemas.microsoft.com/office/drawing/2014/main" id="{75811573-AC51-4903-8E05-4C4DF9D199C2}"/>
              </a:ext>
            </a:extLst>
          </p:cNvPr>
          <p:cNvPicPr>
            <a:picLocks noChangeAspect="1"/>
          </p:cNvPicPr>
          <p:nvPr/>
        </p:nvPicPr>
        <p:blipFill>
          <a:blip r:embed="rId14"/>
          <a:stretch>
            <a:fillRect/>
          </a:stretch>
        </p:blipFill>
        <p:spPr>
          <a:xfrm>
            <a:off x="1268808" y="2884601"/>
            <a:ext cx="562614" cy="479829"/>
          </a:xfrm>
          <a:prstGeom prst="rect">
            <a:avLst/>
          </a:prstGeom>
        </p:spPr>
      </p:pic>
      <p:pic>
        <p:nvPicPr>
          <p:cNvPr id="17" name="Picture 16">
            <a:extLst>
              <a:ext uri="{FF2B5EF4-FFF2-40B4-BE49-F238E27FC236}">
                <a16:creationId xmlns:a16="http://schemas.microsoft.com/office/drawing/2014/main" id="{CEFB99BF-0944-4971-B589-6FFB8F46D7D3}"/>
              </a:ext>
            </a:extLst>
          </p:cNvPr>
          <p:cNvPicPr>
            <a:picLocks noChangeAspect="1"/>
          </p:cNvPicPr>
          <p:nvPr/>
        </p:nvPicPr>
        <p:blipFill>
          <a:blip r:embed="rId15"/>
          <a:stretch>
            <a:fillRect/>
          </a:stretch>
        </p:blipFill>
        <p:spPr>
          <a:xfrm>
            <a:off x="1231436" y="3603248"/>
            <a:ext cx="582237" cy="497813"/>
          </a:xfrm>
          <a:prstGeom prst="rect">
            <a:avLst/>
          </a:prstGeom>
        </p:spPr>
      </p:pic>
      <p:grpSp>
        <p:nvGrpSpPr>
          <p:cNvPr id="21" name="Group 20">
            <a:extLst>
              <a:ext uri="{FF2B5EF4-FFF2-40B4-BE49-F238E27FC236}">
                <a16:creationId xmlns:a16="http://schemas.microsoft.com/office/drawing/2014/main" id="{3608D2A5-116D-4321-9C75-12BFD948D002}"/>
              </a:ext>
            </a:extLst>
          </p:cNvPr>
          <p:cNvGrpSpPr/>
          <p:nvPr/>
        </p:nvGrpSpPr>
        <p:grpSpPr>
          <a:xfrm>
            <a:off x="9528389" y="1398493"/>
            <a:ext cx="2591590" cy="4310407"/>
            <a:chOff x="9528389" y="1398493"/>
            <a:chExt cx="2591590" cy="4310407"/>
          </a:xfrm>
        </p:grpSpPr>
        <p:sp>
          <p:nvSpPr>
            <p:cNvPr id="128" name="TextBox 50">
              <a:extLst>
                <a:ext uri="{FF2B5EF4-FFF2-40B4-BE49-F238E27FC236}">
                  <a16:creationId xmlns:a16="http://schemas.microsoft.com/office/drawing/2014/main" id="{E52F765B-692B-4C0F-9189-6229BC70D0BF}"/>
                </a:ext>
              </a:extLst>
            </p:cNvPr>
            <p:cNvSpPr txBox="1"/>
            <p:nvPr/>
          </p:nvSpPr>
          <p:spPr>
            <a:xfrm>
              <a:off x="10792371" y="3464752"/>
              <a:ext cx="1327608" cy="369332"/>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a:ea typeface="+mn-ea"/>
                  <a:cs typeface="+mn-cs"/>
                </a:rPr>
                <a:t>Monitoring</a:t>
              </a:r>
            </a:p>
          </p:txBody>
        </p:sp>
        <p:sp>
          <p:nvSpPr>
            <p:cNvPr id="129" name="TextBox 50">
              <a:extLst>
                <a:ext uri="{FF2B5EF4-FFF2-40B4-BE49-F238E27FC236}">
                  <a16:creationId xmlns:a16="http://schemas.microsoft.com/office/drawing/2014/main" id="{61791761-DE47-4074-AD77-1C05A7003DB4}"/>
                </a:ext>
              </a:extLst>
            </p:cNvPr>
            <p:cNvSpPr txBox="1"/>
            <p:nvPr/>
          </p:nvSpPr>
          <p:spPr>
            <a:xfrm>
              <a:off x="10792371" y="4408570"/>
              <a:ext cx="1114408" cy="646331"/>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a:ea typeface="+mn-ea"/>
                  <a:cs typeface="+mn-cs"/>
                </a:rPr>
                <a:t>Machine </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a:ea typeface="+mn-ea"/>
                  <a:cs typeface="+mn-cs"/>
                </a:rPr>
                <a:t>Learning</a:t>
              </a:r>
            </a:p>
          </p:txBody>
        </p:sp>
        <p:pic>
          <p:nvPicPr>
            <p:cNvPr id="132" name="Picture 131">
              <a:extLst>
                <a:ext uri="{FF2B5EF4-FFF2-40B4-BE49-F238E27FC236}">
                  <a16:creationId xmlns:a16="http://schemas.microsoft.com/office/drawing/2014/main" id="{D1E7D26C-D480-4570-8820-05482394B0F8}"/>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0054594" y="1501273"/>
              <a:ext cx="682072" cy="682072"/>
            </a:xfrm>
            <a:prstGeom prst="rect">
              <a:avLst/>
            </a:prstGeom>
          </p:spPr>
        </p:pic>
        <p:pic>
          <p:nvPicPr>
            <p:cNvPr id="133" name="Picture 132">
              <a:extLst>
                <a:ext uri="{FF2B5EF4-FFF2-40B4-BE49-F238E27FC236}">
                  <a16:creationId xmlns:a16="http://schemas.microsoft.com/office/drawing/2014/main" id="{33DEE16D-581A-4406-BE2E-C30BFB4D80AD}"/>
                </a:ext>
              </a:extLst>
            </p:cNvPr>
            <p:cNvPicPr>
              <a:picLocks noChangeAspect="1"/>
            </p:cNvPicPr>
            <p:nvPr/>
          </p:nvPicPr>
          <p:blipFill>
            <a:blip r:embed="rId17"/>
            <a:stretch>
              <a:fillRect/>
            </a:stretch>
          </p:blipFill>
          <p:spPr>
            <a:xfrm>
              <a:off x="10053738" y="4266279"/>
              <a:ext cx="683784" cy="683784"/>
            </a:xfrm>
            <a:prstGeom prst="rect">
              <a:avLst/>
            </a:prstGeom>
          </p:spPr>
        </p:pic>
        <p:pic>
          <p:nvPicPr>
            <p:cNvPr id="134" name="Picture 133">
              <a:extLst>
                <a:ext uri="{FF2B5EF4-FFF2-40B4-BE49-F238E27FC236}">
                  <a16:creationId xmlns:a16="http://schemas.microsoft.com/office/drawing/2014/main" id="{AE50C5E4-3B94-4A9D-9B40-C348B7EDC923}"/>
                </a:ext>
              </a:extLst>
            </p:cNvPr>
            <p:cNvPicPr>
              <a:picLocks noChangeAspect="1"/>
            </p:cNvPicPr>
            <p:nvPr/>
          </p:nvPicPr>
          <p:blipFill>
            <a:blip r:embed="rId18"/>
            <a:stretch>
              <a:fillRect/>
            </a:stretch>
          </p:blipFill>
          <p:spPr>
            <a:xfrm>
              <a:off x="10059957" y="2353025"/>
              <a:ext cx="671347" cy="671345"/>
            </a:xfrm>
            <a:prstGeom prst="rect">
              <a:avLst/>
            </a:prstGeom>
          </p:spPr>
        </p:pic>
        <p:pic>
          <p:nvPicPr>
            <p:cNvPr id="135" name="Picture 134">
              <a:extLst>
                <a:ext uri="{FF2B5EF4-FFF2-40B4-BE49-F238E27FC236}">
                  <a16:creationId xmlns:a16="http://schemas.microsoft.com/office/drawing/2014/main" id="{E48DF4FD-D2F2-47C6-8D68-690242045A3F}"/>
                </a:ext>
              </a:extLst>
            </p:cNvPr>
            <p:cNvPicPr>
              <a:picLocks noChangeAspect="1"/>
            </p:cNvPicPr>
            <p:nvPr/>
          </p:nvPicPr>
          <p:blipFill>
            <a:blip r:embed="rId19"/>
            <a:stretch>
              <a:fillRect/>
            </a:stretch>
          </p:blipFill>
          <p:spPr>
            <a:xfrm>
              <a:off x="9944355" y="3194050"/>
              <a:ext cx="902549" cy="902549"/>
            </a:xfrm>
            <a:prstGeom prst="rect">
              <a:avLst/>
            </a:prstGeom>
          </p:spPr>
        </p:pic>
        <p:sp>
          <p:nvSpPr>
            <p:cNvPr id="136" name="TextBox 50">
              <a:extLst>
                <a:ext uri="{FF2B5EF4-FFF2-40B4-BE49-F238E27FC236}">
                  <a16:creationId xmlns:a16="http://schemas.microsoft.com/office/drawing/2014/main" id="{431DFEA4-AD6C-4269-8162-8F43F3535D06}"/>
                </a:ext>
              </a:extLst>
            </p:cNvPr>
            <p:cNvSpPr txBox="1"/>
            <p:nvPr/>
          </p:nvSpPr>
          <p:spPr>
            <a:xfrm>
              <a:off x="10793074" y="1642254"/>
              <a:ext cx="970137" cy="369332"/>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a:ea typeface="+mn-ea"/>
                  <a:cs typeface="+mn-cs"/>
                </a:rPr>
                <a:t>Reports</a:t>
              </a:r>
            </a:p>
          </p:txBody>
        </p:sp>
        <p:sp>
          <p:nvSpPr>
            <p:cNvPr id="137" name="TextBox 50">
              <a:extLst>
                <a:ext uri="{FF2B5EF4-FFF2-40B4-BE49-F238E27FC236}">
                  <a16:creationId xmlns:a16="http://schemas.microsoft.com/office/drawing/2014/main" id="{299133F5-D9A6-42C9-BF38-E634364A212D}"/>
                </a:ext>
              </a:extLst>
            </p:cNvPr>
            <p:cNvSpPr txBox="1"/>
            <p:nvPr/>
          </p:nvSpPr>
          <p:spPr>
            <a:xfrm>
              <a:off x="10793074" y="2586073"/>
              <a:ext cx="704039" cy="369332"/>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a:ea typeface="+mn-ea"/>
                  <a:cs typeface="+mn-cs"/>
                </a:rPr>
                <a:t>Apps</a:t>
              </a:r>
            </a:p>
          </p:txBody>
        </p:sp>
        <p:pic>
          <p:nvPicPr>
            <p:cNvPr id="127" name="Bildobjekt 6">
              <a:extLst>
                <a:ext uri="{FF2B5EF4-FFF2-40B4-BE49-F238E27FC236}">
                  <a16:creationId xmlns:a16="http://schemas.microsoft.com/office/drawing/2014/main" id="{FDCE6604-FF0C-46DE-BEC7-41D5FD6D3D91}"/>
                </a:ext>
              </a:extLst>
            </p:cNvPr>
            <p:cNvPicPr>
              <a:picLocks noChangeAspect="1"/>
            </p:cNvPicPr>
            <p:nvPr/>
          </p:nvPicPr>
          <p:blipFill>
            <a:blip r:embed="rId20"/>
            <a:stretch>
              <a:fillRect/>
            </a:stretch>
          </p:blipFill>
          <p:spPr>
            <a:xfrm>
              <a:off x="10137288" y="5214905"/>
              <a:ext cx="523825" cy="493560"/>
            </a:xfrm>
            <a:prstGeom prst="rect">
              <a:avLst/>
            </a:prstGeom>
          </p:spPr>
        </p:pic>
        <p:sp>
          <p:nvSpPr>
            <p:cNvPr id="197" name="Left Brace 34">
              <a:extLst>
                <a:ext uri="{FF2B5EF4-FFF2-40B4-BE49-F238E27FC236}">
                  <a16:creationId xmlns:a16="http://schemas.microsoft.com/office/drawing/2014/main" id="{9EED425A-0CE4-49D9-9A55-95B7BFC5F7C0}"/>
                </a:ext>
              </a:extLst>
            </p:cNvPr>
            <p:cNvSpPr/>
            <p:nvPr/>
          </p:nvSpPr>
          <p:spPr>
            <a:xfrm rot="10800000" flipH="1">
              <a:off x="9528389" y="1398493"/>
              <a:ext cx="329643" cy="4310407"/>
            </a:xfrm>
            <a:prstGeom prst="leftBrace">
              <a:avLst>
                <a:gd name="adj1" fmla="val 0"/>
                <a:gd name="adj2" fmla="val 47118"/>
              </a:avLst>
            </a:prstGeom>
            <a:ln>
              <a:solidFill>
                <a:srgbClr val="2F3643"/>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3B3C40"/>
                </a:solidFill>
                <a:effectLst/>
                <a:uLnTx/>
                <a:uFillTx/>
                <a:latin typeface="Segoe UI"/>
                <a:ea typeface="+mn-ea"/>
                <a:cs typeface="+mn-cs"/>
              </a:endParaRPr>
            </a:p>
          </p:txBody>
        </p:sp>
        <p:sp>
          <p:nvSpPr>
            <p:cNvPr id="198" name="TextBox 50">
              <a:extLst>
                <a:ext uri="{FF2B5EF4-FFF2-40B4-BE49-F238E27FC236}">
                  <a16:creationId xmlns:a16="http://schemas.microsoft.com/office/drawing/2014/main" id="{93530112-67AD-4253-BE3A-33EF890DE2B6}"/>
                </a:ext>
              </a:extLst>
            </p:cNvPr>
            <p:cNvSpPr txBox="1"/>
            <p:nvPr/>
          </p:nvSpPr>
          <p:spPr>
            <a:xfrm>
              <a:off x="10846904" y="5260055"/>
              <a:ext cx="601447" cy="369332"/>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a:ea typeface="+mn-ea"/>
                  <a:cs typeface="+mn-cs"/>
                </a:rPr>
                <a:t>LOB</a:t>
              </a:r>
            </a:p>
          </p:txBody>
        </p:sp>
      </p:grpSp>
      <p:grpSp>
        <p:nvGrpSpPr>
          <p:cNvPr id="29" name="Group 28">
            <a:extLst>
              <a:ext uri="{FF2B5EF4-FFF2-40B4-BE49-F238E27FC236}">
                <a16:creationId xmlns:a16="http://schemas.microsoft.com/office/drawing/2014/main" id="{E783611A-6798-4C0C-AC8F-9C802C7344B1}"/>
              </a:ext>
            </a:extLst>
          </p:cNvPr>
          <p:cNvGrpSpPr/>
          <p:nvPr/>
        </p:nvGrpSpPr>
        <p:grpSpPr>
          <a:xfrm>
            <a:off x="2844452" y="4937365"/>
            <a:ext cx="3342987" cy="1232566"/>
            <a:chOff x="2844452" y="4937365"/>
            <a:chExt cx="3342987" cy="1232566"/>
          </a:xfrm>
        </p:grpSpPr>
        <p:sp>
          <p:nvSpPr>
            <p:cNvPr id="160" name="Left Brace 34">
              <a:extLst>
                <a:ext uri="{FF2B5EF4-FFF2-40B4-BE49-F238E27FC236}">
                  <a16:creationId xmlns:a16="http://schemas.microsoft.com/office/drawing/2014/main" id="{DFCFBAB7-61AE-41F7-A5F4-5AEE9E2FDC83}"/>
                </a:ext>
              </a:extLst>
            </p:cNvPr>
            <p:cNvSpPr/>
            <p:nvPr/>
          </p:nvSpPr>
          <p:spPr>
            <a:xfrm rot="5400000">
              <a:off x="4305448" y="3476369"/>
              <a:ext cx="420996" cy="3342987"/>
            </a:xfrm>
            <a:prstGeom prst="leftBrace">
              <a:avLst>
                <a:gd name="adj1" fmla="val 8333"/>
                <a:gd name="adj2" fmla="val 49469"/>
              </a:avLst>
            </a:prstGeom>
            <a:ln>
              <a:solidFill>
                <a:srgbClr val="2F3643"/>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3B3C40"/>
                </a:solidFill>
                <a:effectLst/>
                <a:uLnTx/>
                <a:uFillTx/>
                <a:latin typeface="Segoe UI"/>
                <a:ea typeface="+mn-ea"/>
                <a:cs typeface="+mn-cs"/>
              </a:endParaRPr>
            </a:p>
          </p:txBody>
        </p:sp>
        <p:pic>
          <p:nvPicPr>
            <p:cNvPr id="23" name="Picture 22">
              <a:extLst>
                <a:ext uri="{FF2B5EF4-FFF2-40B4-BE49-F238E27FC236}">
                  <a16:creationId xmlns:a16="http://schemas.microsoft.com/office/drawing/2014/main" id="{DC245A47-1247-475E-9F5B-4BE8AFC41296}"/>
                </a:ext>
              </a:extLst>
            </p:cNvPr>
            <p:cNvPicPr>
              <a:picLocks noChangeAspect="1"/>
            </p:cNvPicPr>
            <p:nvPr/>
          </p:nvPicPr>
          <p:blipFill>
            <a:blip r:embed="rId21"/>
            <a:stretch>
              <a:fillRect/>
            </a:stretch>
          </p:blipFill>
          <p:spPr>
            <a:xfrm>
              <a:off x="3014354" y="5358361"/>
              <a:ext cx="486066" cy="484330"/>
            </a:xfrm>
            <a:prstGeom prst="rect">
              <a:avLst/>
            </a:prstGeom>
          </p:spPr>
        </p:pic>
        <p:pic>
          <p:nvPicPr>
            <p:cNvPr id="24" name="Picture 23">
              <a:extLst>
                <a:ext uri="{FF2B5EF4-FFF2-40B4-BE49-F238E27FC236}">
                  <a16:creationId xmlns:a16="http://schemas.microsoft.com/office/drawing/2014/main" id="{C58F3F33-54A4-4D6C-B2E9-899AA3B5D67B}"/>
                </a:ext>
              </a:extLst>
            </p:cNvPr>
            <p:cNvPicPr>
              <a:picLocks noChangeAspect="1"/>
            </p:cNvPicPr>
            <p:nvPr/>
          </p:nvPicPr>
          <p:blipFill>
            <a:blip r:embed="rId22"/>
            <a:stretch>
              <a:fillRect/>
            </a:stretch>
          </p:blipFill>
          <p:spPr>
            <a:xfrm rot="16200000">
              <a:off x="3838098" y="5308584"/>
              <a:ext cx="420997" cy="592059"/>
            </a:xfrm>
            <a:prstGeom prst="rect">
              <a:avLst/>
            </a:prstGeom>
          </p:spPr>
        </p:pic>
        <p:pic>
          <p:nvPicPr>
            <p:cNvPr id="25" name="Picture 24">
              <a:extLst>
                <a:ext uri="{FF2B5EF4-FFF2-40B4-BE49-F238E27FC236}">
                  <a16:creationId xmlns:a16="http://schemas.microsoft.com/office/drawing/2014/main" id="{839DFE84-2E2E-4F7C-A167-9F8754A8FF82}"/>
                </a:ext>
              </a:extLst>
            </p:cNvPr>
            <p:cNvPicPr>
              <a:picLocks noChangeAspect="1"/>
            </p:cNvPicPr>
            <p:nvPr/>
          </p:nvPicPr>
          <p:blipFill>
            <a:blip r:embed="rId23"/>
            <a:stretch>
              <a:fillRect/>
            </a:stretch>
          </p:blipFill>
          <p:spPr>
            <a:xfrm>
              <a:off x="4546551" y="5341195"/>
              <a:ext cx="568361" cy="509671"/>
            </a:xfrm>
            <a:prstGeom prst="rect">
              <a:avLst/>
            </a:prstGeom>
          </p:spPr>
        </p:pic>
        <p:pic>
          <p:nvPicPr>
            <p:cNvPr id="26" name="Picture 25">
              <a:extLst>
                <a:ext uri="{FF2B5EF4-FFF2-40B4-BE49-F238E27FC236}">
                  <a16:creationId xmlns:a16="http://schemas.microsoft.com/office/drawing/2014/main" id="{2705B6FC-C2DC-4462-910A-BEAAE3BC0ED1}"/>
                </a:ext>
              </a:extLst>
            </p:cNvPr>
            <p:cNvPicPr>
              <a:picLocks noChangeAspect="1"/>
            </p:cNvPicPr>
            <p:nvPr/>
          </p:nvPicPr>
          <p:blipFill>
            <a:blip r:embed="rId24"/>
            <a:stretch>
              <a:fillRect/>
            </a:stretch>
          </p:blipFill>
          <p:spPr>
            <a:xfrm rot="5400000">
              <a:off x="5468223" y="5181850"/>
              <a:ext cx="493146" cy="811836"/>
            </a:xfrm>
            <a:prstGeom prst="rect">
              <a:avLst/>
            </a:prstGeom>
          </p:spPr>
        </p:pic>
        <p:sp>
          <p:nvSpPr>
            <p:cNvPr id="27" name="TextBox 26">
              <a:extLst>
                <a:ext uri="{FF2B5EF4-FFF2-40B4-BE49-F238E27FC236}">
                  <a16:creationId xmlns:a16="http://schemas.microsoft.com/office/drawing/2014/main" id="{CF33F825-D0FF-4F71-819B-39961286B65C}"/>
                </a:ext>
              </a:extLst>
            </p:cNvPr>
            <p:cNvSpPr txBox="1"/>
            <p:nvPr/>
          </p:nvSpPr>
          <p:spPr>
            <a:xfrm>
              <a:off x="2844453" y="5874120"/>
              <a:ext cx="745717" cy="276999"/>
            </a:xfrm>
            <a:prstGeom prst="rect">
              <a:avLst/>
            </a:prstGeom>
            <a:noFill/>
          </p:spPr>
          <p:txBody>
            <a:bodyPr wrap="none" rtlCol="0">
              <a:spAutoFit/>
            </a:bodyPr>
            <a:lstStyle/>
            <a:p>
              <a:r>
                <a:rPr lang="sv-SE" sz="1200" kern="0" dirty="0" err="1">
                  <a:solidFill>
                    <a:sysClr val="windowText" lastClr="000000"/>
                  </a:solidFill>
                  <a:latin typeface="Segoe UI"/>
                </a:rPr>
                <a:t>Modbus</a:t>
              </a:r>
              <a:endParaRPr lang="en-US" sz="1200" kern="0" dirty="0">
                <a:solidFill>
                  <a:sysClr val="windowText" lastClr="000000"/>
                </a:solidFill>
                <a:latin typeface="Segoe UI"/>
              </a:endParaRPr>
            </a:p>
          </p:txBody>
        </p:sp>
        <p:sp>
          <p:nvSpPr>
            <p:cNvPr id="199" name="TextBox 198">
              <a:extLst>
                <a:ext uri="{FF2B5EF4-FFF2-40B4-BE49-F238E27FC236}">
                  <a16:creationId xmlns:a16="http://schemas.microsoft.com/office/drawing/2014/main" id="{9AD1E990-5879-4A00-8813-D00DBF5A73F0}"/>
                </a:ext>
              </a:extLst>
            </p:cNvPr>
            <p:cNvSpPr txBox="1"/>
            <p:nvPr/>
          </p:nvSpPr>
          <p:spPr>
            <a:xfrm>
              <a:off x="3752567" y="5892932"/>
              <a:ext cx="538930" cy="276999"/>
            </a:xfrm>
            <a:prstGeom prst="rect">
              <a:avLst/>
            </a:prstGeom>
            <a:noFill/>
          </p:spPr>
          <p:txBody>
            <a:bodyPr wrap="none" rtlCol="0">
              <a:spAutoFit/>
            </a:bodyPr>
            <a:lstStyle/>
            <a:p>
              <a:r>
                <a:rPr lang="sv-SE" sz="1200" kern="0" dirty="0">
                  <a:solidFill>
                    <a:sysClr val="windowText" lastClr="000000"/>
                  </a:solidFill>
                  <a:latin typeface="Segoe UI"/>
                </a:rPr>
                <a:t>Wi-Fi</a:t>
              </a:r>
              <a:endParaRPr lang="en-US" sz="1200" kern="0" dirty="0">
                <a:solidFill>
                  <a:sysClr val="windowText" lastClr="000000"/>
                </a:solidFill>
                <a:latin typeface="Segoe UI"/>
              </a:endParaRPr>
            </a:p>
          </p:txBody>
        </p:sp>
        <p:sp>
          <p:nvSpPr>
            <p:cNvPr id="200" name="TextBox 199">
              <a:extLst>
                <a:ext uri="{FF2B5EF4-FFF2-40B4-BE49-F238E27FC236}">
                  <a16:creationId xmlns:a16="http://schemas.microsoft.com/office/drawing/2014/main" id="{1A711A52-BD9C-47A0-97EF-8837E193DBB8}"/>
                </a:ext>
              </a:extLst>
            </p:cNvPr>
            <p:cNvSpPr txBox="1"/>
            <p:nvPr/>
          </p:nvSpPr>
          <p:spPr>
            <a:xfrm>
              <a:off x="4569969" y="5878439"/>
              <a:ext cx="516488" cy="276999"/>
            </a:xfrm>
            <a:prstGeom prst="rect">
              <a:avLst/>
            </a:prstGeom>
            <a:noFill/>
          </p:spPr>
          <p:txBody>
            <a:bodyPr wrap="none" rtlCol="0">
              <a:spAutoFit/>
            </a:bodyPr>
            <a:lstStyle/>
            <a:p>
              <a:r>
                <a:rPr lang="sv-SE" sz="1200" kern="0" dirty="0">
                  <a:solidFill>
                    <a:sysClr val="windowText" lastClr="000000"/>
                  </a:solidFill>
                  <a:latin typeface="Segoe UI"/>
                </a:rPr>
                <a:t>LoRa</a:t>
              </a:r>
              <a:endParaRPr lang="en-US" sz="1200" kern="0" dirty="0">
                <a:solidFill>
                  <a:sysClr val="windowText" lastClr="000000"/>
                </a:solidFill>
                <a:latin typeface="Segoe UI"/>
              </a:endParaRPr>
            </a:p>
          </p:txBody>
        </p:sp>
        <p:sp>
          <p:nvSpPr>
            <p:cNvPr id="201" name="TextBox 200">
              <a:extLst>
                <a:ext uri="{FF2B5EF4-FFF2-40B4-BE49-F238E27FC236}">
                  <a16:creationId xmlns:a16="http://schemas.microsoft.com/office/drawing/2014/main" id="{26B2FB84-4557-4AFC-AE0A-8B44E18DE2B7}"/>
                </a:ext>
              </a:extLst>
            </p:cNvPr>
            <p:cNvSpPr txBox="1"/>
            <p:nvPr/>
          </p:nvSpPr>
          <p:spPr>
            <a:xfrm>
              <a:off x="5411702" y="5881376"/>
              <a:ext cx="551754" cy="276999"/>
            </a:xfrm>
            <a:prstGeom prst="rect">
              <a:avLst/>
            </a:prstGeom>
            <a:noFill/>
          </p:spPr>
          <p:txBody>
            <a:bodyPr wrap="none" rtlCol="0">
              <a:spAutoFit/>
            </a:bodyPr>
            <a:lstStyle/>
            <a:p>
              <a:r>
                <a:rPr lang="sv-SE" sz="1200" kern="0" dirty="0" err="1">
                  <a:solidFill>
                    <a:sysClr val="windowText" lastClr="000000"/>
                  </a:solidFill>
                  <a:latin typeface="Segoe UI"/>
                </a:rPr>
                <a:t>Serial</a:t>
              </a:r>
              <a:endParaRPr lang="en-US" sz="1200" kern="0" dirty="0">
                <a:solidFill>
                  <a:sysClr val="windowText" lastClr="000000"/>
                </a:solidFill>
                <a:latin typeface="Segoe UI"/>
              </a:endParaRPr>
            </a:p>
          </p:txBody>
        </p:sp>
      </p:grpSp>
      <p:sp>
        <p:nvSpPr>
          <p:cNvPr id="202" name="Rubrik 1">
            <a:extLst>
              <a:ext uri="{FF2B5EF4-FFF2-40B4-BE49-F238E27FC236}">
                <a16:creationId xmlns:a16="http://schemas.microsoft.com/office/drawing/2014/main" id="{A19EA8AC-0412-402A-B398-41CD3D14E137}"/>
              </a:ext>
            </a:extLst>
          </p:cNvPr>
          <p:cNvSpPr txBox="1">
            <a:spLocks/>
          </p:cNvSpPr>
          <p:nvPr/>
        </p:nvSpPr>
        <p:spPr>
          <a:xfrm rot="5400000">
            <a:off x="-774745" y="3017650"/>
            <a:ext cx="4512007" cy="1082919"/>
          </a:xfrm>
          <a:prstGeom prst="rect">
            <a:avLst/>
          </a:prstGeom>
          <a:solidFill>
            <a:schemeClr val="bg1">
              <a:alpha val="95000"/>
            </a:schemeClr>
          </a:solidFill>
        </p:spPr>
        <p:txBody>
          <a:bodyPr vert="horz" lIns="121920" tIns="60960" rIns="121920" bIns="60960" rtlCol="0" anchor="ctr">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4800" b="1" i="0" u="none" strike="noStrike" kern="1200" cap="all" spc="0" normalizeH="0" baseline="0" noProof="0" dirty="0">
                <a:ln>
                  <a:noFill/>
                </a:ln>
                <a:solidFill>
                  <a:srgbClr val="2350A2"/>
                </a:solidFill>
                <a:effectLst/>
                <a:uLnTx/>
                <a:uFillTx/>
                <a:latin typeface="Segoe UI"/>
                <a:ea typeface="+mj-ea"/>
                <a:cs typeface="+mj-cs"/>
              </a:rPr>
              <a:t>DATA</a:t>
            </a:r>
          </a:p>
        </p:txBody>
      </p:sp>
      <p:sp>
        <p:nvSpPr>
          <p:cNvPr id="203" name="Rubrik 1">
            <a:extLst>
              <a:ext uri="{FF2B5EF4-FFF2-40B4-BE49-F238E27FC236}">
                <a16:creationId xmlns:a16="http://schemas.microsoft.com/office/drawing/2014/main" id="{8DDB14B0-042D-4E84-8CC3-0385666E117C}"/>
              </a:ext>
            </a:extLst>
          </p:cNvPr>
          <p:cNvSpPr txBox="1">
            <a:spLocks/>
          </p:cNvSpPr>
          <p:nvPr/>
        </p:nvSpPr>
        <p:spPr>
          <a:xfrm rot="5400000">
            <a:off x="8889552" y="2453295"/>
            <a:ext cx="4285226" cy="2175623"/>
          </a:xfrm>
          <a:prstGeom prst="rect">
            <a:avLst/>
          </a:prstGeom>
          <a:solidFill>
            <a:schemeClr val="bg1">
              <a:alpha val="97000"/>
            </a:schemeClr>
          </a:solidFill>
        </p:spPr>
        <p:txBody>
          <a:bodyPr vert="horz" lIns="121920" tIns="60960" rIns="121920" bIns="60960" rtlCol="0" anchor="b">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4800" b="1" i="0" u="none" strike="noStrike" kern="1200" cap="all" spc="0" normalizeH="0" baseline="0" noProof="0" dirty="0">
                <a:ln>
                  <a:noFill/>
                </a:ln>
                <a:solidFill>
                  <a:srgbClr val="2350A2"/>
                </a:solidFill>
                <a:effectLst/>
                <a:uLnTx/>
                <a:uFillTx/>
                <a:latin typeface="Segoe UI"/>
                <a:ea typeface="+mj-ea"/>
                <a:cs typeface="+mj-cs"/>
              </a:rPr>
              <a:t>Value</a:t>
            </a:r>
          </a:p>
        </p:txBody>
      </p:sp>
      <p:sp>
        <p:nvSpPr>
          <p:cNvPr id="204" name="Rubrik 1">
            <a:extLst>
              <a:ext uri="{FF2B5EF4-FFF2-40B4-BE49-F238E27FC236}">
                <a16:creationId xmlns:a16="http://schemas.microsoft.com/office/drawing/2014/main" id="{F915BD47-8FBD-4B9A-B285-DC34E6862D2B}"/>
              </a:ext>
            </a:extLst>
          </p:cNvPr>
          <p:cNvSpPr txBox="1">
            <a:spLocks/>
          </p:cNvSpPr>
          <p:nvPr/>
        </p:nvSpPr>
        <p:spPr>
          <a:xfrm>
            <a:off x="6870499" y="5282658"/>
            <a:ext cx="1877322" cy="1182923"/>
          </a:xfrm>
          <a:prstGeom prst="rect">
            <a:avLst/>
          </a:prstGeom>
          <a:solidFill>
            <a:schemeClr val="bg1">
              <a:alpha val="95000"/>
            </a:schemeClr>
          </a:solidFill>
        </p:spPr>
        <p:txBody>
          <a:bodyPr vert="horz" lIns="121920" tIns="60960" rIns="121920" bIns="60960" rtlCol="0" anchor="ctr">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4800" b="1" i="0" u="none" strike="noStrike" kern="1200" cap="all" spc="0" normalizeH="0" baseline="0" noProof="0" dirty="0">
                <a:ln>
                  <a:noFill/>
                </a:ln>
                <a:solidFill>
                  <a:srgbClr val="2350A2"/>
                </a:solidFill>
                <a:effectLst/>
                <a:uLnTx/>
                <a:uFillTx/>
                <a:latin typeface="Segoe UI"/>
                <a:ea typeface="+mj-ea"/>
                <a:cs typeface="+mj-cs"/>
              </a:rPr>
              <a:t>DATA</a:t>
            </a:r>
          </a:p>
        </p:txBody>
      </p:sp>
      <p:sp>
        <p:nvSpPr>
          <p:cNvPr id="205" name="Rubrik 1">
            <a:extLst>
              <a:ext uri="{FF2B5EF4-FFF2-40B4-BE49-F238E27FC236}">
                <a16:creationId xmlns:a16="http://schemas.microsoft.com/office/drawing/2014/main" id="{59F037F3-5E96-48B8-96F3-F1194DAC95B6}"/>
              </a:ext>
            </a:extLst>
          </p:cNvPr>
          <p:cNvSpPr txBox="1">
            <a:spLocks/>
          </p:cNvSpPr>
          <p:nvPr/>
        </p:nvSpPr>
        <p:spPr>
          <a:xfrm>
            <a:off x="2946282" y="5270990"/>
            <a:ext cx="3174431" cy="1182923"/>
          </a:xfrm>
          <a:prstGeom prst="rect">
            <a:avLst/>
          </a:prstGeom>
          <a:solidFill>
            <a:schemeClr val="bg1">
              <a:alpha val="95000"/>
            </a:schemeClr>
          </a:solidFill>
        </p:spPr>
        <p:txBody>
          <a:bodyPr vert="horz" lIns="121920" tIns="60960" rIns="121920" bIns="60960" rtlCol="0" anchor="ctr">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4400" b="1" i="0" u="none" strike="noStrike" kern="1200" cap="all" spc="0" normalizeH="0" baseline="0" noProof="0" dirty="0">
                <a:ln>
                  <a:noFill/>
                </a:ln>
                <a:solidFill>
                  <a:srgbClr val="2350A2"/>
                </a:solidFill>
                <a:effectLst/>
                <a:uLnTx/>
                <a:uFillTx/>
                <a:latin typeface="Segoe UI"/>
                <a:ea typeface="+mj-ea"/>
                <a:cs typeface="+mj-cs"/>
              </a:rPr>
              <a:t>PROTOCOL</a:t>
            </a:r>
          </a:p>
        </p:txBody>
      </p:sp>
      <p:pic>
        <p:nvPicPr>
          <p:cNvPr id="208" name="Picture 12" descr="Bildresultat för Actemium logo png">
            <a:extLst>
              <a:ext uri="{FF2B5EF4-FFF2-40B4-BE49-F238E27FC236}">
                <a16:creationId xmlns:a16="http://schemas.microsoft.com/office/drawing/2014/main" id="{C8034D69-4538-404D-AF49-CCEE3E8DF2D1}"/>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3132220" y="6081220"/>
            <a:ext cx="2631433" cy="626026"/>
          </a:xfrm>
          <a:prstGeom prst="rect">
            <a:avLst/>
          </a:prstGeom>
          <a:noFill/>
          <a:extLst>
            <a:ext uri="{909E8E84-426E-40DD-AFC4-6F175D3DCCD1}">
              <a14:hiddenFill xmlns:a14="http://schemas.microsoft.com/office/drawing/2010/main">
                <a:solidFill>
                  <a:srgbClr val="FFFFFF"/>
                </a:solidFill>
              </a14:hiddenFill>
            </a:ext>
          </a:extLst>
        </p:spPr>
      </p:pic>
      <p:grpSp>
        <p:nvGrpSpPr>
          <p:cNvPr id="33" name="Group 32">
            <a:extLst>
              <a:ext uri="{FF2B5EF4-FFF2-40B4-BE49-F238E27FC236}">
                <a16:creationId xmlns:a16="http://schemas.microsoft.com/office/drawing/2014/main" id="{7E539017-4560-443F-9D96-3C562031FCCE}"/>
              </a:ext>
            </a:extLst>
          </p:cNvPr>
          <p:cNvGrpSpPr/>
          <p:nvPr/>
        </p:nvGrpSpPr>
        <p:grpSpPr>
          <a:xfrm>
            <a:off x="4428" y="2283802"/>
            <a:ext cx="1285218" cy="2631433"/>
            <a:chOff x="-668461" y="2583471"/>
            <a:chExt cx="1285218" cy="2631433"/>
          </a:xfrm>
        </p:grpSpPr>
        <p:grpSp>
          <p:nvGrpSpPr>
            <p:cNvPr id="31" name="Group 30">
              <a:extLst>
                <a:ext uri="{FF2B5EF4-FFF2-40B4-BE49-F238E27FC236}">
                  <a16:creationId xmlns:a16="http://schemas.microsoft.com/office/drawing/2014/main" id="{5237B636-1EB3-451C-87AA-A36583BF7205}"/>
                </a:ext>
              </a:extLst>
            </p:cNvPr>
            <p:cNvGrpSpPr/>
            <p:nvPr/>
          </p:nvGrpSpPr>
          <p:grpSpPr>
            <a:xfrm rot="5400000">
              <a:off x="-1298408" y="3299740"/>
              <a:ext cx="2631433" cy="1198896"/>
              <a:chOff x="-2452706" y="5405405"/>
              <a:chExt cx="2631433" cy="1198896"/>
            </a:xfrm>
          </p:grpSpPr>
          <p:pic>
            <p:nvPicPr>
              <p:cNvPr id="206" name="Picture 12" descr="Bildresultat för Actemium logo png">
                <a:extLst>
                  <a:ext uri="{FF2B5EF4-FFF2-40B4-BE49-F238E27FC236}">
                    <a16:creationId xmlns:a16="http://schemas.microsoft.com/office/drawing/2014/main" id="{D7625771-8EC2-48B1-9FDC-379F95DC3EEE}"/>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2452706" y="5405405"/>
                <a:ext cx="2631433" cy="626026"/>
              </a:xfrm>
              <a:prstGeom prst="rect">
                <a:avLst/>
              </a:prstGeom>
              <a:noFill/>
              <a:extLst>
                <a:ext uri="{909E8E84-426E-40DD-AFC4-6F175D3DCCD1}">
                  <a14:hiddenFill xmlns:a14="http://schemas.microsoft.com/office/drawing/2010/main">
                    <a:solidFill>
                      <a:srgbClr val="FFFFFF"/>
                    </a:solidFill>
                  </a14:hiddenFill>
                </a:ext>
              </a:extLst>
            </p:spPr>
          </p:pic>
          <p:pic>
            <p:nvPicPr>
              <p:cNvPr id="207" name="Picture 4" descr="Bildresultat för omexom logo png">
                <a:extLst>
                  <a:ext uri="{FF2B5EF4-FFF2-40B4-BE49-F238E27FC236}">
                    <a16:creationId xmlns:a16="http://schemas.microsoft.com/office/drawing/2014/main" id="{DECBD692-FA4D-4000-BF32-69BD0FE735B8}"/>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2099488" y="6165412"/>
                <a:ext cx="1924997" cy="438889"/>
              </a:xfrm>
              <a:prstGeom prst="rect">
                <a:avLst/>
              </a:prstGeom>
              <a:noFill/>
              <a:extLst>
                <a:ext uri="{909E8E84-426E-40DD-AFC4-6F175D3DCCD1}">
                  <a14:hiddenFill xmlns:a14="http://schemas.microsoft.com/office/drawing/2010/main">
                    <a:solidFill>
                      <a:srgbClr val="FFFFFF"/>
                    </a:solidFill>
                  </a14:hiddenFill>
                </a:ext>
              </a:extLst>
            </p:spPr>
          </p:pic>
        </p:grpSp>
        <p:sp>
          <p:nvSpPr>
            <p:cNvPr id="32" name="Rectangle 31">
              <a:extLst>
                <a:ext uri="{FF2B5EF4-FFF2-40B4-BE49-F238E27FC236}">
                  <a16:creationId xmlns:a16="http://schemas.microsoft.com/office/drawing/2014/main" id="{27EA4468-D513-4045-9E82-F8EB95A202B7}"/>
                </a:ext>
              </a:extLst>
            </p:cNvPr>
            <p:cNvSpPr/>
            <p:nvPr/>
          </p:nvSpPr>
          <p:spPr>
            <a:xfrm>
              <a:off x="-668461" y="3603248"/>
              <a:ext cx="236539" cy="13341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pic>
        <p:nvPicPr>
          <p:cNvPr id="209" name="Bildobjekt 101">
            <a:extLst>
              <a:ext uri="{FF2B5EF4-FFF2-40B4-BE49-F238E27FC236}">
                <a16:creationId xmlns:a16="http://schemas.microsoft.com/office/drawing/2014/main" id="{939AC2B5-FC2B-4EE1-B59C-F661C6A12EBB}"/>
              </a:ext>
            </a:extLst>
          </p:cNvPr>
          <p:cNvPicPr>
            <a:picLocks noChangeAspect="1"/>
          </p:cNvPicPr>
          <p:nvPr/>
        </p:nvPicPr>
        <p:blipFill>
          <a:blip r:embed="rId27"/>
          <a:stretch>
            <a:fillRect/>
          </a:stretch>
        </p:blipFill>
        <p:spPr>
          <a:xfrm>
            <a:off x="7017649" y="6269322"/>
            <a:ext cx="1654456" cy="302012"/>
          </a:xfrm>
          <a:prstGeom prst="rect">
            <a:avLst/>
          </a:prstGeom>
        </p:spPr>
      </p:pic>
      <p:pic>
        <p:nvPicPr>
          <p:cNvPr id="210" name="Picture 8" descr="Bildresultat för vinci energies logo png">
            <a:extLst>
              <a:ext uri="{FF2B5EF4-FFF2-40B4-BE49-F238E27FC236}">
                <a16:creationId xmlns:a16="http://schemas.microsoft.com/office/drawing/2014/main" id="{930949A6-2A5A-4E54-915A-61DDDF0F3408}"/>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rot="5400000">
            <a:off x="9267643" y="3087432"/>
            <a:ext cx="4392042" cy="11348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3100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0"/>
                                        </p:tgtEl>
                                        <p:attrNameLst>
                                          <p:attrName>style.visibility</p:attrName>
                                        </p:attrNameLst>
                                      </p:cBhvr>
                                      <p:to>
                                        <p:strVal val="visible"/>
                                      </p:to>
                                    </p:set>
                                    <p:animEffect transition="in" filter="fade">
                                      <p:cBhvr>
                                        <p:cTn id="7" dur="500"/>
                                        <p:tgtEl>
                                          <p:spTgt spid="140"/>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52"/>
                                        </p:tgtEl>
                                        <p:attrNameLst>
                                          <p:attrName>style.visibility</p:attrName>
                                        </p:attrNameLst>
                                      </p:cBhvr>
                                      <p:to>
                                        <p:strVal val="visible"/>
                                      </p:to>
                                    </p:set>
                                    <p:animEffect transition="in" filter="fade">
                                      <p:cBhvr>
                                        <p:cTn id="11" dur="500"/>
                                        <p:tgtEl>
                                          <p:spTgt spid="152"/>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21"/>
                                        </p:tgtEl>
                                        <p:attrNameLst>
                                          <p:attrName>style.visibility</p:attrName>
                                        </p:attrNameLst>
                                      </p:cBhvr>
                                      <p:to>
                                        <p:strVal val="visible"/>
                                      </p:to>
                                    </p:set>
                                    <p:animEffect transition="in" filter="fade">
                                      <p:cBhvr>
                                        <p:cTn id="16" dur="500"/>
                                        <p:tgtEl>
                                          <p:spTgt spid="21"/>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30"/>
                                        </p:tgtEl>
                                        <p:attrNameLst>
                                          <p:attrName>style.visibility</p:attrName>
                                        </p:attrNameLst>
                                      </p:cBhvr>
                                      <p:to>
                                        <p:strVal val="visible"/>
                                      </p:to>
                                    </p:set>
                                    <p:animEffect transition="in" filter="fade">
                                      <p:cBhvr>
                                        <p:cTn id="21" dur="500"/>
                                        <p:tgtEl>
                                          <p:spTgt spid="30"/>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29"/>
                                        </p:tgtEl>
                                        <p:attrNameLst>
                                          <p:attrName>style.visibility</p:attrName>
                                        </p:attrNameLst>
                                      </p:cBhvr>
                                      <p:to>
                                        <p:strVal val="visible"/>
                                      </p:to>
                                    </p:set>
                                    <p:animEffect transition="in" filter="fade">
                                      <p:cBhvr>
                                        <p:cTn id="26" dur="500"/>
                                        <p:tgtEl>
                                          <p:spTgt spid="29"/>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121"/>
                                        </p:tgtEl>
                                        <p:attrNameLst>
                                          <p:attrName>style.visibility</p:attrName>
                                        </p:attrNameLst>
                                      </p:cBhvr>
                                      <p:to>
                                        <p:strVal val="visible"/>
                                      </p:to>
                                    </p:set>
                                    <p:animEffect transition="in" filter="fade">
                                      <p:cBhvr>
                                        <p:cTn id="31" dur="500"/>
                                        <p:tgtEl>
                                          <p:spTgt spid="121"/>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202"/>
                                        </p:tgtEl>
                                        <p:attrNameLst>
                                          <p:attrName>style.visibility</p:attrName>
                                        </p:attrNameLst>
                                      </p:cBhvr>
                                      <p:to>
                                        <p:strVal val="visible"/>
                                      </p:to>
                                    </p:set>
                                    <p:animEffect transition="in" filter="fade">
                                      <p:cBhvr>
                                        <p:cTn id="36" dur="500"/>
                                        <p:tgtEl>
                                          <p:spTgt spid="202"/>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203"/>
                                        </p:tgtEl>
                                        <p:attrNameLst>
                                          <p:attrName>style.visibility</p:attrName>
                                        </p:attrNameLst>
                                      </p:cBhvr>
                                      <p:to>
                                        <p:strVal val="visible"/>
                                      </p:to>
                                    </p:set>
                                    <p:animEffect transition="in" filter="fade">
                                      <p:cBhvr>
                                        <p:cTn id="39" dur="500"/>
                                        <p:tgtEl>
                                          <p:spTgt spid="203"/>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04"/>
                                        </p:tgtEl>
                                        <p:attrNameLst>
                                          <p:attrName>style.visibility</p:attrName>
                                        </p:attrNameLst>
                                      </p:cBhvr>
                                      <p:to>
                                        <p:strVal val="visible"/>
                                      </p:to>
                                    </p:set>
                                    <p:animEffect transition="in" filter="fade">
                                      <p:cBhvr>
                                        <p:cTn id="42" dur="500"/>
                                        <p:tgtEl>
                                          <p:spTgt spid="204"/>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205"/>
                                        </p:tgtEl>
                                        <p:attrNameLst>
                                          <p:attrName>style.visibility</p:attrName>
                                        </p:attrNameLst>
                                      </p:cBhvr>
                                      <p:to>
                                        <p:strVal val="visible"/>
                                      </p:to>
                                    </p:set>
                                    <p:animEffect transition="in" filter="fade">
                                      <p:cBhvr>
                                        <p:cTn id="45" dur="500"/>
                                        <p:tgtEl>
                                          <p:spTgt spid="205"/>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nodeType="clickEffect">
                                  <p:stCondLst>
                                    <p:cond delay="0"/>
                                  </p:stCondLst>
                                  <p:childTnLst>
                                    <p:set>
                                      <p:cBhvr>
                                        <p:cTn id="49" dur="1" fill="hold">
                                          <p:stCondLst>
                                            <p:cond delay="0"/>
                                          </p:stCondLst>
                                        </p:cTn>
                                        <p:tgtEl>
                                          <p:spTgt spid="33"/>
                                        </p:tgtEl>
                                        <p:attrNameLst>
                                          <p:attrName>style.visibility</p:attrName>
                                        </p:attrNameLst>
                                      </p:cBhvr>
                                      <p:to>
                                        <p:strVal val="visible"/>
                                      </p:to>
                                    </p:set>
                                    <p:animEffect transition="in" filter="fade">
                                      <p:cBhvr>
                                        <p:cTn id="50" dur="500"/>
                                        <p:tgtEl>
                                          <p:spTgt spid="33"/>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nodeType="clickEffect">
                                  <p:stCondLst>
                                    <p:cond delay="0"/>
                                  </p:stCondLst>
                                  <p:childTnLst>
                                    <p:set>
                                      <p:cBhvr>
                                        <p:cTn id="54" dur="1" fill="hold">
                                          <p:stCondLst>
                                            <p:cond delay="0"/>
                                          </p:stCondLst>
                                        </p:cTn>
                                        <p:tgtEl>
                                          <p:spTgt spid="208"/>
                                        </p:tgtEl>
                                        <p:attrNameLst>
                                          <p:attrName>style.visibility</p:attrName>
                                        </p:attrNameLst>
                                      </p:cBhvr>
                                      <p:to>
                                        <p:strVal val="visible"/>
                                      </p:to>
                                    </p:set>
                                    <p:animEffect transition="in" filter="fade">
                                      <p:cBhvr>
                                        <p:cTn id="55" dur="500"/>
                                        <p:tgtEl>
                                          <p:spTgt spid="208"/>
                                        </p:tgtEl>
                                      </p:cBhvr>
                                    </p:animEffect>
                                  </p:childTnLst>
                                </p:cTn>
                              </p:par>
                            </p:childTnLst>
                          </p:cTn>
                        </p:par>
                      </p:childTnLst>
                    </p:cTn>
                  </p:par>
                  <p:par>
                    <p:cTn id="56" fill="hold">
                      <p:stCondLst>
                        <p:cond delay="indefinite"/>
                      </p:stCondLst>
                      <p:childTnLst>
                        <p:par>
                          <p:cTn id="57" fill="hold">
                            <p:stCondLst>
                              <p:cond delay="0"/>
                            </p:stCondLst>
                            <p:childTnLst>
                              <p:par>
                                <p:cTn id="58" presetID="10" presetClass="entr" presetSubtype="0" fill="hold" nodeType="clickEffect">
                                  <p:stCondLst>
                                    <p:cond delay="0"/>
                                  </p:stCondLst>
                                  <p:childTnLst>
                                    <p:set>
                                      <p:cBhvr>
                                        <p:cTn id="59" dur="1" fill="hold">
                                          <p:stCondLst>
                                            <p:cond delay="0"/>
                                          </p:stCondLst>
                                        </p:cTn>
                                        <p:tgtEl>
                                          <p:spTgt spid="209"/>
                                        </p:tgtEl>
                                        <p:attrNameLst>
                                          <p:attrName>style.visibility</p:attrName>
                                        </p:attrNameLst>
                                      </p:cBhvr>
                                      <p:to>
                                        <p:strVal val="visible"/>
                                      </p:to>
                                    </p:set>
                                    <p:animEffect transition="in" filter="fade">
                                      <p:cBhvr>
                                        <p:cTn id="60" dur="500"/>
                                        <p:tgtEl>
                                          <p:spTgt spid="209"/>
                                        </p:tgtEl>
                                      </p:cBhvr>
                                    </p:animEffect>
                                  </p:childTnLst>
                                </p:cTn>
                              </p:par>
                            </p:childTnLst>
                          </p:cTn>
                        </p:par>
                      </p:childTnLst>
                    </p:cTn>
                  </p:par>
                  <p:par>
                    <p:cTn id="61" fill="hold">
                      <p:stCondLst>
                        <p:cond delay="indefinite"/>
                      </p:stCondLst>
                      <p:childTnLst>
                        <p:par>
                          <p:cTn id="62" fill="hold">
                            <p:stCondLst>
                              <p:cond delay="0"/>
                            </p:stCondLst>
                            <p:childTnLst>
                              <p:par>
                                <p:cTn id="63" presetID="10" presetClass="entr" presetSubtype="0" fill="hold" nodeType="clickEffect">
                                  <p:stCondLst>
                                    <p:cond delay="0"/>
                                  </p:stCondLst>
                                  <p:childTnLst>
                                    <p:set>
                                      <p:cBhvr>
                                        <p:cTn id="64" dur="1" fill="hold">
                                          <p:stCondLst>
                                            <p:cond delay="0"/>
                                          </p:stCondLst>
                                        </p:cTn>
                                        <p:tgtEl>
                                          <p:spTgt spid="210"/>
                                        </p:tgtEl>
                                        <p:attrNameLst>
                                          <p:attrName>style.visibility</p:attrName>
                                        </p:attrNameLst>
                                      </p:cBhvr>
                                      <p:to>
                                        <p:strVal val="visible"/>
                                      </p:to>
                                    </p:set>
                                    <p:animEffect transition="in" filter="fade">
                                      <p:cBhvr>
                                        <p:cTn id="65" dur="500"/>
                                        <p:tgtEl>
                                          <p:spTgt spid="210"/>
                                        </p:tgtEl>
                                      </p:cBhvr>
                                    </p:animEffect>
                                  </p:childTnLst>
                                </p:cTn>
                              </p:par>
                            </p:childTnLst>
                          </p:cTn>
                        </p:par>
                      </p:childTnLst>
                    </p:cTn>
                  </p:par>
                  <p:par>
                    <p:cTn id="66" fill="hold">
                      <p:stCondLst>
                        <p:cond delay="indefinite"/>
                      </p:stCondLst>
                      <p:childTnLst>
                        <p:par>
                          <p:cTn id="67" fill="hold">
                            <p:stCondLst>
                              <p:cond delay="0"/>
                            </p:stCondLst>
                            <p:childTnLst>
                              <p:par>
                                <p:cTn id="68" presetID="10" presetClass="exit" presetSubtype="0" fill="hold" grpId="1" nodeType="clickEffect">
                                  <p:stCondLst>
                                    <p:cond delay="0"/>
                                  </p:stCondLst>
                                  <p:childTnLst>
                                    <p:animEffect transition="out" filter="fade">
                                      <p:cBhvr>
                                        <p:cTn id="69" dur="500"/>
                                        <p:tgtEl>
                                          <p:spTgt spid="121"/>
                                        </p:tgtEl>
                                      </p:cBhvr>
                                    </p:animEffect>
                                    <p:set>
                                      <p:cBhvr>
                                        <p:cTn id="70" dur="1" fill="hold">
                                          <p:stCondLst>
                                            <p:cond delay="499"/>
                                          </p:stCondLst>
                                        </p:cTn>
                                        <p:tgtEl>
                                          <p:spTgt spid="121"/>
                                        </p:tgtEl>
                                        <p:attrNameLst>
                                          <p:attrName>style.visibility</p:attrName>
                                        </p:attrNameLst>
                                      </p:cBhvr>
                                      <p:to>
                                        <p:strVal val="hidden"/>
                                      </p:to>
                                    </p:set>
                                  </p:childTnLst>
                                </p:cTn>
                              </p:par>
                            </p:childTnLst>
                          </p:cTn>
                        </p:par>
                      </p:childTnLst>
                    </p:cTn>
                  </p:par>
                  <p:par>
                    <p:cTn id="71" fill="hold">
                      <p:stCondLst>
                        <p:cond delay="indefinite"/>
                      </p:stCondLst>
                      <p:childTnLst>
                        <p:par>
                          <p:cTn id="72" fill="hold">
                            <p:stCondLst>
                              <p:cond delay="0"/>
                            </p:stCondLst>
                            <p:childTnLst>
                              <p:par>
                                <p:cTn id="73" presetID="10" presetClass="exit" presetSubtype="0" fill="hold" nodeType="clickEffect">
                                  <p:stCondLst>
                                    <p:cond delay="0"/>
                                  </p:stCondLst>
                                  <p:childTnLst>
                                    <p:animEffect transition="out" filter="fade">
                                      <p:cBhvr>
                                        <p:cTn id="74" dur="500"/>
                                        <p:tgtEl>
                                          <p:spTgt spid="120"/>
                                        </p:tgtEl>
                                      </p:cBhvr>
                                    </p:animEffect>
                                    <p:set>
                                      <p:cBhvr>
                                        <p:cTn id="75" dur="1" fill="hold">
                                          <p:stCondLst>
                                            <p:cond delay="499"/>
                                          </p:stCondLst>
                                        </p:cTn>
                                        <p:tgtEl>
                                          <p:spTgt spid="120"/>
                                        </p:tgtEl>
                                        <p:attrNameLst>
                                          <p:attrName>style.visibility</p:attrName>
                                        </p:attrNameLst>
                                      </p:cBhvr>
                                      <p:to>
                                        <p:strVal val="hidden"/>
                                      </p:to>
                                    </p:set>
                                  </p:childTnLst>
                                </p:cTn>
                              </p:par>
                              <p:par>
                                <p:cTn id="76" presetID="10" presetClass="exit" presetSubtype="0" fill="hold" nodeType="withEffect">
                                  <p:stCondLst>
                                    <p:cond delay="0"/>
                                  </p:stCondLst>
                                  <p:childTnLst>
                                    <p:animEffect transition="out" filter="fade">
                                      <p:cBhvr>
                                        <p:cTn id="77" dur="500"/>
                                        <p:tgtEl>
                                          <p:spTgt spid="143"/>
                                        </p:tgtEl>
                                      </p:cBhvr>
                                    </p:animEffect>
                                    <p:set>
                                      <p:cBhvr>
                                        <p:cTn id="78" dur="1" fill="hold">
                                          <p:stCondLst>
                                            <p:cond delay="499"/>
                                          </p:stCondLst>
                                        </p:cTn>
                                        <p:tgtEl>
                                          <p:spTgt spid="143"/>
                                        </p:tgtEl>
                                        <p:attrNameLst>
                                          <p:attrName>style.visibility</p:attrName>
                                        </p:attrNameLst>
                                      </p:cBhvr>
                                      <p:to>
                                        <p:strVal val="hidden"/>
                                      </p:to>
                                    </p:set>
                                  </p:childTnLst>
                                </p:cTn>
                              </p:par>
                              <p:par>
                                <p:cTn id="79" presetID="10" presetClass="exit" presetSubtype="0" fill="hold" nodeType="withEffect">
                                  <p:stCondLst>
                                    <p:cond delay="0"/>
                                  </p:stCondLst>
                                  <p:childTnLst>
                                    <p:animEffect transition="out" filter="fade">
                                      <p:cBhvr>
                                        <p:cTn id="80" dur="500"/>
                                        <p:tgtEl>
                                          <p:spTgt spid="140"/>
                                        </p:tgtEl>
                                      </p:cBhvr>
                                    </p:animEffect>
                                    <p:set>
                                      <p:cBhvr>
                                        <p:cTn id="81" dur="1" fill="hold">
                                          <p:stCondLst>
                                            <p:cond delay="499"/>
                                          </p:stCondLst>
                                        </p:cTn>
                                        <p:tgtEl>
                                          <p:spTgt spid="140"/>
                                        </p:tgtEl>
                                        <p:attrNameLst>
                                          <p:attrName>style.visibility</p:attrName>
                                        </p:attrNameLst>
                                      </p:cBhvr>
                                      <p:to>
                                        <p:strVal val="hidden"/>
                                      </p:to>
                                    </p:set>
                                  </p:childTnLst>
                                </p:cTn>
                              </p:par>
                            </p:childTnLst>
                          </p:cTn>
                        </p:par>
                      </p:childTnLst>
                    </p:cTn>
                  </p:par>
                  <p:par>
                    <p:cTn id="82" fill="hold">
                      <p:stCondLst>
                        <p:cond delay="indefinite"/>
                      </p:stCondLst>
                      <p:childTnLst>
                        <p:par>
                          <p:cTn id="83" fill="hold">
                            <p:stCondLst>
                              <p:cond delay="0"/>
                            </p:stCondLst>
                            <p:childTnLst>
                              <p:par>
                                <p:cTn id="84" presetID="10" presetClass="entr" presetSubtype="0" fill="hold" nodeType="clickEffect">
                                  <p:stCondLst>
                                    <p:cond delay="0"/>
                                  </p:stCondLst>
                                  <p:childTnLst>
                                    <p:set>
                                      <p:cBhvr>
                                        <p:cTn id="85" dur="1" fill="hold">
                                          <p:stCondLst>
                                            <p:cond delay="0"/>
                                          </p:stCondLst>
                                        </p:cTn>
                                        <p:tgtEl>
                                          <p:spTgt spid="15"/>
                                        </p:tgtEl>
                                        <p:attrNameLst>
                                          <p:attrName>style.visibility</p:attrName>
                                        </p:attrNameLst>
                                      </p:cBhvr>
                                      <p:to>
                                        <p:strVal val="visible"/>
                                      </p:to>
                                    </p:set>
                                    <p:animEffect transition="in" filter="fade">
                                      <p:cBhvr>
                                        <p:cTn id="86"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1" grpId="0"/>
      <p:bldP spid="121" grpId="1"/>
      <p:bldP spid="202" grpId="0" animBg="1"/>
      <p:bldP spid="203" grpId="0" animBg="1"/>
      <p:bldP spid="204" grpId="0" animBg="1"/>
      <p:bldP spid="205"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B18156-6225-4F7E-872E-0ADDA52DCE9D}"/>
              </a:ext>
            </a:extLst>
          </p:cNvPr>
          <p:cNvSpPr>
            <a:spLocks noGrp="1"/>
          </p:cNvSpPr>
          <p:nvPr>
            <p:ph type="title"/>
          </p:nvPr>
        </p:nvSpPr>
        <p:spPr/>
        <p:txBody>
          <a:bodyPr/>
          <a:lstStyle/>
          <a:p>
            <a:r>
              <a:rPr lang="sv-SE" b="1" dirty="0"/>
              <a:t>Common IoT </a:t>
            </a:r>
            <a:r>
              <a:rPr lang="sv-SE" b="1" dirty="0" err="1"/>
              <a:t>protocols</a:t>
            </a:r>
            <a:endParaRPr lang="en-US" dirty="0"/>
          </a:p>
        </p:txBody>
      </p:sp>
      <p:sp>
        <p:nvSpPr>
          <p:cNvPr id="3" name="Content Placeholder 2">
            <a:extLst>
              <a:ext uri="{FF2B5EF4-FFF2-40B4-BE49-F238E27FC236}">
                <a16:creationId xmlns:a16="http://schemas.microsoft.com/office/drawing/2014/main" id="{3C722CD2-4A74-4FC1-89BA-515BCE9A6EFF}"/>
              </a:ext>
            </a:extLst>
          </p:cNvPr>
          <p:cNvSpPr>
            <a:spLocks noGrp="1"/>
          </p:cNvSpPr>
          <p:nvPr>
            <p:ph idx="1"/>
          </p:nvPr>
        </p:nvSpPr>
        <p:spPr/>
        <p:txBody>
          <a:bodyPr/>
          <a:lstStyle/>
          <a:p>
            <a:r>
              <a:rPr lang="en-US" dirty="0"/>
              <a:t>M-bus (Meter-Bus) standardized protocol for remote reading of meters.</a:t>
            </a:r>
          </a:p>
          <a:p>
            <a:r>
              <a:rPr lang="en-US" dirty="0"/>
              <a:t>Other versions: Wireless M-bus.</a:t>
            </a:r>
          </a:p>
          <a:p>
            <a:pPr marL="0" indent="0">
              <a:buNone/>
            </a:pPr>
            <a:endParaRPr lang="en-US" dirty="0"/>
          </a:p>
          <a:p>
            <a:pPr marL="0" indent="0">
              <a:buNone/>
            </a:pPr>
            <a:endParaRPr lang="en-US" dirty="0"/>
          </a:p>
        </p:txBody>
      </p:sp>
      <p:pic>
        <p:nvPicPr>
          <p:cNvPr id="4" name="Picture 3">
            <a:extLst>
              <a:ext uri="{FF2B5EF4-FFF2-40B4-BE49-F238E27FC236}">
                <a16:creationId xmlns:a16="http://schemas.microsoft.com/office/drawing/2014/main" id="{71B04E27-6793-404D-AD9F-EA9228EED616}"/>
              </a:ext>
            </a:extLst>
          </p:cNvPr>
          <p:cNvPicPr>
            <a:picLocks noChangeAspect="1"/>
          </p:cNvPicPr>
          <p:nvPr/>
        </p:nvPicPr>
        <p:blipFill>
          <a:blip r:embed="rId2"/>
          <a:stretch>
            <a:fillRect/>
          </a:stretch>
        </p:blipFill>
        <p:spPr>
          <a:xfrm>
            <a:off x="5071111" y="1120231"/>
            <a:ext cx="1635518" cy="581434"/>
          </a:xfrm>
          <a:prstGeom prst="rect">
            <a:avLst/>
          </a:prstGeom>
        </p:spPr>
      </p:pic>
      <p:pic>
        <p:nvPicPr>
          <p:cNvPr id="5" name="Picture 4">
            <a:extLst>
              <a:ext uri="{FF2B5EF4-FFF2-40B4-BE49-F238E27FC236}">
                <a16:creationId xmlns:a16="http://schemas.microsoft.com/office/drawing/2014/main" id="{FD200CEF-0FE6-41C1-B1FF-CC22B2A8F574}"/>
              </a:ext>
            </a:extLst>
          </p:cNvPr>
          <p:cNvPicPr>
            <a:picLocks noChangeAspect="1"/>
          </p:cNvPicPr>
          <p:nvPr/>
        </p:nvPicPr>
        <p:blipFill>
          <a:blip r:embed="rId3"/>
          <a:stretch>
            <a:fillRect/>
          </a:stretch>
        </p:blipFill>
        <p:spPr>
          <a:xfrm>
            <a:off x="838200" y="3842114"/>
            <a:ext cx="2364242" cy="1627478"/>
          </a:xfrm>
          <a:prstGeom prst="rect">
            <a:avLst/>
          </a:prstGeom>
        </p:spPr>
      </p:pic>
      <p:pic>
        <p:nvPicPr>
          <p:cNvPr id="6" name="Picture 5">
            <a:extLst>
              <a:ext uri="{FF2B5EF4-FFF2-40B4-BE49-F238E27FC236}">
                <a16:creationId xmlns:a16="http://schemas.microsoft.com/office/drawing/2014/main" id="{3FDBE07F-8C43-4530-AC6D-FA05D0ECB697}"/>
              </a:ext>
            </a:extLst>
          </p:cNvPr>
          <p:cNvPicPr>
            <a:picLocks noChangeAspect="1"/>
          </p:cNvPicPr>
          <p:nvPr/>
        </p:nvPicPr>
        <p:blipFill>
          <a:blip r:embed="rId4"/>
          <a:stretch>
            <a:fillRect/>
          </a:stretch>
        </p:blipFill>
        <p:spPr>
          <a:xfrm>
            <a:off x="3896639" y="3842114"/>
            <a:ext cx="2307797" cy="1646900"/>
          </a:xfrm>
          <a:prstGeom prst="rect">
            <a:avLst/>
          </a:prstGeom>
        </p:spPr>
      </p:pic>
      <p:pic>
        <p:nvPicPr>
          <p:cNvPr id="7" name="Picture 6">
            <a:extLst>
              <a:ext uri="{FF2B5EF4-FFF2-40B4-BE49-F238E27FC236}">
                <a16:creationId xmlns:a16="http://schemas.microsoft.com/office/drawing/2014/main" id="{8E796866-A410-4F10-AC7A-22C8A5229D96}"/>
              </a:ext>
            </a:extLst>
          </p:cNvPr>
          <p:cNvPicPr>
            <a:picLocks noChangeAspect="1"/>
          </p:cNvPicPr>
          <p:nvPr/>
        </p:nvPicPr>
        <p:blipFill>
          <a:blip r:embed="rId5"/>
          <a:stretch>
            <a:fillRect/>
          </a:stretch>
        </p:blipFill>
        <p:spPr>
          <a:xfrm>
            <a:off x="7190300" y="3842114"/>
            <a:ext cx="2072575" cy="1646900"/>
          </a:xfrm>
          <a:prstGeom prst="rect">
            <a:avLst/>
          </a:prstGeom>
        </p:spPr>
      </p:pic>
    </p:spTree>
    <p:extLst>
      <p:ext uri="{BB962C8B-B14F-4D97-AF65-F5344CB8AC3E}">
        <p14:creationId xmlns:p14="http://schemas.microsoft.com/office/powerpoint/2010/main" val="361173030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B18156-6225-4F7E-872E-0ADDA52DCE9D}"/>
              </a:ext>
            </a:extLst>
          </p:cNvPr>
          <p:cNvSpPr>
            <a:spLocks noGrp="1"/>
          </p:cNvSpPr>
          <p:nvPr>
            <p:ph type="title"/>
          </p:nvPr>
        </p:nvSpPr>
        <p:spPr/>
        <p:txBody>
          <a:bodyPr/>
          <a:lstStyle/>
          <a:p>
            <a:r>
              <a:rPr lang="sv-SE" b="1" dirty="0" err="1"/>
              <a:t>Wireless</a:t>
            </a:r>
            <a:r>
              <a:rPr lang="sv-SE" b="1" dirty="0"/>
              <a:t> M-Bus</a:t>
            </a:r>
            <a:endParaRPr lang="en-US" dirty="0"/>
          </a:p>
        </p:txBody>
      </p:sp>
      <p:sp>
        <p:nvSpPr>
          <p:cNvPr id="4" name="TextBox 3">
            <a:extLst>
              <a:ext uri="{FF2B5EF4-FFF2-40B4-BE49-F238E27FC236}">
                <a16:creationId xmlns:a16="http://schemas.microsoft.com/office/drawing/2014/main" id="{A5122595-D24A-44B8-B59B-5FEF0BBB41F1}"/>
              </a:ext>
            </a:extLst>
          </p:cNvPr>
          <p:cNvSpPr txBox="1"/>
          <p:nvPr/>
        </p:nvSpPr>
        <p:spPr>
          <a:xfrm>
            <a:off x="107153" y="2933816"/>
            <a:ext cx="12084847" cy="338554"/>
          </a:xfrm>
          <a:prstGeom prst="rect">
            <a:avLst/>
          </a:prstGeom>
          <a:noFill/>
        </p:spPr>
        <p:txBody>
          <a:bodyPr wrap="none" rtlCol="0">
            <a:spAutoFit/>
          </a:bodyPr>
          <a:lstStyle/>
          <a:p>
            <a:r>
              <a:rPr lang="en-US" sz="1600" b="1" dirty="0">
                <a:solidFill>
                  <a:schemeClr val="accent2"/>
                </a:solidFill>
              </a:rPr>
              <a:t>31 44 b0 5c 82 86 00 00 02 1b 7a </a:t>
            </a:r>
            <a:r>
              <a:rPr lang="en-US" sz="1600" b="1" dirty="0"/>
              <a:t>fb 00 00 00 2f </a:t>
            </a:r>
            <a:r>
              <a:rPr lang="en-US" sz="1600" b="1" dirty="0" err="1"/>
              <a:t>2f</a:t>
            </a:r>
            <a:r>
              <a:rPr lang="en-US" sz="1600" b="1" dirty="0"/>
              <a:t> 0a 66 34 02 0a fb 1a 45 02 02 fd 97 1d 00 00 2f </a:t>
            </a:r>
            <a:r>
              <a:rPr lang="en-US" sz="1600" b="1" dirty="0" err="1"/>
              <a:t>2f</a:t>
            </a:r>
            <a:r>
              <a:rPr lang="en-US" sz="1600" b="1" dirty="0"/>
              <a:t> </a:t>
            </a:r>
            <a:r>
              <a:rPr lang="en-US" sz="1600" b="1" dirty="0" err="1"/>
              <a:t>2f</a:t>
            </a:r>
            <a:r>
              <a:rPr lang="en-US" sz="1600" b="1" dirty="0"/>
              <a:t> </a:t>
            </a:r>
            <a:r>
              <a:rPr lang="en-US" sz="1600" b="1" dirty="0" err="1"/>
              <a:t>2f</a:t>
            </a:r>
            <a:r>
              <a:rPr lang="en-US" sz="1600" b="1" dirty="0"/>
              <a:t> </a:t>
            </a:r>
            <a:r>
              <a:rPr lang="en-US" sz="1600" b="1" dirty="0" err="1"/>
              <a:t>2f</a:t>
            </a:r>
            <a:r>
              <a:rPr lang="en-US" sz="1600" b="1" dirty="0"/>
              <a:t> </a:t>
            </a:r>
            <a:r>
              <a:rPr lang="en-US" sz="1600" b="1" dirty="0" err="1"/>
              <a:t>2f</a:t>
            </a:r>
            <a:r>
              <a:rPr lang="en-US" sz="1600" b="1" dirty="0"/>
              <a:t> </a:t>
            </a:r>
            <a:r>
              <a:rPr lang="en-US" sz="1600" b="1" dirty="0" err="1"/>
              <a:t>2f</a:t>
            </a:r>
            <a:r>
              <a:rPr lang="en-US" sz="1600" b="1" dirty="0"/>
              <a:t> </a:t>
            </a:r>
            <a:r>
              <a:rPr lang="en-US" sz="1600" b="1" dirty="0" err="1"/>
              <a:t>2f</a:t>
            </a:r>
            <a:r>
              <a:rPr lang="en-US" sz="1600" b="1" dirty="0"/>
              <a:t> </a:t>
            </a:r>
            <a:r>
              <a:rPr lang="en-US" sz="1600" b="1" dirty="0" err="1"/>
              <a:t>2f</a:t>
            </a:r>
            <a:r>
              <a:rPr lang="en-US" sz="1600" b="1" dirty="0"/>
              <a:t> </a:t>
            </a:r>
            <a:r>
              <a:rPr lang="en-US" sz="1600" b="1" dirty="0" err="1"/>
              <a:t>2f</a:t>
            </a:r>
            <a:r>
              <a:rPr lang="en-US" sz="1600" b="1" dirty="0"/>
              <a:t> </a:t>
            </a:r>
            <a:r>
              <a:rPr lang="en-US" sz="1600" b="1" dirty="0" err="1"/>
              <a:t>2f</a:t>
            </a:r>
            <a:r>
              <a:rPr lang="en-US" sz="1600" b="1" dirty="0"/>
              <a:t> </a:t>
            </a:r>
            <a:r>
              <a:rPr lang="en-US" sz="1600" b="1" dirty="0" err="1"/>
              <a:t>2f</a:t>
            </a:r>
            <a:r>
              <a:rPr lang="en-US" sz="1600" b="1" dirty="0"/>
              <a:t> </a:t>
            </a:r>
            <a:r>
              <a:rPr lang="en-US" sz="1600" b="1" dirty="0" err="1"/>
              <a:t>2f</a:t>
            </a:r>
            <a:r>
              <a:rPr lang="en-US" sz="1600" b="1" dirty="0"/>
              <a:t> </a:t>
            </a:r>
            <a:r>
              <a:rPr lang="en-US" sz="1600" b="1" dirty="0" err="1"/>
              <a:t>2f</a:t>
            </a:r>
            <a:r>
              <a:rPr lang="en-US" sz="1600" b="1" dirty="0"/>
              <a:t> </a:t>
            </a:r>
            <a:r>
              <a:rPr lang="en-US" sz="1600" b="1" dirty="0" err="1"/>
              <a:t>2f</a:t>
            </a:r>
            <a:r>
              <a:rPr lang="en-US" sz="1600" b="1" dirty="0"/>
              <a:t> 41 f8 9b</a:t>
            </a:r>
            <a:endParaRPr lang="en-US" sz="1600" dirty="0"/>
          </a:p>
        </p:txBody>
      </p:sp>
      <p:sp>
        <p:nvSpPr>
          <p:cNvPr id="3" name="Right Brace 2">
            <a:extLst>
              <a:ext uri="{FF2B5EF4-FFF2-40B4-BE49-F238E27FC236}">
                <a16:creationId xmlns:a16="http://schemas.microsoft.com/office/drawing/2014/main" id="{EC34DF94-9EE3-4B76-8AD6-337C84AE1102}"/>
              </a:ext>
            </a:extLst>
          </p:cNvPr>
          <p:cNvSpPr/>
          <p:nvPr/>
        </p:nvSpPr>
        <p:spPr>
          <a:xfrm rot="5400000">
            <a:off x="1398832" y="2046709"/>
            <a:ext cx="330200" cy="2747641"/>
          </a:xfrm>
          <a:prstGeom prst="rightBrace">
            <a:avLst>
              <a:gd name="adj1" fmla="val 5893"/>
              <a:gd name="adj2" fmla="val 50000"/>
            </a:avLst>
          </a:prstGeom>
          <a:ln>
            <a:solidFill>
              <a:srgbClr val="FFFF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 name="Right Brace 6">
            <a:extLst>
              <a:ext uri="{FF2B5EF4-FFF2-40B4-BE49-F238E27FC236}">
                <a16:creationId xmlns:a16="http://schemas.microsoft.com/office/drawing/2014/main" id="{1FB900D6-3FEB-462D-8203-8C9750A65EB4}"/>
              </a:ext>
            </a:extLst>
          </p:cNvPr>
          <p:cNvSpPr/>
          <p:nvPr/>
        </p:nvSpPr>
        <p:spPr>
          <a:xfrm rot="5400000">
            <a:off x="7304721" y="-1103068"/>
            <a:ext cx="330200" cy="9064136"/>
          </a:xfrm>
          <a:prstGeom prst="rightBrace">
            <a:avLst/>
          </a:prstGeom>
          <a:ln>
            <a:solidFill>
              <a:srgbClr val="FFFF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 name="TextBox 7">
            <a:extLst>
              <a:ext uri="{FF2B5EF4-FFF2-40B4-BE49-F238E27FC236}">
                <a16:creationId xmlns:a16="http://schemas.microsoft.com/office/drawing/2014/main" id="{9F9256A3-52DD-4926-BCBE-6156F205620D}"/>
              </a:ext>
            </a:extLst>
          </p:cNvPr>
          <p:cNvSpPr txBox="1"/>
          <p:nvPr/>
        </p:nvSpPr>
        <p:spPr>
          <a:xfrm>
            <a:off x="1013140" y="3645010"/>
            <a:ext cx="1101584" cy="461665"/>
          </a:xfrm>
          <a:prstGeom prst="rect">
            <a:avLst/>
          </a:prstGeom>
          <a:noFill/>
        </p:spPr>
        <p:txBody>
          <a:bodyPr wrap="none" rtlCol="0">
            <a:spAutoFit/>
          </a:bodyPr>
          <a:lstStyle/>
          <a:p>
            <a:r>
              <a:rPr lang="en-US" sz="2400" dirty="0"/>
              <a:t>Header</a:t>
            </a:r>
          </a:p>
        </p:txBody>
      </p:sp>
      <p:sp>
        <p:nvSpPr>
          <p:cNvPr id="9" name="TextBox 8">
            <a:extLst>
              <a:ext uri="{FF2B5EF4-FFF2-40B4-BE49-F238E27FC236}">
                <a16:creationId xmlns:a16="http://schemas.microsoft.com/office/drawing/2014/main" id="{4550C0D2-A42C-45FF-B2C7-08EF6DC67688}"/>
              </a:ext>
            </a:extLst>
          </p:cNvPr>
          <p:cNvSpPr txBox="1"/>
          <p:nvPr/>
        </p:nvSpPr>
        <p:spPr>
          <a:xfrm>
            <a:off x="7062497" y="3686315"/>
            <a:ext cx="814647" cy="461665"/>
          </a:xfrm>
          <a:prstGeom prst="rect">
            <a:avLst/>
          </a:prstGeom>
          <a:noFill/>
        </p:spPr>
        <p:txBody>
          <a:bodyPr wrap="none" rtlCol="0">
            <a:spAutoFit/>
          </a:bodyPr>
          <a:lstStyle/>
          <a:p>
            <a:r>
              <a:rPr lang="en-US" sz="2400" dirty="0"/>
              <a:t>Body</a:t>
            </a:r>
          </a:p>
        </p:txBody>
      </p:sp>
    </p:spTree>
    <p:extLst>
      <p:ext uri="{BB962C8B-B14F-4D97-AF65-F5344CB8AC3E}">
        <p14:creationId xmlns:p14="http://schemas.microsoft.com/office/powerpoint/2010/main" val="29223778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B18156-6225-4F7E-872E-0ADDA52DCE9D}"/>
              </a:ext>
            </a:extLst>
          </p:cNvPr>
          <p:cNvSpPr>
            <a:spLocks noGrp="1"/>
          </p:cNvSpPr>
          <p:nvPr>
            <p:ph type="title"/>
          </p:nvPr>
        </p:nvSpPr>
        <p:spPr/>
        <p:txBody>
          <a:bodyPr/>
          <a:lstStyle/>
          <a:p>
            <a:r>
              <a:rPr lang="sv-SE" b="1" dirty="0" err="1"/>
              <a:t>Wireless</a:t>
            </a:r>
            <a:r>
              <a:rPr lang="sv-SE" b="1" dirty="0"/>
              <a:t> M-Bus - </a:t>
            </a:r>
            <a:r>
              <a:rPr lang="sv-SE" b="1" dirty="0" err="1"/>
              <a:t>Header</a:t>
            </a:r>
            <a:endParaRPr lang="en-US" dirty="0"/>
          </a:p>
        </p:txBody>
      </p:sp>
      <p:sp>
        <p:nvSpPr>
          <p:cNvPr id="4" name="TextBox 3">
            <a:extLst>
              <a:ext uri="{FF2B5EF4-FFF2-40B4-BE49-F238E27FC236}">
                <a16:creationId xmlns:a16="http://schemas.microsoft.com/office/drawing/2014/main" id="{A5122595-D24A-44B8-B59B-5FEF0BBB41F1}"/>
              </a:ext>
            </a:extLst>
          </p:cNvPr>
          <p:cNvSpPr txBox="1"/>
          <p:nvPr/>
        </p:nvSpPr>
        <p:spPr>
          <a:xfrm>
            <a:off x="2430497" y="3327767"/>
            <a:ext cx="7032694" cy="707886"/>
          </a:xfrm>
          <a:prstGeom prst="rect">
            <a:avLst/>
          </a:prstGeom>
          <a:noFill/>
        </p:spPr>
        <p:txBody>
          <a:bodyPr wrap="none" rtlCol="0">
            <a:spAutoFit/>
          </a:bodyPr>
          <a:lstStyle/>
          <a:p>
            <a:r>
              <a:rPr lang="en-US" sz="4000" b="1" dirty="0"/>
              <a:t>31 44 b0 5c 82 86 00 00 02 1b 7a</a:t>
            </a:r>
            <a:endParaRPr lang="en-US" sz="2000" dirty="0"/>
          </a:p>
        </p:txBody>
      </p:sp>
      <p:grpSp>
        <p:nvGrpSpPr>
          <p:cNvPr id="32" name="Group 31">
            <a:extLst>
              <a:ext uri="{FF2B5EF4-FFF2-40B4-BE49-F238E27FC236}">
                <a16:creationId xmlns:a16="http://schemas.microsoft.com/office/drawing/2014/main" id="{E762DA49-E30E-4719-8BBF-AED00E71F59C}"/>
              </a:ext>
            </a:extLst>
          </p:cNvPr>
          <p:cNvGrpSpPr/>
          <p:nvPr/>
        </p:nvGrpSpPr>
        <p:grpSpPr>
          <a:xfrm>
            <a:off x="3379328" y="2516713"/>
            <a:ext cx="1913857" cy="1445687"/>
            <a:chOff x="3379328" y="2516713"/>
            <a:chExt cx="1913857" cy="1445687"/>
          </a:xfrm>
        </p:grpSpPr>
        <p:grpSp>
          <p:nvGrpSpPr>
            <p:cNvPr id="22" name="Group 21">
              <a:extLst>
                <a:ext uri="{FF2B5EF4-FFF2-40B4-BE49-F238E27FC236}">
                  <a16:creationId xmlns:a16="http://schemas.microsoft.com/office/drawing/2014/main" id="{F62A41CA-F06B-4B41-BF6A-C4E5DBDD2397}"/>
                </a:ext>
              </a:extLst>
            </p:cNvPr>
            <p:cNvGrpSpPr/>
            <p:nvPr/>
          </p:nvGrpSpPr>
          <p:grpSpPr>
            <a:xfrm>
              <a:off x="3729039" y="2990850"/>
              <a:ext cx="1214436" cy="971550"/>
              <a:chOff x="3729039" y="2990850"/>
              <a:chExt cx="1214436" cy="971550"/>
            </a:xfrm>
          </p:grpSpPr>
          <p:sp>
            <p:nvSpPr>
              <p:cNvPr id="6" name="Rectangle 5">
                <a:extLst>
                  <a:ext uri="{FF2B5EF4-FFF2-40B4-BE49-F238E27FC236}">
                    <a16:creationId xmlns:a16="http://schemas.microsoft.com/office/drawing/2014/main" id="{FE2982D5-8FDB-422F-B787-22007547ED5D}"/>
                  </a:ext>
                </a:extLst>
              </p:cNvPr>
              <p:cNvSpPr/>
              <p:nvPr/>
            </p:nvSpPr>
            <p:spPr>
              <a:xfrm>
                <a:off x="3729039" y="3413492"/>
                <a:ext cx="1214436" cy="548908"/>
              </a:xfrm>
              <a:prstGeom prst="rect">
                <a:avLst/>
              </a:prstGeom>
              <a:no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7" name="Straight Connector 16">
                <a:extLst>
                  <a:ext uri="{FF2B5EF4-FFF2-40B4-BE49-F238E27FC236}">
                    <a16:creationId xmlns:a16="http://schemas.microsoft.com/office/drawing/2014/main" id="{9830E52C-E6FC-4D0F-B644-6E2ABEF2F02F}"/>
                  </a:ext>
                </a:extLst>
              </p:cNvPr>
              <p:cNvCxnSpPr>
                <a:stCxn id="6" idx="0"/>
              </p:cNvCxnSpPr>
              <p:nvPr/>
            </p:nvCxnSpPr>
            <p:spPr>
              <a:xfrm flipV="1">
                <a:off x="4336257" y="2990850"/>
                <a:ext cx="0" cy="422642"/>
              </a:xfrm>
              <a:prstGeom prst="line">
                <a:avLst/>
              </a:prstGeom>
              <a:ln>
                <a:solidFill>
                  <a:srgbClr val="FFFF00"/>
                </a:solidFill>
              </a:ln>
            </p:spPr>
            <p:style>
              <a:lnRef idx="1">
                <a:schemeClr val="accent1"/>
              </a:lnRef>
              <a:fillRef idx="0">
                <a:schemeClr val="accent1"/>
              </a:fillRef>
              <a:effectRef idx="0">
                <a:schemeClr val="accent1"/>
              </a:effectRef>
              <a:fontRef idx="minor">
                <a:schemeClr val="tx1"/>
              </a:fontRef>
            </p:style>
          </p:cxnSp>
        </p:grpSp>
        <p:sp>
          <p:nvSpPr>
            <p:cNvPr id="27" name="TextBox 26">
              <a:extLst>
                <a:ext uri="{FF2B5EF4-FFF2-40B4-BE49-F238E27FC236}">
                  <a16:creationId xmlns:a16="http://schemas.microsoft.com/office/drawing/2014/main" id="{2F23DF0A-8844-4AFE-980B-F6B56E4F2A79}"/>
                </a:ext>
              </a:extLst>
            </p:cNvPr>
            <p:cNvSpPr txBox="1"/>
            <p:nvPr/>
          </p:nvSpPr>
          <p:spPr>
            <a:xfrm>
              <a:off x="3379328" y="2516713"/>
              <a:ext cx="1913857" cy="461665"/>
            </a:xfrm>
            <a:prstGeom prst="rect">
              <a:avLst/>
            </a:prstGeom>
            <a:noFill/>
          </p:spPr>
          <p:txBody>
            <a:bodyPr wrap="none" rtlCol="0">
              <a:spAutoFit/>
            </a:bodyPr>
            <a:lstStyle/>
            <a:p>
              <a:r>
                <a:rPr lang="en-US" sz="2400" dirty="0"/>
                <a:t>Manufacturer</a:t>
              </a:r>
            </a:p>
          </p:txBody>
        </p:sp>
      </p:grpSp>
      <p:grpSp>
        <p:nvGrpSpPr>
          <p:cNvPr id="33" name="Group 32">
            <a:extLst>
              <a:ext uri="{FF2B5EF4-FFF2-40B4-BE49-F238E27FC236}">
                <a16:creationId xmlns:a16="http://schemas.microsoft.com/office/drawing/2014/main" id="{608E5823-98B9-4B10-9321-F89717E891BB}"/>
              </a:ext>
            </a:extLst>
          </p:cNvPr>
          <p:cNvGrpSpPr/>
          <p:nvPr/>
        </p:nvGrpSpPr>
        <p:grpSpPr>
          <a:xfrm>
            <a:off x="4943475" y="3413492"/>
            <a:ext cx="2495550" cy="1374963"/>
            <a:chOff x="4943475" y="3413492"/>
            <a:chExt cx="2495550" cy="1374963"/>
          </a:xfrm>
        </p:grpSpPr>
        <p:grpSp>
          <p:nvGrpSpPr>
            <p:cNvPr id="23" name="Group 22">
              <a:extLst>
                <a:ext uri="{FF2B5EF4-FFF2-40B4-BE49-F238E27FC236}">
                  <a16:creationId xmlns:a16="http://schemas.microsoft.com/office/drawing/2014/main" id="{D9413293-5799-48DF-98DB-D51AEB5BCAB4}"/>
                </a:ext>
              </a:extLst>
            </p:cNvPr>
            <p:cNvGrpSpPr/>
            <p:nvPr/>
          </p:nvGrpSpPr>
          <p:grpSpPr>
            <a:xfrm>
              <a:off x="4943475" y="3413492"/>
              <a:ext cx="2495550" cy="971550"/>
              <a:chOff x="4943475" y="3413492"/>
              <a:chExt cx="2495550" cy="971550"/>
            </a:xfrm>
          </p:grpSpPr>
          <p:sp>
            <p:nvSpPr>
              <p:cNvPr id="7" name="Rectangle 6">
                <a:extLst>
                  <a:ext uri="{FF2B5EF4-FFF2-40B4-BE49-F238E27FC236}">
                    <a16:creationId xmlns:a16="http://schemas.microsoft.com/office/drawing/2014/main" id="{7964FB49-0D16-412D-AB94-F6A340DD51E4}"/>
                  </a:ext>
                </a:extLst>
              </p:cNvPr>
              <p:cNvSpPr/>
              <p:nvPr/>
            </p:nvSpPr>
            <p:spPr>
              <a:xfrm>
                <a:off x="4943475" y="3413492"/>
                <a:ext cx="2495550" cy="548908"/>
              </a:xfrm>
              <a:prstGeom prst="rect">
                <a:avLst/>
              </a:prstGeom>
              <a:no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8" name="Straight Connector 17">
                <a:extLst>
                  <a:ext uri="{FF2B5EF4-FFF2-40B4-BE49-F238E27FC236}">
                    <a16:creationId xmlns:a16="http://schemas.microsoft.com/office/drawing/2014/main" id="{4B1AA1C5-05AE-4135-A876-E13DE3CE5BCC}"/>
                  </a:ext>
                </a:extLst>
              </p:cNvPr>
              <p:cNvCxnSpPr/>
              <p:nvPr/>
            </p:nvCxnSpPr>
            <p:spPr>
              <a:xfrm flipV="1">
                <a:off x="6203157" y="3962400"/>
                <a:ext cx="0" cy="422642"/>
              </a:xfrm>
              <a:prstGeom prst="line">
                <a:avLst/>
              </a:prstGeom>
              <a:ln>
                <a:solidFill>
                  <a:srgbClr val="FFFF00"/>
                </a:solidFill>
              </a:ln>
            </p:spPr>
            <p:style>
              <a:lnRef idx="1">
                <a:schemeClr val="accent1"/>
              </a:lnRef>
              <a:fillRef idx="0">
                <a:schemeClr val="accent1"/>
              </a:fillRef>
              <a:effectRef idx="0">
                <a:schemeClr val="accent1"/>
              </a:effectRef>
              <a:fontRef idx="minor">
                <a:schemeClr val="tx1"/>
              </a:fontRef>
            </p:style>
          </p:cxnSp>
        </p:grpSp>
        <p:sp>
          <p:nvSpPr>
            <p:cNvPr id="28" name="TextBox 27">
              <a:extLst>
                <a:ext uri="{FF2B5EF4-FFF2-40B4-BE49-F238E27FC236}">
                  <a16:creationId xmlns:a16="http://schemas.microsoft.com/office/drawing/2014/main" id="{32D5797C-EAD4-40D6-A68B-67D2D2162893}"/>
                </a:ext>
              </a:extLst>
            </p:cNvPr>
            <p:cNvSpPr txBox="1"/>
            <p:nvPr/>
          </p:nvSpPr>
          <p:spPr>
            <a:xfrm>
              <a:off x="5535616" y="4326790"/>
              <a:ext cx="1338828" cy="461665"/>
            </a:xfrm>
            <a:prstGeom prst="rect">
              <a:avLst/>
            </a:prstGeom>
            <a:noFill/>
          </p:spPr>
          <p:txBody>
            <a:bodyPr wrap="none" rtlCol="0">
              <a:spAutoFit/>
            </a:bodyPr>
            <a:lstStyle/>
            <a:p>
              <a:r>
                <a:rPr lang="en-US" sz="2400" dirty="0"/>
                <a:t>Sensor Id</a:t>
              </a:r>
            </a:p>
          </p:txBody>
        </p:sp>
      </p:grpSp>
      <p:grpSp>
        <p:nvGrpSpPr>
          <p:cNvPr id="34" name="Group 33">
            <a:extLst>
              <a:ext uri="{FF2B5EF4-FFF2-40B4-BE49-F238E27FC236}">
                <a16:creationId xmlns:a16="http://schemas.microsoft.com/office/drawing/2014/main" id="{6F4534C0-8C69-470C-9A56-AACE51D4321B}"/>
              </a:ext>
            </a:extLst>
          </p:cNvPr>
          <p:cNvGrpSpPr/>
          <p:nvPr/>
        </p:nvGrpSpPr>
        <p:grpSpPr>
          <a:xfrm>
            <a:off x="7348202" y="2516713"/>
            <a:ext cx="776623" cy="1445687"/>
            <a:chOff x="7348202" y="2516713"/>
            <a:chExt cx="776623" cy="1445687"/>
          </a:xfrm>
        </p:grpSpPr>
        <p:grpSp>
          <p:nvGrpSpPr>
            <p:cNvPr id="24" name="Group 23">
              <a:extLst>
                <a:ext uri="{FF2B5EF4-FFF2-40B4-BE49-F238E27FC236}">
                  <a16:creationId xmlns:a16="http://schemas.microsoft.com/office/drawing/2014/main" id="{38D66FAC-2AC5-4890-8269-1A3DF9BDCEF8}"/>
                </a:ext>
              </a:extLst>
            </p:cNvPr>
            <p:cNvGrpSpPr/>
            <p:nvPr/>
          </p:nvGrpSpPr>
          <p:grpSpPr>
            <a:xfrm>
              <a:off x="7424741" y="2990850"/>
              <a:ext cx="700084" cy="971550"/>
              <a:chOff x="7424741" y="2990850"/>
              <a:chExt cx="700084" cy="971550"/>
            </a:xfrm>
          </p:grpSpPr>
          <p:sp>
            <p:nvSpPr>
              <p:cNvPr id="8" name="Rectangle 7">
                <a:extLst>
                  <a:ext uri="{FF2B5EF4-FFF2-40B4-BE49-F238E27FC236}">
                    <a16:creationId xmlns:a16="http://schemas.microsoft.com/office/drawing/2014/main" id="{49F4FF38-8A78-4EFF-8C5D-B29502A37A69}"/>
                  </a:ext>
                </a:extLst>
              </p:cNvPr>
              <p:cNvSpPr/>
              <p:nvPr/>
            </p:nvSpPr>
            <p:spPr>
              <a:xfrm>
                <a:off x="7424741" y="3413492"/>
                <a:ext cx="700084" cy="548908"/>
              </a:xfrm>
              <a:prstGeom prst="rect">
                <a:avLst/>
              </a:prstGeom>
              <a:no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Connector 20">
                <a:extLst>
                  <a:ext uri="{FF2B5EF4-FFF2-40B4-BE49-F238E27FC236}">
                    <a16:creationId xmlns:a16="http://schemas.microsoft.com/office/drawing/2014/main" id="{29D9AC1D-1E8F-4B33-A154-2F5584296879}"/>
                  </a:ext>
                </a:extLst>
              </p:cNvPr>
              <p:cNvCxnSpPr/>
              <p:nvPr/>
            </p:nvCxnSpPr>
            <p:spPr>
              <a:xfrm flipV="1">
                <a:off x="7774783" y="2990850"/>
                <a:ext cx="0" cy="422642"/>
              </a:xfrm>
              <a:prstGeom prst="line">
                <a:avLst/>
              </a:prstGeom>
              <a:ln>
                <a:solidFill>
                  <a:srgbClr val="FFFF00"/>
                </a:solidFill>
              </a:ln>
            </p:spPr>
            <p:style>
              <a:lnRef idx="1">
                <a:schemeClr val="accent1"/>
              </a:lnRef>
              <a:fillRef idx="0">
                <a:schemeClr val="accent1"/>
              </a:fillRef>
              <a:effectRef idx="0">
                <a:schemeClr val="accent1"/>
              </a:effectRef>
              <a:fontRef idx="minor">
                <a:schemeClr val="tx1"/>
              </a:fontRef>
            </p:style>
          </p:cxnSp>
        </p:grpSp>
        <p:sp>
          <p:nvSpPr>
            <p:cNvPr id="29" name="TextBox 28">
              <a:extLst>
                <a:ext uri="{FF2B5EF4-FFF2-40B4-BE49-F238E27FC236}">
                  <a16:creationId xmlns:a16="http://schemas.microsoft.com/office/drawing/2014/main" id="{AA02F9EC-933C-4D20-94BB-BA00EE718757}"/>
                </a:ext>
              </a:extLst>
            </p:cNvPr>
            <p:cNvSpPr txBox="1"/>
            <p:nvPr/>
          </p:nvSpPr>
          <p:spPr>
            <a:xfrm>
              <a:off x="7348202" y="2516713"/>
              <a:ext cx="776623" cy="461665"/>
            </a:xfrm>
            <a:prstGeom prst="rect">
              <a:avLst/>
            </a:prstGeom>
            <a:noFill/>
          </p:spPr>
          <p:txBody>
            <a:bodyPr wrap="none" rtlCol="0">
              <a:spAutoFit/>
            </a:bodyPr>
            <a:lstStyle/>
            <a:p>
              <a:r>
                <a:rPr lang="en-US" sz="2400" dirty="0"/>
                <a:t>Type</a:t>
              </a:r>
            </a:p>
          </p:txBody>
        </p:sp>
      </p:grpSp>
      <p:grpSp>
        <p:nvGrpSpPr>
          <p:cNvPr id="35" name="Group 34">
            <a:extLst>
              <a:ext uri="{FF2B5EF4-FFF2-40B4-BE49-F238E27FC236}">
                <a16:creationId xmlns:a16="http://schemas.microsoft.com/office/drawing/2014/main" id="{BDC7E5E5-B7A6-40C1-BECD-BAFDDFB155F3}"/>
              </a:ext>
            </a:extLst>
          </p:cNvPr>
          <p:cNvGrpSpPr/>
          <p:nvPr/>
        </p:nvGrpSpPr>
        <p:grpSpPr>
          <a:xfrm>
            <a:off x="7917535" y="3413492"/>
            <a:ext cx="1114664" cy="1374963"/>
            <a:chOff x="7917535" y="3413492"/>
            <a:chExt cx="1114664" cy="1374963"/>
          </a:xfrm>
        </p:grpSpPr>
        <p:grpSp>
          <p:nvGrpSpPr>
            <p:cNvPr id="25" name="Group 24">
              <a:extLst>
                <a:ext uri="{FF2B5EF4-FFF2-40B4-BE49-F238E27FC236}">
                  <a16:creationId xmlns:a16="http://schemas.microsoft.com/office/drawing/2014/main" id="{9B32CE08-4E9A-4A7F-B58D-652585C398E5}"/>
                </a:ext>
              </a:extLst>
            </p:cNvPr>
            <p:cNvGrpSpPr/>
            <p:nvPr/>
          </p:nvGrpSpPr>
          <p:grpSpPr>
            <a:xfrm>
              <a:off x="8124825" y="3413492"/>
              <a:ext cx="661984" cy="971550"/>
              <a:chOff x="8124825" y="3413492"/>
              <a:chExt cx="661984" cy="971550"/>
            </a:xfrm>
          </p:grpSpPr>
          <p:sp>
            <p:nvSpPr>
              <p:cNvPr id="9" name="Rectangle 8">
                <a:extLst>
                  <a:ext uri="{FF2B5EF4-FFF2-40B4-BE49-F238E27FC236}">
                    <a16:creationId xmlns:a16="http://schemas.microsoft.com/office/drawing/2014/main" id="{D2EF1166-992B-46B6-B7AB-E6DBE6785834}"/>
                  </a:ext>
                </a:extLst>
              </p:cNvPr>
              <p:cNvSpPr/>
              <p:nvPr/>
            </p:nvSpPr>
            <p:spPr>
              <a:xfrm>
                <a:off x="8124825" y="3413492"/>
                <a:ext cx="661984" cy="548908"/>
              </a:xfrm>
              <a:prstGeom prst="rect">
                <a:avLst/>
              </a:prstGeom>
              <a:no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9" name="Straight Connector 18">
                <a:extLst>
                  <a:ext uri="{FF2B5EF4-FFF2-40B4-BE49-F238E27FC236}">
                    <a16:creationId xmlns:a16="http://schemas.microsoft.com/office/drawing/2014/main" id="{FD0E5008-6795-42C9-A28A-AE1C1FF6145F}"/>
                  </a:ext>
                </a:extLst>
              </p:cNvPr>
              <p:cNvCxnSpPr/>
              <p:nvPr/>
            </p:nvCxnSpPr>
            <p:spPr>
              <a:xfrm flipV="1">
                <a:off x="8455817" y="3962400"/>
                <a:ext cx="0" cy="422642"/>
              </a:xfrm>
              <a:prstGeom prst="line">
                <a:avLst/>
              </a:prstGeom>
              <a:ln>
                <a:solidFill>
                  <a:srgbClr val="FFFF00"/>
                </a:solidFill>
              </a:ln>
            </p:spPr>
            <p:style>
              <a:lnRef idx="1">
                <a:schemeClr val="accent1"/>
              </a:lnRef>
              <a:fillRef idx="0">
                <a:schemeClr val="accent1"/>
              </a:fillRef>
              <a:effectRef idx="0">
                <a:schemeClr val="accent1"/>
              </a:effectRef>
              <a:fontRef idx="minor">
                <a:schemeClr val="tx1"/>
              </a:fontRef>
            </p:style>
          </p:cxnSp>
        </p:grpSp>
        <p:sp>
          <p:nvSpPr>
            <p:cNvPr id="30" name="TextBox 29">
              <a:extLst>
                <a:ext uri="{FF2B5EF4-FFF2-40B4-BE49-F238E27FC236}">
                  <a16:creationId xmlns:a16="http://schemas.microsoft.com/office/drawing/2014/main" id="{A8091D5F-4E30-43D4-AFF6-90E01890339C}"/>
                </a:ext>
              </a:extLst>
            </p:cNvPr>
            <p:cNvSpPr txBox="1"/>
            <p:nvPr/>
          </p:nvSpPr>
          <p:spPr>
            <a:xfrm>
              <a:off x="7917535" y="4326790"/>
              <a:ext cx="1114664" cy="461665"/>
            </a:xfrm>
            <a:prstGeom prst="rect">
              <a:avLst/>
            </a:prstGeom>
            <a:noFill/>
          </p:spPr>
          <p:txBody>
            <a:bodyPr wrap="none" rtlCol="0">
              <a:spAutoFit/>
            </a:bodyPr>
            <a:lstStyle/>
            <a:p>
              <a:r>
                <a:rPr lang="en-US" sz="2400" dirty="0"/>
                <a:t>Version</a:t>
              </a:r>
            </a:p>
          </p:txBody>
        </p:sp>
      </p:grpSp>
      <p:grpSp>
        <p:nvGrpSpPr>
          <p:cNvPr id="36" name="Group 35">
            <a:extLst>
              <a:ext uri="{FF2B5EF4-FFF2-40B4-BE49-F238E27FC236}">
                <a16:creationId xmlns:a16="http://schemas.microsoft.com/office/drawing/2014/main" id="{B92AD9B1-E825-4990-A544-D0FD4C318B9C}"/>
              </a:ext>
            </a:extLst>
          </p:cNvPr>
          <p:cNvGrpSpPr/>
          <p:nvPr/>
        </p:nvGrpSpPr>
        <p:grpSpPr>
          <a:xfrm>
            <a:off x="8634711" y="2529185"/>
            <a:ext cx="1034386" cy="1433215"/>
            <a:chOff x="8634711" y="2529185"/>
            <a:chExt cx="1034386" cy="1433215"/>
          </a:xfrm>
        </p:grpSpPr>
        <p:grpSp>
          <p:nvGrpSpPr>
            <p:cNvPr id="26" name="Group 25">
              <a:extLst>
                <a:ext uri="{FF2B5EF4-FFF2-40B4-BE49-F238E27FC236}">
                  <a16:creationId xmlns:a16="http://schemas.microsoft.com/office/drawing/2014/main" id="{29AFA273-0029-47F3-B531-F49665F3369C}"/>
                </a:ext>
              </a:extLst>
            </p:cNvPr>
            <p:cNvGrpSpPr/>
            <p:nvPr/>
          </p:nvGrpSpPr>
          <p:grpSpPr>
            <a:xfrm>
              <a:off x="8786809" y="2990850"/>
              <a:ext cx="700084" cy="971550"/>
              <a:chOff x="8786809" y="2990850"/>
              <a:chExt cx="700084" cy="971550"/>
            </a:xfrm>
          </p:grpSpPr>
          <p:sp>
            <p:nvSpPr>
              <p:cNvPr id="10" name="Rectangle 9">
                <a:extLst>
                  <a:ext uri="{FF2B5EF4-FFF2-40B4-BE49-F238E27FC236}">
                    <a16:creationId xmlns:a16="http://schemas.microsoft.com/office/drawing/2014/main" id="{253EF550-7823-479A-A186-12D82111B93C}"/>
                  </a:ext>
                </a:extLst>
              </p:cNvPr>
              <p:cNvSpPr/>
              <p:nvPr/>
            </p:nvSpPr>
            <p:spPr>
              <a:xfrm>
                <a:off x="8786809" y="3413492"/>
                <a:ext cx="700084" cy="548908"/>
              </a:xfrm>
              <a:prstGeom prst="rect">
                <a:avLst/>
              </a:prstGeom>
              <a:no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Connector 19">
                <a:extLst>
                  <a:ext uri="{FF2B5EF4-FFF2-40B4-BE49-F238E27FC236}">
                    <a16:creationId xmlns:a16="http://schemas.microsoft.com/office/drawing/2014/main" id="{FBF48707-770A-4116-B8AE-AC2DC0BC983E}"/>
                  </a:ext>
                </a:extLst>
              </p:cNvPr>
              <p:cNvCxnSpPr/>
              <p:nvPr/>
            </p:nvCxnSpPr>
            <p:spPr>
              <a:xfrm flipV="1">
                <a:off x="9136851" y="2990850"/>
                <a:ext cx="0" cy="422642"/>
              </a:xfrm>
              <a:prstGeom prst="line">
                <a:avLst/>
              </a:prstGeom>
              <a:ln>
                <a:solidFill>
                  <a:srgbClr val="FFFF00"/>
                </a:solidFill>
              </a:ln>
            </p:spPr>
            <p:style>
              <a:lnRef idx="1">
                <a:schemeClr val="accent1"/>
              </a:lnRef>
              <a:fillRef idx="0">
                <a:schemeClr val="accent1"/>
              </a:fillRef>
              <a:effectRef idx="0">
                <a:schemeClr val="accent1"/>
              </a:effectRef>
              <a:fontRef idx="minor">
                <a:schemeClr val="tx1"/>
              </a:fontRef>
            </p:style>
          </p:cxnSp>
        </p:grpSp>
        <p:sp>
          <p:nvSpPr>
            <p:cNvPr id="31" name="TextBox 30">
              <a:extLst>
                <a:ext uri="{FF2B5EF4-FFF2-40B4-BE49-F238E27FC236}">
                  <a16:creationId xmlns:a16="http://schemas.microsoft.com/office/drawing/2014/main" id="{4B11FAAD-809C-4E76-846D-27A9097DFB70}"/>
                </a:ext>
              </a:extLst>
            </p:cNvPr>
            <p:cNvSpPr txBox="1"/>
            <p:nvPr/>
          </p:nvSpPr>
          <p:spPr>
            <a:xfrm>
              <a:off x="8634711" y="2529185"/>
              <a:ext cx="1034386" cy="461665"/>
            </a:xfrm>
            <a:prstGeom prst="rect">
              <a:avLst/>
            </a:prstGeom>
            <a:noFill/>
          </p:spPr>
          <p:txBody>
            <a:bodyPr wrap="none" rtlCol="0">
              <a:spAutoFit/>
            </a:bodyPr>
            <a:lstStyle/>
            <a:p>
              <a:r>
                <a:rPr lang="en-US" sz="2400" dirty="0"/>
                <a:t>Length</a:t>
              </a:r>
            </a:p>
          </p:txBody>
        </p:sp>
      </p:grpSp>
      <p:grpSp>
        <p:nvGrpSpPr>
          <p:cNvPr id="37" name="Group 36">
            <a:extLst>
              <a:ext uri="{FF2B5EF4-FFF2-40B4-BE49-F238E27FC236}">
                <a16:creationId xmlns:a16="http://schemas.microsoft.com/office/drawing/2014/main" id="{B1DDC5F0-969F-4A1B-BD75-BA0036132897}"/>
              </a:ext>
            </a:extLst>
          </p:cNvPr>
          <p:cNvGrpSpPr/>
          <p:nvPr/>
        </p:nvGrpSpPr>
        <p:grpSpPr>
          <a:xfrm>
            <a:off x="3686968" y="3963194"/>
            <a:ext cx="5076031" cy="795040"/>
            <a:chOff x="3686968" y="3963194"/>
            <a:chExt cx="5076031" cy="795040"/>
          </a:xfrm>
        </p:grpSpPr>
        <p:sp>
          <p:nvSpPr>
            <p:cNvPr id="38" name="Right Brace 37">
              <a:extLst>
                <a:ext uri="{FF2B5EF4-FFF2-40B4-BE49-F238E27FC236}">
                  <a16:creationId xmlns:a16="http://schemas.microsoft.com/office/drawing/2014/main" id="{0E4E6336-B5A4-4D45-9D10-A400994EC049}"/>
                </a:ext>
              </a:extLst>
            </p:cNvPr>
            <p:cNvSpPr/>
            <p:nvPr/>
          </p:nvSpPr>
          <p:spPr>
            <a:xfrm rot="5400000">
              <a:off x="6058296" y="1591866"/>
              <a:ext cx="333375" cy="5076031"/>
            </a:xfrm>
            <a:prstGeom prst="rightBrace">
              <a:avLst/>
            </a:prstGeom>
            <a:ln>
              <a:solidFill>
                <a:srgbClr val="FFFF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9" name="TextBox 38">
              <a:extLst>
                <a:ext uri="{FF2B5EF4-FFF2-40B4-BE49-F238E27FC236}">
                  <a16:creationId xmlns:a16="http://schemas.microsoft.com/office/drawing/2014/main" id="{B57867EC-347B-4CD0-A9A6-207A3B869F39}"/>
                </a:ext>
              </a:extLst>
            </p:cNvPr>
            <p:cNvSpPr txBox="1"/>
            <p:nvPr/>
          </p:nvSpPr>
          <p:spPr>
            <a:xfrm>
              <a:off x="5658579" y="4296569"/>
              <a:ext cx="1327736" cy="461665"/>
            </a:xfrm>
            <a:prstGeom prst="rect">
              <a:avLst/>
            </a:prstGeom>
            <a:noFill/>
          </p:spPr>
          <p:txBody>
            <a:bodyPr wrap="none" rtlCol="0">
              <a:spAutoFit/>
            </a:bodyPr>
            <a:lstStyle/>
            <a:p>
              <a:r>
                <a:rPr lang="en-US" sz="2400" dirty="0"/>
                <a:t>Device Id</a:t>
              </a:r>
            </a:p>
          </p:txBody>
        </p:sp>
      </p:grpSp>
      <p:sp>
        <p:nvSpPr>
          <p:cNvPr id="40" name="TextBox 39">
            <a:extLst>
              <a:ext uri="{FF2B5EF4-FFF2-40B4-BE49-F238E27FC236}">
                <a16:creationId xmlns:a16="http://schemas.microsoft.com/office/drawing/2014/main" id="{AAE3A7A1-A067-4667-93E5-53B0C90D9731}"/>
              </a:ext>
            </a:extLst>
          </p:cNvPr>
          <p:cNvSpPr txBox="1"/>
          <p:nvPr/>
        </p:nvSpPr>
        <p:spPr>
          <a:xfrm>
            <a:off x="4197879" y="4931996"/>
            <a:ext cx="4326826" cy="707886"/>
          </a:xfrm>
          <a:prstGeom prst="rect">
            <a:avLst/>
          </a:prstGeom>
          <a:noFill/>
        </p:spPr>
        <p:txBody>
          <a:bodyPr wrap="none" rtlCol="0">
            <a:spAutoFit/>
          </a:bodyPr>
          <a:lstStyle/>
          <a:p>
            <a:r>
              <a:rPr lang="en-US" sz="4000" b="1" dirty="0">
                <a:solidFill>
                  <a:schemeClr val="accent2"/>
                </a:solidFill>
              </a:rPr>
              <a:t>00008682</a:t>
            </a:r>
            <a:r>
              <a:rPr lang="en-US" sz="4000" b="1" dirty="0"/>
              <a:t>5cb0</a:t>
            </a:r>
            <a:r>
              <a:rPr lang="en-US" sz="4000" b="1" dirty="0">
                <a:solidFill>
                  <a:schemeClr val="accent2"/>
                </a:solidFill>
              </a:rPr>
              <a:t>02</a:t>
            </a:r>
            <a:r>
              <a:rPr lang="en-US" sz="4000" b="1" dirty="0"/>
              <a:t>1b</a:t>
            </a:r>
          </a:p>
        </p:txBody>
      </p:sp>
    </p:spTree>
    <p:extLst>
      <p:ext uri="{BB962C8B-B14F-4D97-AF65-F5344CB8AC3E}">
        <p14:creationId xmlns:p14="http://schemas.microsoft.com/office/powerpoint/2010/main" val="334652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500"/>
                                        <p:tgtEl>
                                          <p:spTgt spid="3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3"/>
                                        </p:tgtEl>
                                        <p:attrNameLst>
                                          <p:attrName>style.visibility</p:attrName>
                                        </p:attrNameLst>
                                      </p:cBhvr>
                                      <p:to>
                                        <p:strVal val="visible"/>
                                      </p:to>
                                    </p:set>
                                    <p:animEffect transition="in" filter="fade">
                                      <p:cBhvr>
                                        <p:cTn id="12" dur="500"/>
                                        <p:tgtEl>
                                          <p:spTgt spid="3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4"/>
                                        </p:tgtEl>
                                        <p:attrNameLst>
                                          <p:attrName>style.visibility</p:attrName>
                                        </p:attrNameLst>
                                      </p:cBhvr>
                                      <p:to>
                                        <p:strVal val="visible"/>
                                      </p:to>
                                    </p:set>
                                    <p:animEffect transition="in" filter="fade">
                                      <p:cBhvr>
                                        <p:cTn id="17" dur="500"/>
                                        <p:tgtEl>
                                          <p:spTgt spid="34"/>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5"/>
                                        </p:tgtEl>
                                        <p:attrNameLst>
                                          <p:attrName>style.visibility</p:attrName>
                                        </p:attrNameLst>
                                      </p:cBhvr>
                                      <p:to>
                                        <p:strVal val="visible"/>
                                      </p:to>
                                    </p:set>
                                    <p:animEffect transition="in" filter="fade">
                                      <p:cBhvr>
                                        <p:cTn id="22" dur="500"/>
                                        <p:tgtEl>
                                          <p:spTgt spid="35"/>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6"/>
                                        </p:tgtEl>
                                        <p:attrNameLst>
                                          <p:attrName>style.visibility</p:attrName>
                                        </p:attrNameLst>
                                      </p:cBhvr>
                                      <p:to>
                                        <p:strVal val="visible"/>
                                      </p:to>
                                    </p:set>
                                    <p:animEffect transition="in" filter="fade">
                                      <p:cBhvr>
                                        <p:cTn id="27" dur="500"/>
                                        <p:tgtEl>
                                          <p:spTgt spid="36"/>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xit" presetSubtype="0" fill="hold" nodeType="clickEffect">
                                  <p:stCondLst>
                                    <p:cond delay="0"/>
                                  </p:stCondLst>
                                  <p:childTnLst>
                                    <p:animEffect transition="out" filter="fade">
                                      <p:cBhvr>
                                        <p:cTn id="31" dur="500"/>
                                        <p:tgtEl>
                                          <p:spTgt spid="32"/>
                                        </p:tgtEl>
                                      </p:cBhvr>
                                    </p:animEffect>
                                    <p:set>
                                      <p:cBhvr>
                                        <p:cTn id="32" dur="1" fill="hold">
                                          <p:stCondLst>
                                            <p:cond delay="499"/>
                                          </p:stCondLst>
                                        </p:cTn>
                                        <p:tgtEl>
                                          <p:spTgt spid="32"/>
                                        </p:tgtEl>
                                        <p:attrNameLst>
                                          <p:attrName>style.visibility</p:attrName>
                                        </p:attrNameLst>
                                      </p:cBhvr>
                                      <p:to>
                                        <p:strVal val="hidden"/>
                                      </p:to>
                                    </p:set>
                                  </p:childTnLst>
                                </p:cTn>
                              </p:par>
                              <p:par>
                                <p:cTn id="33" presetID="10" presetClass="exit" presetSubtype="0" fill="hold" nodeType="withEffect">
                                  <p:stCondLst>
                                    <p:cond delay="0"/>
                                  </p:stCondLst>
                                  <p:childTnLst>
                                    <p:animEffect transition="out" filter="fade">
                                      <p:cBhvr>
                                        <p:cTn id="34" dur="500"/>
                                        <p:tgtEl>
                                          <p:spTgt spid="33"/>
                                        </p:tgtEl>
                                      </p:cBhvr>
                                    </p:animEffect>
                                    <p:set>
                                      <p:cBhvr>
                                        <p:cTn id="35" dur="1" fill="hold">
                                          <p:stCondLst>
                                            <p:cond delay="499"/>
                                          </p:stCondLst>
                                        </p:cTn>
                                        <p:tgtEl>
                                          <p:spTgt spid="33"/>
                                        </p:tgtEl>
                                        <p:attrNameLst>
                                          <p:attrName>style.visibility</p:attrName>
                                        </p:attrNameLst>
                                      </p:cBhvr>
                                      <p:to>
                                        <p:strVal val="hidden"/>
                                      </p:to>
                                    </p:set>
                                  </p:childTnLst>
                                </p:cTn>
                              </p:par>
                              <p:par>
                                <p:cTn id="36" presetID="10" presetClass="exit" presetSubtype="0" fill="hold" nodeType="withEffect">
                                  <p:stCondLst>
                                    <p:cond delay="0"/>
                                  </p:stCondLst>
                                  <p:childTnLst>
                                    <p:animEffect transition="out" filter="fade">
                                      <p:cBhvr>
                                        <p:cTn id="37" dur="500"/>
                                        <p:tgtEl>
                                          <p:spTgt spid="34"/>
                                        </p:tgtEl>
                                      </p:cBhvr>
                                    </p:animEffect>
                                    <p:set>
                                      <p:cBhvr>
                                        <p:cTn id="38" dur="1" fill="hold">
                                          <p:stCondLst>
                                            <p:cond delay="499"/>
                                          </p:stCondLst>
                                        </p:cTn>
                                        <p:tgtEl>
                                          <p:spTgt spid="34"/>
                                        </p:tgtEl>
                                        <p:attrNameLst>
                                          <p:attrName>style.visibility</p:attrName>
                                        </p:attrNameLst>
                                      </p:cBhvr>
                                      <p:to>
                                        <p:strVal val="hidden"/>
                                      </p:to>
                                    </p:set>
                                  </p:childTnLst>
                                </p:cTn>
                              </p:par>
                              <p:par>
                                <p:cTn id="39" presetID="10" presetClass="exit" presetSubtype="0" fill="hold" nodeType="withEffect">
                                  <p:stCondLst>
                                    <p:cond delay="0"/>
                                  </p:stCondLst>
                                  <p:childTnLst>
                                    <p:animEffect transition="out" filter="fade">
                                      <p:cBhvr>
                                        <p:cTn id="40" dur="500"/>
                                        <p:tgtEl>
                                          <p:spTgt spid="35"/>
                                        </p:tgtEl>
                                      </p:cBhvr>
                                    </p:animEffect>
                                    <p:set>
                                      <p:cBhvr>
                                        <p:cTn id="41" dur="1" fill="hold">
                                          <p:stCondLst>
                                            <p:cond delay="499"/>
                                          </p:stCondLst>
                                        </p:cTn>
                                        <p:tgtEl>
                                          <p:spTgt spid="35"/>
                                        </p:tgtEl>
                                        <p:attrNameLst>
                                          <p:attrName>style.visibility</p:attrName>
                                        </p:attrNameLst>
                                      </p:cBhvr>
                                      <p:to>
                                        <p:strVal val="hidden"/>
                                      </p:to>
                                    </p:set>
                                  </p:childTnLst>
                                </p:cTn>
                              </p:par>
                              <p:par>
                                <p:cTn id="42" presetID="10" presetClass="exit" presetSubtype="0" fill="hold" nodeType="withEffect">
                                  <p:stCondLst>
                                    <p:cond delay="0"/>
                                  </p:stCondLst>
                                  <p:childTnLst>
                                    <p:animEffect transition="out" filter="fade">
                                      <p:cBhvr>
                                        <p:cTn id="43" dur="500"/>
                                        <p:tgtEl>
                                          <p:spTgt spid="36"/>
                                        </p:tgtEl>
                                      </p:cBhvr>
                                    </p:animEffect>
                                    <p:set>
                                      <p:cBhvr>
                                        <p:cTn id="44" dur="1" fill="hold">
                                          <p:stCondLst>
                                            <p:cond delay="499"/>
                                          </p:stCondLst>
                                        </p:cTn>
                                        <p:tgtEl>
                                          <p:spTgt spid="36"/>
                                        </p:tgtEl>
                                        <p:attrNameLst>
                                          <p:attrName>style.visibility</p:attrName>
                                        </p:attrNameLst>
                                      </p:cBhvr>
                                      <p:to>
                                        <p:strVal val="hidden"/>
                                      </p:to>
                                    </p:set>
                                  </p:childTnLst>
                                </p:cTn>
                              </p:par>
                            </p:childTnLst>
                          </p:cTn>
                        </p:par>
                        <p:par>
                          <p:cTn id="45" fill="hold">
                            <p:stCondLst>
                              <p:cond delay="500"/>
                            </p:stCondLst>
                            <p:childTnLst>
                              <p:par>
                                <p:cTn id="46" presetID="10" presetClass="entr" presetSubtype="0" fill="hold" nodeType="afterEffect">
                                  <p:stCondLst>
                                    <p:cond delay="0"/>
                                  </p:stCondLst>
                                  <p:childTnLst>
                                    <p:set>
                                      <p:cBhvr>
                                        <p:cTn id="47" dur="1" fill="hold">
                                          <p:stCondLst>
                                            <p:cond delay="0"/>
                                          </p:stCondLst>
                                        </p:cTn>
                                        <p:tgtEl>
                                          <p:spTgt spid="37"/>
                                        </p:tgtEl>
                                        <p:attrNameLst>
                                          <p:attrName>style.visibility</p:attrName>
                                        </p:attrNameLst>
                                      </p:cBhvr>
                                      <p:to>
                                        <p:strVal val="visible"/>
                                      </p:to>
                                    </p:set>
                                    <p:animEffect transition="in" filter="fade">
                                      <p:cBhvr>
                                        <p:cTn id="48" dur="500"/>
                                        <p:tgtEl>
                                          <p:spTgt spid="37"/>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0" nodeType="clickEffect">
                                  <p:stCondLst>
                                    <p:cond delay="0"/>
                                  </p:stCondLst>
                                  <p:childTnLst>
                                    <p:set>
                                      <p:cBhvr>
                                        <p:cTn id="52" dur="1" fill="hold">
                                          <p:stCondLst>
                                            <p:cond delay="0"/>
                                          </p:stCondLst>
                                        </p:cTn>
                                        <p:tgtEl>
                                          <p:spTgt spid="40"/>
                                        </p:tgtEl>
                                        <p:attrNameLst>
                                          <p:attrName>style.visibility</p:attrName>
                                        </p:attrNameLst>
                                      </p:cBhvr>
                                      <p:to>
                                        <p:strVal val="visible"/>
                                      </p:to>
                                    </p:set>
                                    <p:animEffect transition="in" filter="fade">
                                      <p:cBhvr>
                                        <p:cTn id="53"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B18156-6225-4F7E-872E-0ADDA52DCE9D}"/>
              </a:ext>
            </a:extLst>
          </p:cNvPr>
          <p:cNvSpPr>
            <a:spLocks noGrp="1"/>
          </p:cNvSpPr>
          <p:nvPr>
            <p:ph type="title"/>
          </p:nvPr>
        </p:nvSpPr>
        <p:spPr/>
        <p:txBody>
          <a:bodyPr/>
          <a:lstStyle/>
          <a:p>
            <a:r>
              <a:rPr lang="sv-SE" b="1" dirty="0" err="1"/>
              <a:t>Wireless</a:t>
            </a:r>
            <a:r>
              <a:rPr lang="sv-SE" b="1" dirty="0"/>
              <a:t> M-Bus</a:t>
            </a:r>
            <a:endParaRPr lang="en-US" dirty="0"/>
          </a:p>
        </p:txBody>
      </p:sp>
    </p:spTree>
    <p:extLst>
      <p:ext uri="{BB962C8B-B14F-4D97-AF65-F5344CB8AC3E}">
        <p14:creationId xmlns:p14="http://schemas.microsoft.com/office/powerpoint/2010/main" val="110712172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08D574-BF0A-4EEB-B339-6EA85904C3B2}"/>
              </a:ext>
            </a:extLst>
          </p:cNvPr>
          <p:cNvSpPr>
            <a:spLocks noGrp="1"/>
          </p:cNvSpPr>
          <p:nvPr>
            <p:ph type="title"/>
          </p:nvPr>
        </p:nvSpPr>
        <p:spPr/>
        <p:txBody>
          <a:bodyPr/>
          <a:lstStyle/>
          <a:p>
            <a:r>
              <a:rPr lang="sv-SE" dirty="0"/>
              <a:t>Day 2</a:t>
            </a:r>
          </a:p>
        </p:txBody>
      </p:sp>
      <p:sp>
        <p:nvSpPr>
          <p:cNvPr id="3" name="Content Placeholder 2">
            <a:extLst>
              <a:ext uri="{FF2B5EF4-FFF2-40B4-BE49-F238E27FC236}">
                <a16:creationId xmlns:a16="http://schemas.microsoft.com/office/drawing/2014/main" id="{1D683399-EE7E-472A-AADC-EF679476DB11}"/>
              </a:ext>
            </a:extLst>
          </p:cNvPr>
          <p:cNvSpPr>
            <a:spLocks noGrp="1"/>
          </p:cNvSpPr>
          <p:nvPr>
            <p:ph idx="1"/>
          </p:nvPr>
        </p:nvSpPr>
        <p:spPr>
          <a:xfrm>
            <a:off x="838200" y="1325563"/>
            <a:ext cx="10515600" cy="4851400"/>
          </a:xfrm>
        </p:spPr>
        <p:txBody>
          <a:bodyPr>
            <a:normAutofit lnSpcReduction="10000"/>
          </a:bodyPr>
          <a:lstStyle/>
          <a:p>
            <a:r>
              <a:rPr lang="sv-SE" dirty="0"/>
              <a:t>Day 1 Recap</a:t>
            </a:r>
          </a:p>
          <a:p>
            <a:r>
              <a:rPr lang="sv-SE" dirty="0"/>
              <a:t>Create IoT Hub and mSB Organization</a:t>
            </a:r>
          </a:p>
          <a:p>
            <a:r>
              <a:rPr lang="sv-SE" dirty="0"/>
              <a:t>Integrate Cisco Jasper</a:t>
            </a:r>
          </a:p>
          <a:p>
            <a:r>
              <a:rPr lang="sv-SE" dirty="0"/>
              <a:t>Provisioning new gateways</a:t>
            </a:r>
          </a:p>
          <a:p>
            <a:r>
              <a:rPr lang="sv-SE" dirty="0"/>
              <a:t>IoT Message Exchange Patterns</a:t>
            </a:r>
          </a:p>
          <a:p>
            <a:r>
              <a:rPr lang="sv-SE" dirty="0"/>
              <a:t>Common IoT </a:t>
            </a:r>
            <a:r>
              <a:rPr lang="sv-SE" dirty="0" err="1"/>
              <a:t>protocols</a:t>
            </a:r>
            <a:endParaRPr lang="sv-SE" dirty="0"/>
          </a:p>
          <a:p>
            <a:r>
              <a:rPr lang="sv-SE" b="1" dirty="0"/>
              <a:t>Build a real world sensor to cloud solution </a:t>
            </a:r>
          </a:p>
          <a:p>
            <a:pPr lvl="1"/>
            <a:r>
              <a:rPr lang="sv-SE" dirty="0">
                <a:solidFill>
                  <a:schemeClr val="tx1">
                    <a:lumMod val="50000"/>
                  </a:schemeClr>
                </a:solidFill>
              </a:rPr>
              <a:t>Lab</a:t>
            </a:r>
          </a:p>
          <a:p>
            <a:pPr lvl="2"/>
            <a:r>
              <a:rPr lang="sv-SE" dirty="0">
                <a:solidFill>
                  <a:schemeClr val="tx1">
                    <a:lumMod val="50000"/>
                  </a:schemeClr>
                </a:solidFill>
              </a:rPr>
              <a:t>1. </a:t>
            </a:r>
            <a:r>
              <a:rPr lang="sv-SE" dirty="0" err="1">
                <a:solidFill>
                  <a:schemeClr val="tx1">
                    <a:lumMod val="50000"/>
                  </a:schemeClr>
                </a:solidFill>
              </a:rPr>
              <a:t>Receive</a:t>
            </a:r>
            <a:r>
              <a:rPr lang="sv-SE" dirty="0">
                <a:solidFill>
                  <a:schemeClr val="tx1">
                    <a:lumMod val="50000"/>
                  </a:schemeClr>
                </a:solidFill>
              </a:rPr>
              <a:t> </a:t>
            </a:r>
            <a:r>
              <a:rPr lang="sv-SE" dirty="0" err="1">
                <a:solidFill>
                  <a:schemeClr val="tx1">
                    <a:lumMod val="50000"/>
                  </a:schemeClr>
                </a:solidFill>
              </a:rPr>
              <a:t>whitelist</a:t>
            </a:r>
            <a:r>
              <a:rPr lang="sv-SE" dirty="0">
                <a:solidFill>
                  <a:schemeClr val="tx1">
                    <a:lumMod val="50000"/>
                  </a:schemeClr>
                </a:solidFill>
              </a:rPr>
              <a:t> </a:t>
            </a:r>
            <a:r>
              <a:rPr lang="sv-SE" dirty="0" err="1">
                <a:solidFill>
                  <a:schemeClr val="tx1">
                    <a:lumMod val="50000"/>
                  </a:schemeClr>
                </a:solidFill>
              </a:rPr>
              <a:t>through</a:t>
            </a:r>
            <a:r>
              <a:rPr lang="sv-SE" dirty="0">
                <a:solidFill>
                  <a:schemeClr val="tx1">
                    <a:lumMod val="50000"/>
                  </a:schemeClr>
                </a:solidFill>
              </a:rPr>
              <a:t> state</a:t>
            </a:r>
          </a:p>
          <a:p>
            <a:pPr lvl="2"/>
            <a:r>
              <a:rPr lang="sv-SE" dirty="0">
                <a:solidFill>
                  <a:schemeClr val="tx1">
                    <a:lumMod val="50000"/>
                  </a:schemeClr>
                </a:solidFill>
              </a:rPr>
              <a:t>2. Read telegrams from sensors and send to </a:t>
            </a:r>
            <a:r>
              <a:rPr lang="sv-SE" dirty="0" err="1">
                <a:solidFill>
                  <a:schemeClr val="tx1">
                    <a:lumMod val="50000"/>
                  </a:schemeClr>
                </a:solidFill>
              </a:rPr>
              <a:t>cloud</a:t>
            </a:r>
            <a:endParaRPr lang="sv-SE" dirty="0">
              <a:solidFill>
                <a:schemeClr val="tx1">
                  <a:lumMod val="50000"/>
                </a:schemeClr>
              </a:solidFill>
            </a:endParaRPr>
          </a:p>
          <a:p>
            <a:pPr lvl="2"/>
            <a:r>
              <a:rPr lang="sv-SE" dirty="0">
                <a:solidFill>
                  <a:schemeClr val="tx1">
                    <a:lumMod val="50000"/>
                  </a:schemeClr>
                </a:solidFill>
              </a:rPr>
              <a:t>3. </a:t>
            </a:r>
            <a:r>
              <a:rPr lang="sv-SE" dirty="0" err="1">
                <a:solidFill>
                  <a:schemeClr val="tx1">
                    <a:lumMod val="50000"/>
                  </a:schemeClr>
                </a:solidFill>
              </a:rPr>
              <a:t>Create</a:t>
            </a:r>
            <a:r>
              <a:rPr lang="sv-SE" dirty="0">
                <a:solidFill>
                  <a:schemeClr val="tx1">
                    <a:lumMod val="50000"/>
                  </a:schemeClr>
                </a:solidFill>
              </a:rPr>
              <a:t> Azure Event </a:t>
            </a:r>
            <a:r>
              <a:rPr lang="sv-SE" dirty="0" err="1">
                <a:solidFill>
                  <a:schemeClr val="tx1">
                    <a:lumMod val="50000"/>
                  </a:schemeClr>
                </a:solidFill>
              </a:rPr>
              <a:t>Hub</a:t>
            </a:r>
            <a:r>
              <a:rPr lang="sv-SE" dirty="0">
                <a:solidFill>
                  <a:schemeClr val="tx1">
                    <a:lumMod val="50000"/>
                  </a:schemeClr>
                </a:solidFill>
              </a:rPr>
              <a:t> and </a:t>
            </a:r>
            <a:r>
              <a:rPr lang="sv-SE" dirty="0" err="1">
                <a:solidFill>
                  <a:schemeClr val="tx1">
                    <a:lumMod val="50000"/>
                  </a:schemeClr>
                </a:solidFill>
              </a:rPr>
              <a:t>Time</a:t>
            </a:r>
            <a:r>
              <a:rPr lang="sv-SE" dirty="0">
                <a:solidFill>
                  <a:schemeClr val="tx1">
                    <a:lumMod val="50000"/>
                  </a:schemeClr>
                </a:solidFill>
              </a:rPr>
              <a:t> Series </a:t>
            </a:r>
            <a:r>
              <a:rPr lang="sv-SE" dirty="0" err="1">
                <a:solidFill>
                  <a:schemeClr val="tx1">
                    <a:lumMod val="50000"/>
                  </a:schemeClr>
                </a:solidFill>
              </a:rPr>
              <a:t>Insight</a:t>
            </a:r>
            <a:endParaRPr lang="sv-SE" dirty="0">
              <a:solidFill>
                <a:schemeClr val="tx1">
                  <a:lumMod val="50000"/>
                </a:schemeClr>
              </a:solidFill>
            </a:endParaRPr>
          </a:p>
        </p:txBody>
      </p:sp>
    </p:spTree>
    <p:extLst>
      <p:ext uri="{BB962C8B-B14F-4D97-AF65-F5344CB8AC3E}">
        <p14:creationId xmlns:p14="http://schemas.microsoft.com/office/powerpoint/2010/main" val="317952598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232DF485-399E-4A9C-ADB8-E3CE4E0E30D1}"/>
              </a:ext>
            </a:extLst>
          </p:cNvPr>
          <p:cNvCxnSpPr>
            <a:cxnSpLocks/>
          </p:cNvCxnSpPr>
          <p:nvPr/>
        </p:nvCxnSpPr>
        <p:spPr>
          <a:xfrm flipH="1">
            <a:off x="1409700" y="3182567"/>
            <a:ext cx="9286875" cy="0"/>
          </a:xfrm>
          <a:prstGeom prst="line">
            <a:avLst/>
          </a:prstGeom>
          <a:noFill/>
          <a:ln w="57150" cap="rnd" cmpd="sng" algn="ctr">
            <a:gradFill flip="none" rotWithShape="1">
              <a:gsLst>
                <a:gs pos="0">
                  <a:srgbClr val="E4DED8">
                    <a:alpha val="11000"/>
                  </a:srgbClr>
                </a:gs>
                <a:gs pos="100000">
                  <a:srgbClr val="E4DED8"/>
                </a:gs>
              </a:gsLst>
              <a:lin ang="10800000" scaled="1"/>
              <a:tileRect/>
            </a:gradFill>
            <a:prstDash val="sysDot"/>
          </a:ln>
          <a:effectLst/>
        </p:spPr>
      </p:cxnSp>
      <p:sp>
        <p:nvSpPr>
          <p:cNvPr id="53" name="Rectangle 52">
            <a:extLst>
              <a:ext uri="{FF2B5EF4-FFF2-40B4-BE49-F238E27FC236}">
                <a16:creationId xmlns:a16="http://schemas.microsoft.com/office/drawing/2014/main" id="{CB5F7CA4-2959-417F-9B1E-E88ACCDD6EE0}"/>
              </a:ext>
            </a:extLst>
          </p:cNvPr>
          <p:cNvSpPr/>
          <p:nvPr/>
        </p:nvSpPr>
        <p:spPr>
          <a:xfrm>
            <a:off x="5293645" y="2709969"/>
            <a:ext cx="844653" cy="93344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5" name="Rectangle 54">
            <a:extLst>
              <a:ext uri="{FF2B5EF4-FFF2-40B4-BE49-F238E27FC236}">
                <a16:creationId xmlns:a16="http://schemas.microsoft.com/office/drawing/2014/main" id="{5A5B058F-C986-4AFF-AFC0-961F730BABFC}"/>
              </a:ext>
            </a:extLst>
          </p:cNvPr>
          <p:cNvSpPr/>
          <p:nvPr/>
        </p:nvSpPr>
        <p:spPr>
          <a:xfrm>
            <a:off x="7715794" y="2757250"/>
            <a:ext cx="952500" cy="93344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17AEDFEA-3407-4E31-A52C-8514DCE11534}"/>
              </a:ext>
            </a:extLst>
          </p:cNvPr>
          <p:cNvSpPr>
            <a:spLocks noGrp="1"/>
          </p:cNvSpPr>
          <p:nvPr>
            <p:ph type="title"/>
          </p:nvPr>
        </p:nvSpPr>
        <p:spPr/>
        <p:txBody>
          <a:bodyPr/>
          <a:lstStyle/>
          <a:p>
            <a:r>
              <a:rPr lang="en-US" dirty="0"/>
              <a:t>Getting Started</a:t>
            </a:r>
          </a:p>
        </p:txBody>
      </p:sp>
      <p:pic>
        <p:nvPicPr>
          <p:cNvPr id="5" name="Picture 4">
            <a:extLst>
              <a:ext uri="{FF2B5EF4-FFF2-40B4-BE49-F238E27FC236}">
                <a16:creationId xmlns:a16="http://schemas.microsoft.com/office/drawing/2014/main" id="{89499CBE-4D2E-46F9-81B0-A5B4D7AB27A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293646" y="2795579"/>
            <a:ext cx="780290" cy="780290"/>
          </a:xfrm>
          <a:prstGeom prst="rect">
            <a:avLst/>
          </a:prstGeom>
        </p:spPr>
      </p:pic>
      <p:sp>
        <p:nvSpPr>
          <p:cNvPr id="15" name="TextBox 14">
            <a:extLst>
              <a:ext uri="{FF2B5EF4-FFF2-40B4-BE49-F238E27FC236}">
                <a16:creationId xmlns:a16="http://schemas.microsoft.com/office/drawing/2014/main" id="{024F7907-3BD4-4F44-9C02-CA51CA681D35}"/>
              </a:ext>
            </a:extLst>
          </p:cNvPr>
          <p:cNvSpPr txBox="1"/>
          <p:nvPr/>
        </p:nvSpPr>
        <p:spPr>
          <a:xfrm>
            <a:off x="2590058" y="3698527"/>
            <a:ext cx="1272271"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Gateway</a:t>
            </a:r>
          </a:p>
        </p:txBody>
      </p:sp>
      <p:sp>
        <p:nvSpPr>
          <p:cNvPr id="17" name="TextBox 16">
            <a:extLst>
              <a:ext uri="{FF2B5EF4-FFF2-40B4-BE49-F238E27FC236}">
                <a16:creationId xmlns:a16="http://schemas.microsoft.com/office/drawing/2014/main" id="{7F02C229-6CCE-4AC8-AD3C-F5239C06A7D5}"/>
              </a:ext>
            </a:extLst>
          </p:cNvPr>
          <p:cNvSpPr txBox="1"/>
          <p:nvPr/>
        </p:nvSpPr>
        <p:spPr>
          <a:xfrm>
            <a:off x="7579959" y="3660482"/>
            <a:ext cx="1465145" cy="83099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Azur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Event Hub</a:t>
            </a:r>
          </a:p>
        </p:txBody>
      </p:sp>
      <p:sp>
        <p:nvSpPr>
          <p:cNvPr id="20" name="TextBox 19">
            <a:extLst>
              <a:ext uri="{FF2B5EF4-FFF2-40B4-BE49-F238E27FC236}">
                <a16:creationId xmlns:a16="http://schemas.microsoft.com/office/drawing/2014/main" id="{9D7FD65D-72CA-469A-8512-2532083742FC}"/>
              </a:ext>
            </a:extLst>
          </p:cNvPr>
          <p:cNvSpPr txBox="1"/>
          <p:nvPr/>
        </p:nvSpPr>
        <p:spPr>
          <a:xfrm>
            <a:off x="10186529" y="3621165"/>
            <a:ext cx="2006099"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Time Series Insight</a:t>
            </a:r>
          </a:p>
        </p:txBody>
      </p:sp>
      <p:grpSp>
        <p:nvGrpSpPr>
          <p:cNvPr id="3" name="Group 2">
            <a:extLst>
              <a:ext uri="{FF2B5EF4-FFF2-40B4-BE49-F238E27FC236}">
                <a16:creationId xmlns:a16="http://schemas.microsoft.com/office/drawing/2014/main" id="{0690DC7A-8759-4E83-B17D-A99715637442}"/>
              </a:ext>
            </a:extLst>
          </p:cNvPr>
          <p:cNvGrpSpPr/>
          <p:nvPr/>
        </p:nvGrpSpPr>
        <p:grpSpPr>
          <a:xfrm>
            <a:off x="3201170" y="4819262"/>
            <a:ext cx="2853858" cy="1213163"/>
            <a:chOff x="2268731" y="5175188"/>
            <a:chExt cx="2853858" cy="1213163"/>
          </a:xfrm>
        </p:grpSpPr>
        <p:pic>
          <p:nvPicPr>
            <p:cNvPr id="22" name="Picture 21">
              <a:extLst>
                <a:ext uri="{FF2B5EF4-FFF2-40B4-BE49-F238E27FC236}">
                  <a16:creationId xmlns:a16="http://schemas.microsoft.com/office/drawing/2014/main" id="{8CBE33A7-0E82-423E-8A72-836EE86F242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139374" y="5175188"/>
              <a:ext cx="799212" cy="799212"/>
            </a:xfrm>
            <a:prstGeom prst="rect">
              <a:avLst/>
            </a:prstGeom>
          </p:spPr>
        </p:pic>
        <p:sp>
          <p:nvSpPr>
            <p:cNvPr id="24" name="TextBox 23">
              <a:extLst>
                <a:ext uri="{FF2B5EF4-FFF2-40B4-BE49-F238E27FC236}">
                  <a16:creationId xmlns:a16="http://schemas.microsoft.com/office/drawing/2014/main" id="{F722BC97-64BE-4736-8105-3518AE7473E1}"/>
                </a:ext>
              </a:extLst>
            </p:cNvPr>
            <p:cNvSpPr txBox="1"/>
            <p:nvPr/>
          </p:nvSpPr>
          <p:spPr>
            <a:xfrm>
              <a:off x="2268731" y="5926686"/>
              <a:ext cx="2853858"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microServiceBus.com</a:t>
              </a:r>
            </a:p>
          </p:txBody>
        </p:sp>
      </p:grpSp>
      <p:cxnSp>
        <p:nvCxnSpPr>
          <p:cNvPr id="8" name="Connector: Elbow 7">
            <a:extLst>
              <a:ext uri="{FF2B5EF4-FFF2-40B4-BE49-F238E27FC236}">
                <a16:creationId xmlns:a16="http://schemas.microsoft.com/office/drawing/2014/main" id="{3648E49E-B3AC-403B-BD32-E7334297CF43}"/>
              </a:ext>
            </a:extLst>
          </p:cNvPr>
          <p:cNvCxnSpPr>
            <a:cxnSpLocks/>
            <a:stCxn id="15" idx="2"/>
          </p:cNvCxnSpPr>
          <p:nvPr/>
        </p:nvCxnSpPr>
        <p:spPr>
          <a:xfrm rot="16200000" flipH="1">
            <a:off x="3255115" y="4131271"/>
            <a:ext cx="1075364" cy="1133206"/>
          </a:xfrm>
          <a:prstGeom prst="bentConnector2">
            <a:avLst/>
          </a:prstGeom>
          <a:noFill/>
          <a:ln w="57150" cap="rnd" cmpd="sng" algn="ctr">
            <a:gradFill flip="none" rotWithShape="1">
              <a:gsLst>
                <a:gs pos="0">
                  <a:srgbClr val="E4DED8">
                    <a:alpha val="11000"/>
                  </a:srgbClr>
                </a:gs>
                <a:gs pos="100000">
                  <a:srgbClr val="E4DED8"/>
                </a:gs>
              </a:gsLst>
              <a:lin ang="10800000" scaled="1"/>
              <a:tileRect/>
            </a:gradFill>
            <a:prstDash val="sysDot"/>
          </a:ln>
          <a:effectLst/>
        </p:spPr>
      </p:cxnSp>
      <p:cxnSp>
        <p:nvCxnSpPr>
          <p:cNvPr id="31" name="Connector: Elbow 30">
            <a:extLst>
              <a:ext uri="{FF2B5EF4-FFF2-40B4-BE49-F238E27FC236}">
                <a16:creationId xmlns:a16="http://schemas.microsoft.com/office/drawing/2014/main" id="{3419E160-66D6-4271-831C-CE0F5332677C}"/>
              </a:ext>
            </a:extLst>
          </p:cNvPr>
          <p:cNvCxnSpPr>
            <a:cxnSpLocks/>
            <a:stCxn id="16" idx="2"/>
          </p:cNvCxnSpPr>
          <p:nvPr/>
        </p:nvCxnSpPr>
        <p:spPr>
          <a:xfrm rot="5400000">
            <a:off x="4813276" y="4330912"/>
            <a:ext cx="706033" cy="1034999"/>
          </a:xfrm>
          <a:prstGeom prst="bentConnector2">
            <a:avLst/>
          </a:prstGeom>
          <a:noFill/>
          <a:ln w="57150" cap="rnd" cmpd="sng" algn="ctr">
            <a:gradFill flip="none" rotWithShape="1">
              <a:gsLst>
                <a:gs pos="0">
                  <a:srgbClr val="E4DED8">
                    <a:alpha val="11000"/>
                  </a:srgbClr>
                </a:gs>
                <a:gs pos="100000">
                  <a:srgbClr val="E4DED8"/>
                </a:gs>
              </a:gsLst>
              <a:lin ang="10800000" scaled="1"/>
              <a:tileRect/>
            </a:gradFill>
            <a:prstDash val="sysDot"/>
          </a:ln>
          <a:effectLst/>
        </p:spPr>
      </p:cxnSp>
      <p:sp>
        <p:nvSpPr>
          <p:cNvPr id="29" name="Rectangle 28">
            <a:extLst>
              <a:ext uri="{FF2B5EF4-FFF2-40B4-BE49-F238E27FC236}">
                <a16:creationId xmlns:a16="http://schemas.microsoft.com/office/drawing/2014/main" id="{C3AB9319-71F6-47BF-B5CE-C04EA38E0FB4}"/>
              </a:ext>
            </a:extLst>
          </p:cNvPr>
          <p:cNvSpPr/>
          <p:nvPr/>
        </p:nvSpPr>
        <p:spPr>
          <a:xfrm>
            <a:off x="2394792" y="4098952"/>
            <a:ext cx="3929215" cy="259741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TextBox 15">
            <a:extLst>
              <a:ext uri="{FF2B5EF4-FFF2-40B4-BE49-F238E27FC236}">
                <a16:creationId xmlns:a16="http://schemas.microsoft.com/office/drawing/2014/main" id="{0AC0C095-2118-4F9C-8FEA-D83781F868DC}"/>
              </a:ext>
            </a:extLst>
          </p:cNvPr>
          <p:cNvSpPr txBox="1"/>
          <p:nvPr/>
        </p:nvSpPr>
        <p:spPr>
          <a:xfrm>
            <a:off x="5104145" y="3664398"/>
            <a:ext cx="1159292" cy="83099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Azur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IoT Hub</a:t>
            </a:r>
          </a:p>
        </p:txBody>
      </p:sp>
      <p:pic>
        <p:nvPicPr>
          <p:cNvPr id="4" name="Picture 3">
            <a:extLst>
              <a:ext uri="{FF2B5EF4-FFF2-40B4-BE49-F238E27FC236}">
                <a16:creationId xmlns:a16="http://schemas.microsoft.com/office/drawing/2014/main" id="{8A50E1DC-CB9F-421E-8677-D918D27A6A23}"/>
              </a:ext>
            </a:extLst>
          </p:cNvPr>
          <p:cNvPicPr>
            <a:picLocks noChangeAspect="1"/>
          </p:cNvPicPr>
          <p:nvPr/>
        </p:nvPicPr>
        <p:blipFill>
          <a:blip r:embed="rId4"/>
          <a:stretch>
            <a:fillRect/>
          </a:stretch>
        </p:blipFill>
        <p:spPr>
          <a:xfrm>
            <a:off x="568452" y="2830442"/>
            <a:ext cx="820146" cy="787064"/>
          </a:xfrm>
          <a:prstGeom prst="rect">
            <a:avLst/>
          </a:prstGeom>
        </p:spPr>
      </p:pic>
      <p:sp>
        <p:nvSpPr>
          <p:cNvPr id="23" name="Rectangle 22">
            <a:extLst>
              <a:ext uri="{FF2B5EF4-FFF2-40B4-BE49-F238E27FC236}">
                <a16:creationId xmlns:a16="http://schemas.microsoft.com/office/drawing/2014/main" id="{A0E34FAF-1AD7-4C04-BDAE-AAD3D0956E51}"/>
              </a:ext>
            </a:extLst>
          </p:cNvPr>
          <p:cNvSpPr/>
          <p:nvPr/>
        </p:nvSpPr>
        <p:spPr>
          <a:xfrm>
            <a:off x="2744864" y="2727033"/>
            <a:ext cx="952500" cy="93344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4" name="Picture 13">
            <a:extLst>
              <a:ext uri="{FF2B5EF4-FFF2-40B4-BE49-F238E27FC236}">
                <a16:creationId xmlns:a16="http://schemas.microsoft.com/office/drawing/2014/main" id="{D1B9E996-A190-4EB9-B1D9-711932ACC7D7}"/>
              </a:ext>
            </a:extLst>
          </p:cNvPr>
          <p:cNvPicPr>
            <a:picLocks noChangeAspect="1"/>
          </p:cNvPicPr>
          <p:nvPr/>
        </p:nvPicPr>
        <p:blipFill>
          <a:blip r:embed="rId5"/>
          <a:stretch>
            <a:fillRect/>
          </a:stretch>
        </p:blipFill>
        <p:spPr>
          <a:xfrm>
            <a:off x="2787068" y="2879400"/>
            <a:ext cx="828205" cy="594426"/>
          </a:xfrm>
          <a:prstGeom prst="rect">
            <a:avLst/>
          </a:prstGeom>
        </p:spPr>
      </p:pic>
      <p:sp>
        <p:nvSpPr>
          <p:cNvPr id="25" name="TextBox 24">
            <a:extLst>
              <a:ext uri="{FF2B5EF4-FFF2-40B4-BE49-F238E27FC236}">
                <a16:creationId xmlns:a16="http://schemas.microsoft.com/office/drawing/2014/main" id="{C3E994A3-9D53-47A9-96BA-99ACE8022AC2}"/>
              </a:ext>
            </a:extLst>
          </p:cNvPr>
          <p:cNvSpPr txBox="1"/>
          <p:nvPr/>
        </p:nvSpPr>
        <p:spPr>
          <a:xfrm>
            <a:off x="482675" y="3675433"/>
            <a:ext cx="1031052"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Sensor</a:t>
            </a:r>
          </a:p>
        </p:txBody>
      </p:sp>
      <p:pic>
        <p:nvPicPr>
          <p:cNvPr id="9" name="Picture 8">
            <a:extLst>
              <a:ext uri="{FF2B5EF4-FFF2-40B4-BE49-F238E27FC236}">
                <a16:creationId xmlns:a16="http://schemas.microsoft.com/office/drawing/2014/main" id="{10F602A7-7FD7-4484-AD3F-C9CB042AD19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772443" y="2777833"/>
            <a:ext cx="830997" cy="830997"/>
          </a:xfrm>
          <a:prstGeom prst="rect">
            <a:avLst/>
          </a:prstGeom>
        </p:spPr>
      </p:pic>
      <p:pic>
        <p:nvPicPr>
          <p:cNvPr id="4098" name="Picture 2" descr="Related image">
            <a:extLst>
              <a:ext uri="{FF2B5EF4-FFF2-40B4-BE49-F238E27FC236}">
                <a16:creationId xmlns:a16="http://schemas.microsoft.com/office/drawing/2014/main" id="{F1316530-56A6-4889-A5DB-355093ECC56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782300" y="2777833"/>
            <a:ext cx="783248" cy="7832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4513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repeatCount="indefinite"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left)">
                                      <p:cBhvr>
                                        <p:cTn id="7" dur="3500"/>
                                        <p:tgtEl>
                                          <p:spTgt spid="10"/>
                                        </p:tgtEl>
                                      </p:cBhvr>
                                    </p:animEffect>
                                  </p:childTnLst>
                                </p:cTn>
                              </p:par>
                              <p:par>
                                <p:cTn id="8" presetID="22" presetClass="entr" presetSubtype="4" repeatCount="indefinite" fill="hold"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wipe(down)">
                                      <p:cBhvr>
                                        <p:cTn id="10" dur="2500"/>
                                        <p:tgtEl>
                                          <p:spTgt spid="31"/>
                                        </p:tgtEl>
                                      </p:cBhvr>
                                    </p:animEffect>
                                  </p:childTnLst>
                                </p:cTn>
                              </p:par>
                              <p:par>
                                <p:cTn id="11" presetID="22" presetClass="entr" presetSubtype="4" repeatCount="indefinite" fill="hold"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wipe(down)">
                                      <p:cBhvr>
                                        <p:cTn id="13" dur="2500"/>
                                        <p:tgtEl>
                                          <p:spTgt spid="8"/>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xit" presetSubtype="0" fill="hold" grpId="0" nodeType="clickEffect">
                                  <p:stCondLst>
                                    <p:cond delay="0"/>
                                  </p:stCondLst>
                                  <p:childTnLst>
                                    <p:animEffect transition="out" filter="fade">
                                      <p:cBhvr>
                                        <p:cTn id="17" dur="500"/>
                                        <p:tgtEl>
                                          <p:spTgt spid="29"/>
                                        </p:tgtEl>
                                      </p:cBhvr>
                                    </p:animEffect>
                                    <p:set>
                                      <p:cBhvr>
                                        <p:cTn id="18" dur="1" fill="hold">
                                          <p:stCondLst>
                                            <p:cond delay="499"/>
                                          </p:stCondLst>
                                        </p:cTn>
                                        <p:tgtEl>
                                          <p:spTgt spid="2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08D574-BF0A-4EEB-B339-6EA85904C3B2}"/>
              </a:ext>
            </a:extLst>
          </p:cNvPr>
          <p:cNvSpPr>
            <a:spLocks noGrp="1"/>
          </p:cNvSpPr>
          <p:nvPr>
            <p:ph type="title"/>
          </p:nvPr>
        </p:nvSpPr>
        <p:spPr/>
        <p:txBody>
          <a:bodyPr/>
          <a:lstStyle/>
          <a:p>
            <a:r>
              <a:rPr lang="sv-SE" b="1" dirty="0" err="1"/>
              <a:t>Build</a:t>
            </a:r>
            <a:r>
              <a:rPr lang="sv-SE" b="1" dirty="0"/>
              <a:t> a real </a:t>
            </a:r>
            <a:r>
              <a:rPr lang="sv-SE" b="1" dirty="0" err="1"/>
              <a:t>world</a:t>
            </a:r>
            <a:r>
              <a:rPr lang="sv-SE" b="1" dirty="0"/>
              <a:t> sensor to </a:t>
            </a:r>
            <a:r>
              <a:rPr lang="sv-SE" b="1" dirty="0" err="1"/>
              <a:t>cloud</a:t>
            </a:r>
            <a:r>
              <a:rPr lang="sv-SE" b="1" dirty="0"/>
              <a:t> solution </a:t>
            </a:r>
          </a:p>
        </p:txBody>
      </p:sp>
      <p:sp>
        <p:nvSpPr>
          <p:cNvPr id="3" name="Content Placeholder 2">
            <a:extLst>
              <a:ext uri="{FF2B5EF4-FFF2-40B4-BE49-F238E27FC236}">
                <a16:creationId xmlns:a16="http://schemas.microsoft.com/office/drawing/2014/main" id="{1D683399-EE7E-472A-AADC-EF679476DB11}"/>
              </a:ext>
            </a:extLst>
          </p:cNvPr>
          <p:cNvSpPr>
            <a:spLocks noGrp="1"/>
          </p:cNvSpPr>
          <p:nvPr>
            <p:ph idx="1"/>
          </p:nvPr>
        </p:nvSpPr>
        <p:spPr>
          <a:xfrm>
            <a:off x="740664" y="1891442"/>
            <a:ext cx="10515600" cy="3514661"/>
          </a:xfrm>
        </p:spPr>
        <p:txBody>
          <a:bodyPr>
            <a:normAutofit/>
          </a:bodyPr>
          <a:lstStyle/>
          <a:p>
            <a:pPr lvl="1"/>
            <a:r>
              <a:rPr lang="sv-SE" sz="3600" dirty="0"/>
              <a:t>Lab</a:t>
            </a:r>
          </a:p>
          <a:p>
            <a:pPr lvl="2"/>
            <a:r>
              <a:rPr lang="sv-SE" sz="3200" dirty="0"/>
              <a:t>1. </a:t>
            </a:r>
            <a:r>
              <a:rPr lang="sv-SE" sz="3200" dirty="0" err="1"/>
              <a:t>Receive</a:t>
            </a:r>
            <a:r>
              <a:rPr lang="sv-SE" sz="3200" dirty="0"/>
              <a:t> </a:t>
            </a:r>
            <a:r>
              <a:rPr lang="sv-SE" sz="3200" dirty="0" err="1"/>
              <a:t>whitelist</a:t>
            </a:r>
            <a:r>
              <a:rPr lang="sv-SE" sz="3200" dirty="0"/>
              <a:t> </a:t>
            </a:r>
            <a:r>
              <a:rPr lang="sv-SE" sz="3200" dirty="0" err="1"/>
              <a:t>through</a:t>
            </a:r>
            <a:r>
              <a:rPr lang="sv-SE" sz="3200" dirty="0"/>
              <a:t> state</a:t>
            </a:r>
          </a:p>
          <a:p>
            <a:pPr lvl="2"/>
            <a:r>
              <a:rPr lang="sv-SE" sz="3200" dirty="0"/>
              <a:t>2. Read telegrams from sensors and send to </a:t>
            </a:r>
            <a:r>
              <a:rPr lang="sv-SE" sz="3200" dirty="0" err="1"/>
              <a:t>cloud</a:t>
            </a:r>
            <a:endParaRPr lang="sv-SE" sz="3200" dirty="0">
              <a:solidFill>
                <a:schemeClr val="tx1">
                  <a:lumMod val="50000"/>
                </a:schemeClr>
              </a:solidFill>
            </a:endParaRPr>
          </a:p>
          <a:p>
            <a:pPr lvl="2"/>
            <a:r>
              <a:rPr lang="sv-SE" sz="3200" dirty="0"/>
              <a:t>3. </a:t>
            </a:r>
            <a:r>
              <a:rPr lang="sv-SE" sz="3200" dirty="0" err="1"/>
              <a:t>Create</a:t>
            </a:r>
            <a:r>
              <a:rPr lang="sv-SE" sz="3200" dirty="0"/>
              <a:t> Azure Event </a:t>
            </a:r>
            <a:r>
              <a:rPr lang="sv-SE" sz="3200" dirty="0" err="1"/>
              <a:t>Hub</a:t>
            </a:r>
            <a:r>
              <a:rPr lang="sv-SE" sz="3200" dirty="0"/>
              <a:t> and </a:t>
            </a:r>
            <a:r>
              <a:rPr lang="sv-SE" sz="3200" dirty="0" err="1"/>
              <a:t>Time</a:t>
            </a:r>
            <a:r>
              <a:rPr lang="sv-SE" sz="3200" dirty="0"/>
              <a:t> Series </a:t>
            </a:r>
            <a:r>
              <a:rPr lang="sv-SE" sz="3200" dirty="0" err="1"/>
              <a:t>Insight</a:t>
            </a:r>
            <a:endParaRPr lang="sv-SE" sz="3200" dirty="0"/>
          </a:p>
        </p:txBody>
      </p:sp>
    </p:spTree>
    <p:extLst>
      <p:ext uri="{BB962C8B-B14F-4D97-AF65-F5344CB8AC3E}">
        <p14:creationId xmlns:p14="http://schemas.microsoft.com/office/powerpoint/2010/main" val="260682588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75364E-F9E4-40CB-A4DC-0E8C1E394778}"/>
              </a:ext>
            </a:extLst>
          </p:cNvPr>
          <p:cNvSpPr>
            <a:spLocks noGrp="1"/>
          </p:cNvSpPr>
          <p:nvPr>
            <p:ph type="title"/>
          </p:nvPr>
        </p:nvSpPr>
        <p:spPr/>
        <p:txBody>
          <a:bodyPr/>
          <a:lstStyle/>
          <a:p>
            <a:r>
              <a:rPr lang="en-US" dirty="0"/>
              <a:t>Patterns and best practices</a:t>
            </a:r>
          </a:p>
        </p:txBody>
      </p:sp>
      <p:sp>
        <p:nvSpPr>
          <p:cNvPr id="81" name="Field gateway">
            <a:extLst>
              <a:ext uri="{FF2B5EF4-FFF2-40B4-BE49-F238E27FC236}">
                <a16:creationId xmlns:a16="http://schemas.microsoft.com/office/drawing/2014/main" id="{8260893D-346D-41DB-8A06-4C6D99CBA828}"/>
              </a:ext>
            </a:extLst>
          </p:cNvPr>
          <p:cNvSpPr/>
          <p:nvPr/>
        </p:nvSpPr>
        <p:spPr>
          <a:xfrm>
            <a:off x="166401" y="1607562"/>
            <a:ext cx="1710183" cy="5091730"/>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Gateways</a:t>
            </a:r>
            <a:endParaRPr kumimoji="0" lang="en-US" sz="1000" b="0" i="0" u="none" strike="noStrike" kern="0" cap="none" spc="0" normalizeH="0" baseline="0" noProof="0" dirty="0">
              <a:ln>
                <a:noFill/>
              </a:ln>
              <a:solidFill>
                <a:prstClr val="white">
                  <a:lumMod val="50000"/>
                </a:prstClr>
              </a:solidFill>
              <a:effectLst/>
              <a:uLnTx/>
              <a:uFillTx/>
              <a:latin typeface="Segoe UI Light" panose="020B0502040204020203" pitchFamily="34" charset="0"/>
              <a:ea typeface="Segoe UI" pitchFamily="34" charset="0"/>
              <a:cs typeface="Segoe UI Light" panose="020B0502040204020203" pitchFamily="34" charset="0"/>
            </a:endParaRPr>
          </a:p>
        </p:txBody>
      </p:sp>
      <p:pic>
        <p:nvPicPr>
          <p:cNvPr id="82" name="Picture 2" descr="GÃRLITZ - Zur Startseite">
            <a:extLst>
              <a:ext uri="{FF2B5EF4-FFF2-40B4-BE49-F238E27FC236}">
                <a16:creationId xmlns:a16="http://schemas.microsoft.com/office/drawing/2014/main" id="{B8697989-B2B7-48FD-91DE-FC2E2881BFE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99897" y="3972880"/>
            <a:ext cx="887933" cy="180547"/>
          </a:xfrm>
          <a:prstGeom prst="rect">
            <a:avLst/>
          </a:prstGeom>
          <a:noFill/>
          <a:extLst>
            <a:ext uri="{909E8E84-426E-40DD-AFC4-6F175D3DCCD1}">
              <a14:hiddenFill xmlns:a14="http://schemas.microsoft.com/office/drawing/2010/main">
                <a:solidFill>
                  <a:srgbClr val="FFFFFF"/>
                </a:solidFill>
              </a14:hiddenFill>
            </a:ext>
          </a:extLst>
        </p:spPr>
      </p:pic>
      <p:pic>
        <p:nvPicPr>
          <p:cNvPr id="83" name="Picture 82">
            <a:extLst>
              <a:ext uri="{FF2B5EF4-FFF2-40B4-BE49-F238E27FC236}">
                <a16:creationId xmlns:a16="http://schemas.microsoft.com/office/drawing/2014/main" id="{6570B60A-1784-4979-BF5C-6E652BC93B29}"/>
              </a:ext>
            </a:extLst>
          </p:cNvPr>
          <p:cNvPicPr>
            <a:picLocks noChangeAspect="1"/>
          </p:cNvPicPr>
          <p:nvPr/>
        </p:nvPicPr>
        <p:blipFill>
          <a:blip r:embed="rId3"/>
          <a:stretch>
            <a:fillRect/>
          </a:stretch>
        </p:blipFill>
        <p:spPr>
          <a:xfrm>
            <a:off x="499897" y="3553248"/>
            <a:ext cx="887933" cy="271766"/>
          </a:xfrm>
          <a:prstGeom prst="rect">
            <a:avLst/>
          </a:prstGeom>
        </p:spPr>
      </p:pic>
      <p:pic>
        <p:nvPicPr>
          <p:cNvPr id="84" name="Picture 83">
            <a:extLst>
              <a:ext uri="{FF2B5EF4-FFF2-40B4-BE49-F238E27FC236}">
                <a16:creationId xmlns:a16="http://schemas.microsoft.com/office/drawing/2014/main" id="{B7D36A45-0A15-4DC6-96C3-2B096D648F77}"/>
              </a:ext>
            </a:extLst>
          </p:cNvPr>
          <p:cNvPicPr>
            <a:picLocks noChangeAspect="1"/>
          </p:cNvPicPr>
          <p:nvPr/>
        </p:nvPicPr>
        <p:blipFill>
          <a:blip r:embed="rId4"/>
          <a:stretch>
            <a:fillRect/>
          </a:stretch>
        </p:blipFill>
        <p:spPr>
          <a:xfrm>
            <a:off x="311359" y="4285304"/>
            <a:ext cx="1265009" cy="207378"/>
          </a:xfrm>
          <a:prstGeom prst="rect">
            <a:avLst/>
          </a:prstGeom>
        </p:spPr>
      </p:pic>
      <p:sp>
        <p:nvSpPr>
          <p:cNvPr id="98" name="Field gateway">
            <a:extLst>
              <a:ext uri="{FF2B5EF4-FFF2-40B4-BE49-F238E27FC236}">
                <a16:creationId xmlns:a16="http://schemas.microsoft.com/office/drawing/2014/main" id="{B6B1FDC5-FD64-49EB-9D65-257521A62442}"/>
              </a:ext>
            </a:extLst>
          </p:cNvPr>
          <p:cNvSpPr/>
          <p:nvPr/>
        </p:nvSpPr>
        <p:spPr>
          <a:xfrm>
            <a:off x="10311644" y="1615030"/>
            <a:ext cx="1707336" cy="5091730"/>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Business applications</a:t>
            </a:r>
            <a:endParaRPr kumimoji="0" lang="en-US" sz="1000" b="0" i="0" u="none" strike="noStrike" kern="0" cap="none" spc="0" normalizeH="0" baseline="0" noProof="0" dirty="0">
              <a:ln>
                <a:noFill/>
              </a:ln>
              <a:solidFill>
                <a:prstClr val="white">
                  <a:lumMod val="50000"/>
                </a:prstClr>
              </a:solidFill>
              <a:effectLst/>
              <a:uLnTx/>
              <a:uFillTx/>
              <a:latin typeface="Segoe UI Light" panose="020B0502040204020203" pitchFamily="34" charset="0"/>
              <a:ea typeface="Segoe UI" pitchFamily="34" charset="0"/>
              <a:cs typeface="Segoe UI Light" panose="020B0502040204020203" pitchFamily="34" charset="0"/>
            </a:endParaRPr>
          </a:p>
        </p:txBody>
      </p:sp>
      <p:pic>
        <p:nvPicPr>
          <p:cNvPr id="99" name="Picture 98">
            <a:extLst>
              <a:ext uri="{FF2B5EF4-FFF2-40B4-BE49-F238E27FC236}">
                <a16:creationId xmlns:a16="http://schemas.microsoft.com/office/drawing/2014/main" id="{F3F9DBCD-9187-4011-9B89-DAADA9D29081}"/>
              </a:ext>
            </a:extLst>
          </p:cNvPr>
          <p:cNvPicPr>
            <a:picLocks noChangeAspect="1"/>
          </p:cNvPicPr>
          <p:nvPr/>
        </p:nvPicPr>
        <p:blipFill>
          <a:blip r:embed="rId5"/>
          <a:stretch>
            <a:fillRect/>
          </a:stretch>
        </p:blipFill>
        <p:spPr>
          <a:xfrm>
            <a:off x="10851971" y="4550090"/>
            <a:ext cx="626682" cy="608345"/>
          </a:xfrm>
          <a:prstGeom prst="rect">
            <a:avLst/>
          </a:prstGeom>
        </p:spPr>
      </p:pic>
      <p:grpSp>
        <p:nvGrpSpPr>
          <p:cNvPr id="100" name="Group 99">
            <a:extLst>
              <a:ext uri="{FF2B5EF4-FFF2-40B4-BE49-F238E27FC236}">
                <a16:creationId xmlns:a16="http://schemas.microsoft.com/office/drawing/2014/main" id="{2251B59A-BA52-46F9-AED3-0E27337D7B4A}"/>
              </a:ext>
            </a:extLst>
          </p:cNvPr>
          <p:cNvGrpSpPr/>
          <p:nvPr/>
        </p:nvGrpSpPr>
        <p:grpSpPr>
          <a:xfrm>
            <a:off x="3576670" y="1607845"/>
            <a:ext cx="1232823" cy="1102045"/>
            <a:chOff x="3759554" y="1941090"/>
            <a:chExt cx="1232823" cy="1102045"/>
          </a:xfrm>
        </p:grpSpPr>
        <p:sp>
          <p:nvSpPr>
            <p:cNvPr id="101" name="Field gateway">
              <a:extLst>
                <a:ext uri="{FF2B5EF4-FFF2-40B4-BE49-F238E27FC236}">
                  <a16:creationId xmlns:a16="http://schemas.microsoft.com/office/drawing/2014/main" id="{99FCCC0F-82BC-4EAB-B41D-E4008CEE7F38}"/>
                </a:ext>
              </a:extLst>
            </p:cNvPr>
            <p:cNvSpPr/>
            <p:nvPr/>
          </p:nvSpPr>
          <p:spPr>
            <a:xfrm>
              <a:off x="4047368" y="1941090"/>
              <a:ext cx="945009" cy="1102045"/>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Event Hubs</a:t>
              </a:r>
              <a:endParaRPr kumimoji="0" lang="en-US" sz="1000" b="0" i="0" u="none" strike="noStrike" kern="0" cap="none" spc="0" normalizeH="0" baseline="0" noProof="0" dirty="0">
                <a:ln>
                  <a:noFill/>
                </a:ln>
                <a:solidFill>
                  <a:prstClr val="white">
                    <a:lumMod val="50000"/>
                  </a:prstClr>
                </a:solidFill>
                <a:effectLst/>
                <a:uLnTx/>
                <a:uFillTx/>
                <a:latin typeface="Segoe UI Light" panose="020B0502040204020203" pitchFamily="34" charset="0"/>
                <a:ea typeface="Segoe UI" pitchFamily="34" charset="0"/>
                <a:cs typeface="Segoe UI Light" panose="020B0502040204020203" pitchFamily="34" charset="0"/>
              </a:endParaRPr>
            </a:p>
          </p:txBody>
        </p:sp>
        <p:pic>
          <p:nvPicPr>
            <p:cNvPr id="102" name="Picture 101">
              <a:extLst>
                <a:ext uri="{FF2B5EF4-FFF2-40B4-BE49-F238E27FC236}">
                  <a16:creationId xmlns:a16="http://schemas.microsoft.com/office/drawing/2014/main" id="{EDD51C4A-BF7D-4CD6-9A06-ACBD843A1B1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295095" y="2093257"/>
              <a:ext cx="513736" cy="513736"/>
            </a:xfrm>
            <a:prstGeom prst="rect">
              <a:avLst/>
            </a:prstGeom>
          </p:spPr>
        </p:pic>
        <p:sp>
          <p:nvSpPr>
            <p:cNvPr id="103" name="Isosceles Triangle 102">
              <a:extLst>
                <a:ext uri="{FF2B5EF4-FFF2-40B4-BE49-F238E27FC236}">
                  <a16:creationId xmlns:a16="http://schemas.microsoft.com/office/drawing/2014/main" id="{28EC0258-F3FA-4701-9F8B-79D64976E24A}"/>
                </a:ext>
              </a:extLst>
            </p:cNvPr>
            <p:cNvSpPr/>
            <p:nvPr/>
          </p:nvSpPr>
          <p:spPr bwMode="auto">
            <a:xfrm rot="5400000">
              <a:off x="3678182" y="2383976"/>
              <a:ext cx="390145" cy="227402"/>
            </a:xfrm>
            <a:prstGeom prst="triangle">
              <a:avLst/>
            </a:prstGeom>
            <a:solidFill>
              <a:srgbClr val="B9D80A"/>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17">
                      <a:srgbClr val="B9D80A"/>
                    </a:gs>
                    <a:gs pos="100000">
                      <a:srgbClr val="B9D80A"/>
                    </a:gs>
                  </a:gsLst>
                  <a:lin ang="5400000" scaled="0"/>
                </a:gradFill>
                <a:effectLst/>
                <a:uLnTx/>
                <a:uFillTx/>
                <a:latin typeface="Segoe UI"/>
                <a:ea typeface="+mn-ea"/>
                <a:cs typeface="+mn-cs"/>
              </a:endParaRPr>
            </a:p>
          </p:txBody>
        </p:sp>
      </p:grpSp>
      <p:grpSp>
        <p:nvGrpSpPr>
          <p:cNvPr id="104" name="Group 103">
            <a:extLst>
              <a:ext uri="{FF2B5EF4-FFF2-40B4-BE49-F238E27FC236}">
                <a16:creationId xmlns:a16="http://schemas.microsoft.com/office/drawing/2014/main" id="{6539E3EC-53F4-41DE-8DE2-96BB6D662325}"/>
              </a:ext>
            </a:extLst>
          </p:cNvPr>
          <p:cNvGrpSpPr/>
          <p:nvPr/>
        </p:nvGrpSpPr>
        <p:grpSpPr>
          <a:xfrm>
            <a:off x="4879027" y="1607845"/>
            <a:ext cx="1221147" cy="1102045"/>
            <a:chOff x="5061911" y="1941090"/>
            <a:chExt cx="1221147" cy="1102045"/>
          </a:xfrm>
        </p:grpSpPr>
        <p:sp>
          <p:nvSpPr>
            <p:cNvPr id="105" name="Field gateway">
              <a:extLst>
                <a:ext uri="{FF2B5EF4-FFF2-40B4-BE49-F238E27FC236}">
                  <a16:creationId xmlns:a16="http://schemas.microsoft.com/office/drawing/2014/main" id="{283045DC-9115-4C87-B961-69EFC4CB2E7A}"/>
                </a:ext>
              </a:extLst>
            </p:cNvPr>
            <p:cNvSpPr/>
            <p:nvPr/>
          </p:nvSpPr>
          <p:spPr>
            <a:xfrm>
              <a:off x="5338049" y="1941090"/>
              <a:ext cx="945009" cy="1102045"/>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Functions</a:t>
              </a:r>
              <a:endParaRPr kumimoji="0" lang="en-US" sz="1000" b="0" i="0" u="none" strike="noStrike" kern="0" cap="none" spc="0" normalizeH="0" baseline="0" noProof="0" dirty="0">
                <a:ln>
                  <a:noFill/>
                </a:ln>
                <a:solidFill>
                  <a:prstClr val="white">
                    <a:lumMod val="50000"/>
                  </a:prstClr>
                </a:solidFill>
                <a:effectLst/>
                <a:uLnTx/>
                <a:uFillTx/>
                <a:latin typeface="Segoe UI Light" panose="020B0502040204020203" pitchFamily="34" charset="0"/>
                <a:ea typeface="Segoe UI" pitchFamily="34" charset="0"/>
                <a:cs typeface="Segoe UI Light" panose="020B0502040204020203" pitchFamily="34" charset="0"/>
              </a:endParaRPr>
            </a:p>
          </p:txBody>
        </p:sp>
        <p:pic>
          <p:nvPicPr>
            <p:cNvPr id="106" name="Picture 105">
              <a:extLst>
                <a:ext uri="{FF2B5EF4-FFF2-40B4-BE49-F238E27FC236}">
                  <a16:creationId xmlns:a16="http://schemas.microsoft.com/office/drawing/2014/main" id="{8F719176-1F51-4189-AD9E-4A68C67A761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548189" y="2093257"/>
              <a:ext cx="542254" cy="542254"/>
            </a:xfrm>
            <a:prstGeom prst="rect">
              <a:avLst/>
            </a:prstGeom>
          </p:spPr>
        </p:pic>
        <p:sp>
          <p:nvSpPr>
            <p:cNvPr id="107" name="Isosceles Triangle 106">
              <a:extLst>
                <a:ext uri="{FF2B5EF4-FFF2-40B4-BE49-F238E27FC236}">
                  <a16:creationId xmlns:a16="http://schemas.microsoft.com/office/drawing/2014/main" id="{06586D84-D884-46B8-B13B-6483AF2B0C35}"/>
                </a:ext>
              </a:extLst>
            </p:cNvPr>
            <p:cNvSpPr/>
            <p:nvPr/>
          </p:nvSpPr>
          <p:spPr bwMode="auto">
            <a:xfrm rot="5400000">
              <a:off x="4980539" y="2385431"/>
              <a:ext cx="390145" cy="227402"/>
            </a:xfrm>
            <a:prstGeom prst="triangle">
              <a:avLst/>
            </a:prstGeom>
            <a:solidFill>
              <a:srgbClr val="B9D80A"/>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17">
                      <a:srgbClr val="B9D80A"/>
                    </a:gs>
                    <a:gs pos="100000">
                      <a:srgbClr val="B9D80A"/>
                    </a:gs>
                  </a:gsLst>
                  <a:lin ang="5400000" scaled="0"/>
                </a:gradFill>
                <a:effectLst/>
                <a:uLnTx/>
                <a:uFillTx/>
                <a:latin typeface="Segoe UI"/>
                <a:ea typeface="+mn-ea"/>
                <a:cs typeface="+mn-cs"/>
              </a:endParaRPr>
            </a:p>
          </p:txBody>
        </p:sp>
      </p:grpSp>
      <p:grpSp>
        <p:nvGrpSpPr>
          <p:cNvPr id="108" name="Group 107">
            <a:extLst>
              <a:ext uri="{FF2B5EF4-FFF2-40B4-BE49-F238E27FC236}">
                <a16:creationId xmlns:a16="http://schemas.microsoft.com/office/drawing/2014/main" id="{E5604D6C-DF1A-4D8B-971D-395298FE435E}"/>
              </a:ext>
            </a:extLst>
          </p:cNvPr>
          <p:cNvGrpSpPr/>
          <p:nvPr/>
        </p:nvGrpSpPr>
        <p:grpSpPr>
          <a:xfrm>
            <a:off x="6181384" y="1607421"/>
            <a:ext cx="1206135" cy="1102045"/>
            <a:chOff x="6364268" y="1940666"/>
            <a:chExt cx="1206135" cy="1102045"/>
          </a:xfrm>
        </p:grpSpPr>
        <p:grpSp>
          <p:nvGrpSpPr>
            <p:cNvPr id="109" name="Group 108">
              <a:extLst>
                <a:ext uri="{FF2B5EF4-FFF2-40B4-BE49-F238E27FC236}">
                  <a16:creationId xmlns:a16="http://schemas.microsoft.com/office/drawing/2014/main" id="{F43F6E9C-CB8C-4B85-9542-ADF3BFC03ECF}"/>
                </a:ext>
              </a:extLst>
            </p:cNvPr>
            <p:cNvGrpSpPr/>
            <p:nvPr/>
          </p:nvGrpSpPr>
          <p:grpSpPr>
            <a:xfrm>
              <a:off x="6625394" y="1940666"/>
              <a:ext cx="945009" cy="1102045"/>
              <a:chOff x="7197411" y="2606224"/>
              <a:chExt cx="945009" cy="1102045"/>
            </a:xfrm>
          </p:grpSpPr>
          <p:sp>
            <p:nvSpPr>
              <p:cNvPr id="111" name="Field gateway">
                <a:extLst>
                  <a:ext uri="{FF2B5EF4-FFF2-40B4-BE49-F238E27FC236}">
                    <a16:creationId xmlns:a16="http://schemas.microsoft.com/office/drawing/2014/main" id="{F4C591B2-9B28-4E39-8567-0E27C6DDE394}"/>
                  </a:ext>
                </a:extLst>
              </p:cNvPr>
              <p:cNvSpPr/>
              <p:nvPr/>
            </p:nvSpPr>
            <p:spPr>
              <a:xfrm>
                <a:off x="7197411" y="2606224"/>
                <a:ext cx="945009" cy="1102045"/>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Event Hubs</a:t>
                </a:r>
                <a:endParaRPr kumimoji="0" lang="en-US" sz="1000" b="0" i="0" u="none" strike="noStrike" kern="0" cap="none" spc="0" normalizeH="0" baseline="0" noProof="0" dirty="0">
                  <a:ln>
                    <a:noFill/>
                  </a:ln>
                  <a:solidFill>
                    <a:prstClr val="white">
                      <a:lumMod val="50000"/>
                    </a:prstClr>
                  </a:solidFill>
                  <a:effectLst/>
                  <a:uLnTx/>
                  <a:uFillTx/>
                  <a:latin typeface="Segoe UI Light" panose="020B0502040204020203" pitchFamily="34" charset="0"/>
                  <a:ea typeface="Segoe UI" pitchFamily="34" charset="0"/>
                  <a:cs typeface="Segoe UI Light" panose="020B0502040204020203" pitchFamily="34" charset="0"/>
                </a:endParaRPr>
              </a:p>
            </p:txBody>
          </p:sp>
          <p:pic>
            <p:nvPicPr>
              <p:cNvPr id="112" name="Picture 111">
                <a:extLst>
                  <a:ext uri="{FF2B5EF4-FFF2-40B4-BE49-F238E27FC236}">
                    <a16:creationId xmlns:a16="http://schemas.microsoft.com/office/drawing/2014/main" id="{A0E6F43E-F2A9-453F-81E3-878B15DE82A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45138" y="2758391"/>
                <a:ext cx="513736" cy="513736"/>
              </a:xfrm>
              <a:prstGeom prst="rect">
                <a:avLst/>
              </a:prstGeom>
            </p:spPr>
          </p:pic>
        </p:grpSp>
        <p:sp>
          <p:nvSpPr>
            <p:cNvPr id="110" name="Isosceles Triangle 109">
              <a:extLst>
                <a:ext uri="{FF2B5EF4-FFF2-40B4-BE49-F238E27FC236}">
                  <a16:creationId xmlns:a16="http://schemas.microsoft.com/office/drawing/2014/main" id="{63C19E6F-DF64-4F01-871E-AC0D6283FDAF}"/>
                </a:ext>
              </a:extLst>
            </p:cNvPr>
            <p:cNvSpPr/>
            <p:nvPr/>
          </p:nvSpPr>
          <p:spPr bwMode="auto">
            <a:xfrm rot="5400000">
              <a:off x="6282896" y="2386886"/>
              <a:ext cx="390145" cy="227402"/>
            </a:xfrm>
            <a:prstGeom prst="triangle">
              <a:avLst/>
            </a:prstGeom>
            <a:solidFill>
              <a:srgbClr val="B9D80A"/>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17">
                      <a:srgbClr val="B9D80A"/>
                    </a:gs>
                    <a:gs pos="100000">
                      <a:srgbClr val="B9D80A"/>
                    </a:gs>
                  </a:gsLst>
                  <a:lin ang="5400000" scaled="0"/>
                </a:gradFill>
                <a:effectLst/>
                <a:uLnTx/>
                <a:uFillTx/>
                <a:latin typeface="Segoe UI"/>
                <a:ea typeface="+mn-ea"/>
                <a:cs typeface="+mn-cs"/>
              </a:endParaRPr>
            </a:p>
          </p:txBody>
        </p:sp>
      </p:grpSp>
      <p:grpSp>
        <p:nvGrpSpPr>
          <p:cNvPr id="113" name="Group 112">
            <a:extLst>
              <a:ext uri="{FF2B5EF4-FFF2-40B4-BE49-F238E27FC236}">
                <a16:creationId xmlns:a16="http://schemas.microsoft.com/office/drawing/2014/main" id="{0B9C7266-D61B-4245-ACF8-61C1017FCDAC}"/>
              </a:ext>
            </a:extLst>
          </p:cNvPr>
          <p:cNvGrpSpPr/>
          <p:nvPr/>
        </p:nvGrpSpPr>
        <p:grpSpPr>
          <a:xfrm>
            <a:off x="7466323" y="1607421"/>
            <a:ext cx="1208541" cy="1102045"/>
            <a:chOff x="7649207" y="1940666"/>
            <a:chExt cx="1208541" cy="1102045"/>
          </a:xfrm>
        </p:grpSpPr>
        <p:sp>
          <p:nvSpPr>
            <p:cNvPr id="114" name="Field gateway">
              <a:extLst>
                <a:ext uri="{FF2B5EF4-FFF2-40B4-BE49-F238E27FC236}">
                  <a16:creationId xmlns:a16="http://schemas.microsoft.com/office/drawing/2014/main" id="{85995C5B-2683-4367-8403-67C5037C8ABB}"/>
                </a:ext>
              </a:extLst>
            </p:cNvPr>
            <p:cNvSpPr/>
            <p:nvPr/>
          </p:nvSpPr>
          <p:spPr>
            <a:xfrm>
              <a:off x="7912739" y="1940666"/>
              <a:ext cx="945009" cy="1102045"/>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Functions</a:t>
              </a:r>
              <a:endParaRPr kumimoji="0" lang="en-US" sz="1000" b="0" i="0" u="none" strike="noStrike" kern="0" cap="none" spc="0" normalizeH="0" baseline="0" noProof="0" dirty="0">
                <a:ln>
                  <a:noFill/>
                </a:ln>
                <a:solidFill>
                  <a:prstClr val="white">
                    <a:lumMod val="50000"/>
                  </a:prstClr>
                </a:solidFill>
                <a:effectLst/>
                <a:uLnTx/>
                <a:uFillTx/>
                <a:latin typeface="Segoe UI Light" panose="020B0502040204020203" pitchFamily="34" charset="0"/>
                <a:ea typeface="Segoe UI" pitchFamily="34" charset="0"/>
                <a:cs typeface="Segoe UI Light" panose="020B0502040204020203" pitchFamily="34" charset="0"/>
              </a:endParaRPr>
            </a:p>
          </p:txBody>
        </p:sp>
        <p:pic>
          <p:nvPicPr>
            <p:cNvPr id="115" name="Picture 114">
              <a:extLst>
                <a:ext uri="{FF2B5EF4-FFF2-40B4-BE49-F238E27FC236}">
                  <a16:creationId xmlns:a16="http://schemas.microsoft.com/office/drawing/2014/main" id="{006FA953-87FE-465F-82F4-EC1EC07F617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122879" y="2092833"/>
              <a:ext cx="542254" cy="542254"/>
            </a:xfrm>
            <a:prstGeom prst="rect">
              <a:avLst/>
            </a:prstGeom>
          </p:spPr>
        </p:pic>
        <p:sp>
          <p:nvSpPr>
            <p:cNvPr id="116" name="Isosceles Triangle 115">
              <a:extLst>
                <a:ext uri="{FF2B5EF4-FFF2-40B4-BE49-F238E27FC236}">
                  <a16:creationId xmlns:a16="http://schemas.microsoft.com/office/drawing/2014/main" id="{402B2487-35BD-4940-842E-54A4276C86AD}"/>
                </a:ext>
              </a:extLst>
            </p:cNvPr>
            <p:cNvSpPr/>
            <p:nvPr/>
          </p:nvSpPr>
          <p:spPr bwMode="auto">
            <a:xfrm rot="5400000">
              <a:off x="7567835" y="2388341"/>
              <a:ext cx="390145" cy="227402"/>
            </a:xfrm>
            <a:prstGeom prst="triangle">
              <a:avLst/>
            </a:prstGeom>
            <a:solidFill>
              <a:srgbClr val="B9D80A"/>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17">
                      <a:srgbClr val="B9D80A"/>
                    </a:gs>
                    <a:gs pos="100000">
                      <a:srgbClr val="B9D80A"/>
                    </a:gs>
                  </a:gsLst>
                  <a:lin ang="5400000" scaled="0"/>
                </a:gradFill>
                <a:effectLst/>
                <a:uLnTx/>
                <a:uFillTx/>
                <a:latin typeface="Segoe UI"/>
                <a:ea typeface="+mn-ea"/>
                <a:cs typeface="+mn-cs"/>
              </a:endParaRPr>
            </a:p>
          </p:txBody>
        </p:sp>
      </p:grpSp>
      <p:grpSp>
        <p:nvGrpSpPr>
          <p:cNvPr id="117" name="Group 116">
            <a:extLst>
              <a:ext uri="{FF2B5EF4-FFF2-40B4-BE49-F238E27FC236}">
                <a16:creationId xmlns:a16="http://schemas.microsoft.com/office/drawing/2014/main" id="{BAD4756D-653A-4E44-AFC1-5C378BD6D67D}"/>
              </a:ext>
            </a:extLst>
          </p:cNvPr>
          <p:cNvGrpSpPr/>
          <p:nvPr/>
        </p:nvGrpSpPr>
        <p:grpSpPr>
          <a:xfrm>
            <a:off x="8768680" y="1607421"/>
            <a:ext cx="1193529" cy="1102045"/>
            <a:chOff x="8951564" y="1940666"/>
            <a:chExt cx="1193529" cy="1102045"/>
          </a:xfrm>
        </p:grpSpPr>
        <p:sp>
          <p:nvSpPr>
            <p:cNvPr id="118" name="Field gateway">
              <a:extLst>
                <a:ext uri="{FF2B5EF4-FFF2-40B4-BE49-F238E27FC236}">
                  <a16:creationId xmlns:a16="http://schemas.microsoft.com/office/drawing/2014/main" id="{3DA5CF36-3663-412A-8D9F-570DC4021561}"/>
                </a:ext>
              </a:extLst>
            </p:cNvPr>
            <p:cNvSpPr/>
            <p:nvPr/>
          </p:nvSpPr>
          <p:spPr>
            <a:xfrm>
              <a:off x="9200084" y="1940666"/>
              <a:ext cx="945009" cy="1102045"/>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Data</a:t>
              </a:r>
              <a:endParaRPr kumimoji="0" lang="en-US" sz="1000" b="0" i="0" u="none" strike="noStrike" kern="0" cap="none" spc="0" normalizeH="0" baseline="0" noProof="0" dirty="0">
                <a:ln>
                  <a:noFill/>
                </a:ln>
                <a:solidFill>
                  <a:prstClr val="white">
                    <a:lumMod val="50000"/>
                  </a:prstClr>
                </a:solidFill>
                <a:effectLst/>
                <a:uLnTx/>
                <a:uFillTx/>
                <a:latin typeface="Segoe UI Light" panose="020B0502040204020203" pitchFamily="34" charset="0"/>
                <a:ea typeface="Segoe UI" pitchFamily="34" charset="0"/>
                <a:cs typeface="Segoe UI Light" panose="020B0502040204020203" pitchFamily="34" charset="0"/>
              </a:endParaRPr>
            </a:p>
          </p:txBody>
        </p:sp>
        <p:pic>
          <p:nvPicPr>
            <p:cNvPr id="119" name="Picture 118">
              <a:extLst>
                <a:ext uri="{FF2B5EF4-FFF2-40B4-BE49-F238E27FC236}">
                  <a16:creationId xmlns:a16="http://schemas.microsoft.com/office/drawing/2014/main" id="{48E90983-8459-4E1E-8991-368BE66F5B32}"/>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420778" y="2092833"/>
              <a:ext cx="542254" cy="542254"/>
            </a:xfrm>
            <a:prstGeom prst="rect">
              <a:avLst/>
            </a:prstGeom>
          </p:spPr>
        </p:pic>
        <p:sp>
          <p:nvSpPr>
            <p:cNvPr id="120" name="Isosceles Triangle 119">
              <a:extLst>
                <a:ext uri="{FF2B5EF4-FFF2-40B4-BE49-F238E27FC236}">
                  <a16:creationId xmlns:a16="http://schemas.microsoft.com/office/drawing/2014/main" id="{E96D44F3-14A3-4C0C-94C5-4DBA602B2654}"/>
                </a:ext>
              </a:extLst>
            </p:cNvPr>
            <p:cNvSpPr/>
            <p:nvPr/>
          </p:nvSpPr>
          <p:spPr bwMode="auto">
            <a:xfrm rot="5400000">
              <a:off x="8870192" y="2389796"/>
              <a:ext cx="390145" cy="227402"/>
            </a:xfrm>
            <a:prstGeom prst="triangle">
              <a:avLst/>
            </a:prstGeom>
            <a:solidFill>
              <a:srgbClr val="B9D80A"/>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17">
                      <a:srgbClr val="B9D80A"/>
                    </a:gs>
                    <a:gs pos="100000">
                      <a:srgbClr val="B9D80A"/>
                    </a:gs>
                  </a:gsLst>
                  <a:lin ang="5400000" scaled="0"/>
                </a:gradFill>
                <a:effectLst/>
                <a:uLnTx/>
                <a:uFillTx/>
                <a:latin typeface="Segoe UI"/>
                <a:ea typeface="+mn-ea"/>
                <a:cs typeface="+mn-cs"/>
              </a:endParaRPr>
            </a:p>
          </p:txBody>
        </p:sp>
      </p:grpSp>
      <p:grpSp>
        <p:nvGrpSpPr>
          <p:cNvPr id="121" name="Group 120">
            <a:extLst>
              <a:ext uri="{FF2B5EF4-FFF2-40B4-BE49-F238E27FC236}">
                <a16:creationId xmlns:a16="http://schemas.microsoft.com/office/drawing/2014/main" id="{A0109AA5-B2D0-42D9-8E2C-A98EA7F3012E}"/>
              </a:ext>
            </a:extLst>
          </p:cNvPr>
          <p:cNvGrpSpPr/>
          <p:nvPr/>
        </p:nvGrpSpPr>
        <p:grpSpPr>
          <a:xfrm>
            <a:off x="2479839" y="3529853"/>
            <a:ext cx="4929110" cy="2472145"/>
            <a:chOff x="2660573" y="4026122"/>
            <a:chExt cx="4929110" cy="2472145"/>
          </a:xfrm>
        </p:grpSpPr>
        <p:sp>
          <p:nvSpPr>
            <p:cNvPr id="122" name="Field gateway">
              <a:extLst>
                <a:ext uri="{FF2B5EF4-FFF2-40B4-BE49-F238E27FC236}">
                  <a16:creationId xmlns:a16="http://schemas.microsoft.com/office/drawing/2014/main" id="{AA5CD6C2-4DA8-4A4B-BDF8-B9DEF0B23C1B}"/>
                </a:ext>
              </a:extLst>
            </p:cNvPr>
            <p:cNvSpPr/>
            <p:nvPr/>
          </p:nvSpPr>
          <p:spPr>
            <a:xfrm>
              <a:off x="2660573" y="4026123"/>
              <a:ext cx="945009" cy="2472144"/>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IoT Hubs</a:t>
              </a:r>
              <a:endParaRPr kumimoji="0" lang="en-US" sz="1000" b="0" i="0" u="none" strike="noStrike" kern="0" cap="none" spc="0" normalizeH="0" baseline="0" noProof="0" dirty="0">
                <a:ln>
                  <a:noFill/>
                </a:ln>
                <a:solidFill>
                  <a:prstClr val="white">
                    <a:lumMod val="50000"/>
                  </a:prstClr>
                </a:solidFill>
                <a:effectLst/>
                <a:uLnTx/>
                <a:uFillTx/>
                <a:latin typeface="Segoe UI Light" panose="020B0502040204020203" pitchFamily="34" charset="0"/>
                <a:ea typeface="Segoe UI" pitchFamily="34" charset="0"/>
                <a:cs typeface="Segoe UI Light" panose="020B0502040204020203" pitchFamily="34" charset="0"/>
              </a:endParaRPr>
            </a:p>
          </p:txBody>
        </p:sp>
        <p:pic>
          <p:nvPicPr>
            <p:cNvPr id="123" name="Picture 122">
              <a:extLst>
                <a:ext uri="{FF2B5EF4-FFF2-40B4-BE49-F238E27FC236}">
                  <a16:creationId xmlns:a16="http://schemas.microsoft.com/office/drawing/2014/main" id="{2E885813-67E8-4185-AE09-DABC24E79B04}"/>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868855" y="4801553"/>
              <a:ext cx="513736" cy="513736"/>
            </a:xfrm>
            <a:prstGeom prst="rect">
              <a:avLst/>
            </a:prstGeom>
          </p:spPr>
        </p:pic>
        <p:sp>
          <p:nvSpPr>
            <p:cNvPr id="124" name="Field gateway">
              <a:extLst>
                <a:ext uri="{FF2B5EF4-FFF2-40B4-BE49-F238E27FC236}">
                  <a16:creationId xmlns:a16="http://schemas.microsoft.com/office/drawing/2014/main" id="{58FB63DC-7749-41C3-9C2A-AB9F33B359ED}"/>
                </a:ext>
              </a:extLst>
            </p:cNvPr>
            <p:cNvSpPr/>
            <p:nvPr/>
          </p:nvSpPr>
          <p:spPr>
            <a:xfrm>
              <a:off x="4068548" y="4028582"/>
              <a:ext cx="945009" cy="1102045"/>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Event Hubs</a:t>
              </a:r>
              <a:endParaRPr kumimoji="0" lang="en-US" sz="1000" b="0" i="0" u="none" strike="noStrike" kern="0" cap="none" spc="0" normalizeH="0" baseline="0" noProof="0" dirty="0">
                <a:ln>
                  <a:noFill/>
                </a:ln>
                <a:solidFill>
                  <a:prstClr val="white">
                    <a:lumMod val="50000"/>
                  </a:prstClr>
                </a:solidFill>
                <a:effectLst/>
                <a:uLnTx/>
                <a:uFillTx/>
                <a:latin typeface="Segoe UI Light" panose="020B0502040204020203" pitchFamily="34" charset="0"/>
                <a:ea typeface="Segoe UI" pitchFamily="34" charset="0"/>
                <a:cs typeface="Segoe UI Light" panose="020B0502040204020203" pitchFamily="34" charset="0"/>
              </a:endParaRPr>
            </a:p>
          </p:txBody>
        </p:sp>
        <p:pic>
          <p:nvPicPr>
            <p:cNvPr id="125" name="Picture 124">
              <a:extLst>
                <a:ext uri="{FF2B5EF4-FFF2-40B4-BE49-F238E27FC236}">
                  <a16:creationId xmlns:a16="http://schemas.microsoft.com/office/drawing/2014/main" id="{B2A4BF26-B832-49E2-8C9C-3EB01E0F620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316275" y="4180749"/>
              <a:ext cx="513736" cy="513736"/>
            </a:xfrm>
            <a:prstGeom prst="rect">
              <a:avLst/>
            </a:prstGeom>
          </p:spPr>
        </p:pic>
        <p:sp>
          <p:nvSpPr>
            <p:cNvPr id="126" name="Field gateway">
              <a:extLst>
                <a:ext uri="{FF2B5EF4-FFF2-40B4-BE49-F238E27FC236}">
                  <a16:creationId xmlns:a16="http://schemas.microsoft.com/office/drawing/2014/main" id="{D2776C6D-ABC4-4851-B996-BF7476949BF7}"/>
                </a:ext>
              </a:extLst>
            </p:cNvPr>
            <p:cNvSpPr/>
            <p:nvPr/>
          </p:nvSpPr>
          <p:spPr>
            <a:xfrm>
              <a:off x="4066648" y="5396221"/>
              <a:ext cx="945009" cy="1102045"/>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Event Hubs</a:t>
              </a:r>
              <a:endParaRPr kumimoji="0" lang="en-US" sz="1000" b="0" i="0" u="none" strike="noStrike" kern="0" cap="none" spc="0" normalizeH="0" baseline="0" noProof="0" dirty="0">
                <a:ln>
                  <a:noFill/>
                </a:ln>
                <a:solidFill>
                  <a:prstClr val="white">
                    <a:lumMod val="50000"/>
                  </a:prstClr>
                </a:solidFill>
                <a:effectLst/>
                <a:uLnTx/>
                <a:uFillTx/>
                <a:latin typeface="Segoe UI Light" panose="020B0502040204020203" pitchFamily="34" charset="0"/>
                <a:ea typeface="Segoe UI" pitchFamily="34" charset="0"/>
                <a:cs typeface="Segoe UI Light" panose="020B0502040204020203" pitchFamily="34" charset="0"/>
              </a:endParaRPr>
            </a:p>
          </p:txBody>
        </p:sp>
        <p:pic>
          <p:nvPicPr>
            <p:cNvPr id="127" name="Picture 126">
              <a:extLst>
                <a:ext uri="{FF2B5EF4-FFF2-40B4-BE49-F238E27FC236}">
                  <a16:creationId xmlns:a16="http://schemas.microsoft.com/office/drawing/2014/main" id="{70156279-7AA9-43F8-BAD3-A61E01EF7DC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314375" y="5548388"/>
              <a:ext cx="513736" cy="513736"/>
            </a:xfrm>
            <a:prstGeom prst="rect">
              <a:avLst/>
            </a:prstGeom>
          </p:spPr>
        </p:pic>
        <p:sp>
          <p:nvSpPr>
            <p:cNvPr id="128" name="Field gateway">
              <a:extLst>
                <a:ext uri="{FF2B5EF4-FFF2-40B4-BE49-F238E27FC236}">
                  <a16:creationId xmlns:a16="http://schemas.microsoft.com/office/drawing/2014/main" id="{27D2238C-AD6B-45C2-80E6-6BC5721912A1}"/>
                </a:ext>
              </a:extLst>
            </p:cNvPr>
            <p:cNvSpPr/>
            <p:nvPr/>
          </p:nvSpPr>
          <p:spPr>
            <a:xfrm>
              <a:off x="5357329" y="4028582"/>
              <a:ext cx="945009" cy="1102045"/>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Functions</a:t>
              </a:r>
              <a:endParaRPr kumimoji="0" lang="en-US" sz="1000" b="0" i="0" u="none" strike="noStrike" kern="0" cap="none" spc="0" normalizeH="0" baseline="0" noProof="0" dirty="0">
                <a:ln>
                  <a:noFill/>
                </a:ln>
                <a:solidFill>
                  <a:prstClr val="white">
                    <a:lumMod val="50000"/>
                  </a:prstClr>
                </a:solidFill>
                <a:effectLst/>
                <a:uLnTx/>
                <a:uFillTx/>
                <a:latin typeface="Segoe UI Light" panose="020B0502040204020203" pitchFamily="34" charset="0"/>
                <a:ea typeface="Segoe UI" pitchFamily="34" charset="0"/>
                <a:cs typeface="Segoe UI Light" panose="020B0502040204020203" pitchFamily="34" charset="0"/>
              </a:endParaRPr>
            </a:p>
          </p:txBody>
        </p:sp>
        <p:pic>
          <p:nvPicPr>
            <p:cNvPr id="129" name="Picture 128">
              <a:extLst>
                <a:ext uri="{FF2B5EF4-FFF2-40B4-BE49-F238E27FC236}">
                  <a16:creationId xmlns:a16="http://schemas.microsoft.com/office/drawing/2014/main" id="{159F0A6D-4968-4A64-A8B0-D6FA0B6B435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567469" y="4180749"/>
              <a:ext cx="542254" cy="542254"/>
            </a:xfrm>
            <a:prstGeom prst="rect">
              <a:avLst/>
            </a:prstGeom>
          </p:spPr>
        </p:pic>
        <p:sp>
          <p:nvSpPr>
            <p:cNvPr id="130" name="Field gateway">
              <a:extLst>
                <a:ext uri="{FF2B5EF4-FFF2-40B4-BE49-F238E27FC236}">
                  <a16:creationId xmlns:a16="http://schemas.microsoft.com/office/drawing/2014/main" id="{E8DAE186-9D70-4834-9F66-CDB4937762CB}"/>
                </a:ext>
              </a:extLst>
            </p:cNvPr>
            <p:cNvSpPr/>
            <p:nvPr/>
          </p:nvSpPr>
          <p:spPr>
            <a:xfrm>
              <a:off x="5357329" y="5396221"/>
              <a:ext cx="945009" cy="1102045"/>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Functions</a:t>
              </a:r>
              <a:endParaRPr kumimoji="0" lang="en-US" sz="1000" b="0" i="0" u="none" strike="noStrike" kern="0" cap="none" spc="0" normalizeH="0" baseline="0" noProof="0" dirty="0">
                <a:ln>
                  <a:noFill/>
                </a:ln>
                <a:solidFill>
                  <a:prstClr val="white">
                    <a:lumMod val="50000"/>
                  </a:prstClr>
                </a:solidFill>
                <a:effectLst/>
                <a:uLnTx/>
                <a:uFillTx/>
                <a:latin typeface="Segoe UI Light" panose="020B0502040204020203" pitchFamily="34" charset="0"/>
                <a:ea typeface="Segoe UI" pitchFamily="34" charset="0"/>
                <a:cs typeface="Segoe UI Light" panose="020B0502040204020203" pitchFamily="34" charset="0"/>
              </a:endParaRPr>
            </a:p>
          </p:txBody>
        </p:sp>
        <p:pic>
          <p:nvPicPr>
            <p:cNvPr id="131" name="Picture 130">
              <a:extLst>
                <a:ext uri="{FF2B5EF4-FFF2-40B4-BE49-F238E27FC236}">
                  <a16:creationId xmlns:a16="http://schemas.microsoft.com/office/drawing/2014/main" id="{3A766AE3-3C69-4B3D-A1AF-1E30D755E75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567469" y="5548388"/>
              <a:ext cx="542254" cy="542254"/>
            </a:xfrm>
            <a:prstGeom prst="rect">
              <a:avLst/>
            </a:prstGeom>
          </p:spPr>
        </p:pic>
        <p:sp>
          <p:nvSpPr>
            <p:cNvPr id="132" name="Field gateway">
              <a:extLst>
                <a:ext uri="{FF2B5EF4-FFF2-40B4-BE49-F238E27FC236}">
                  <a16:creationId xmlns:a16="http://schemas.microsoft.com/office/drawing/2014/main" id="{69CD94C0-DD09-4C11-9B41-272731E12DA6}"/>
                </a:ext>
              </a:extLst>
            </p:cNvPr>
            <p:cNvSpPr/>
            <p:nvPr/>
          </p:nvSpPr>
          <p:spPr>
            <a:xfrm>
              <a:off x="6644674" y="4026122"/>
              <a:ext cx="945009" cy="1102045"/>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Data</a:t>
              </a:r>
              <a:endParaRPr kumimoji="0" lang="en-US" sz="1000" b="0" i="0" u="none" strike="noStrike" kern="0" cap="none" spc="0" normalizeH="0" baseline="0" noProof="0" dirty="0">
                <a:ln>
                  <a:noFill/>
                </a:ln>
                <a:solidFill>
                  <a:prstClr val="white">
                    <a:lumMod val="50000"/>
                  </a:prstClr>
                </a:solidFill>
                <a:effectLst/>
                <a:uLnTx/>
                <a:uFillTx/>
                <a:latin typeface="Segoe UI Light" panose="020B0502040204020203" pitchFamily="34" charset="0"/>
                <a:ea typeface="Segoe UI" pitchFamily="34" charset="0"/>
                <a:cs typeface="Segoe UI Light" panose="020B0502040204020203" pitchFamily="34" charset="0"/>
              </a:endParaRPr>
            </a:p>
          </p:txBody>
        </p:sp>
        <p:pic>
          <p:nvPicPr>
            <p:cNvPr id="133" name="Picture 132">
              <a:extLst>
                <a:ext uri="{FF2B5EF4-FFF2-40B4-BE49-F238E27FC236}">
                  <a16:creationId xmlns:a16="http://schemas.microsoft.com/office/drawing/2014/main" id="{9D9FE9C6-129F-4B4E-A72C-DEB17D984D60}"/>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865368" y="4178289"/>
              <a:ext cx="542254" cy="542254"/>
            </a:xfrm>
            <a:prstGeom prst="rect">
              <a:avLst/>
            </a:prstGeom>
          </p:spPr>
        </p:pic>
        <p:sp>
          <p:nvSpPr>
            <p:cNvPr id="134" name="Field gateway">
              <a:extLst>
                <a:ext uri="{FF2B5EF4-FFF2-40B4-BE49-F238E27FC236}">
                  <a16:creationId xmlns:a16="http://schemas.microsoft.com/office/drawing/2014/main" id="{68F36A32-2343-4769-9CC2-F4F7BA35254A}"/>
                </a:ext>
              </a:extLst>
            </p:cNvPr>
            <p:cNvSpPr/>
            <p:nvPr/>
          </p:nvSpPr>
          <p:spPr>
            <a:xfrm>
              <a:off x="6644674" y="5396221"/>
              <a:ext cx="945009" cy="1102045"/>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Data</a:t>
              </a:r>
              <a:endParaRPr kumimoji="0" lang="en-US" sz="1000" b="0" i="0" u="none" strike="noStrike" kern="0" cap="none" spc="0" normalizeH="0" baseline="0" noProof="0" dirty="0">
                <a:ln>
                  <a:noFill/>
                </a:ln>
                <a:solidFill>
                  <a:prstClr val="white">
                    <a:lumMod val="50000"/>
                  </a:prstClr>
                </a:solidFill>
                <a:effectLst/>
                <a:uLnTx/>
                <a:uFillTx/>
                <a:latin typeface="Segoe UI Light" panose="020B0502040204020203" pitchFamily="34" charset="0"/>
                <a:ea typeface="Segoe UI" pitchFamily="34" charset="0"/>
                <a:cs typeface="Segoe UI Light" panose="020B0502040204020203" pitchFamily="34" charset="0"/>
              </a:endParaRPr>
            </a:p>
          </p:txBody>
        </p:sp>
        <p:pic>
          <p:nvPicPr>
            <p:cNvPr id="135" name="Picture 134">
              <a:extLst>
                <a:ext uri="{FF2B5EF4-FFF2-40B4-BE49-F238E27FC236}">
                  <a16:creationId xmlns:a16="http://schemas.microsoft.com/office/drawing/2014/main" id="{80F0AEC8-7E6B-4CE5-881E-47ECBBD39206}"/>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865368" y="5548388"/>
              <a:ext cx="542254" cy="542254"/>
            </a:xfrm>
            <a:prstGeom prst="rect">
              <a:avLst/>
            </a:prstGeom>
          </p:spPr>
        </p:pic>
        <p:sp>
          <p:nvSpPr>
            <p:cNvPr id="136" name="Isosceles Triangle 135">
              <a:extLst>
                <a:ext uri="{FF2B5EF4-FFF2-40B4-BE49-F238E27FC236}">
                  <a16:creationId xmlns:a16="http://schemas.microsoft.com/office/drawing/2014/main" id="{39E5DBE4-9782-42D9-9CC7-DF9958998795}"/>
                </a:ext>
              </a:extLst>
            </p:cNvPr>
            <p:cNvSpPr/>
            <p:nvPr/>
          </p:nvSpPr>
          <p:spPr bwMode="auto">
            <a:xfrm rot="5400000">
              <a:off x="3676033" y="4543463"/>
              <a:ext cx="390145" cy="227402"/>
            </a:xfrm>
            <a:prstGeom prst="triangle">
              <a:avLst/>
            </a:prstGeom>
            <a:solidFill>
              <a:srgbClr val="B9D80A"/>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17">
                      <a:srgbClr val="B9D80A"/>
                    </a:gs>
                    <a:gs pos="100000">
                      <a:srgbClr val="B9D80A"/>
                    </a:gs>
                  </a:gsLst>
                  <a:lin ang="5400000" scaled="0"/>
                </a:gradFill>
                <a:effectLst/>
                <a:uLnTx/>
                <a:uFillTx/>
                <a:latin typeface="Segoe UI"/>
                <a:ea typeface="+mn-ea"/>
                <a:cs typeface="+mn-cs"/>
              </a:endParaRPr>
            </a:p>
          </p:txBody>
        </p:sp>
        <p:sp>
          <p:nvSpPr>
            <p:cNvPr id="137" name="Isosceles Triangle 136">
              <a:extLst>
                <a:ext uri="{FF2B5EF4-FFF2-40B4-BE49-F238E27FC236}">
                  <a16:creationId xmlns:a16="http://schemas.microsoft.com/office/drawing/2014/main" id="{BCC37329-CB95-4672-9DF8-C48E8259234E}"/>
                </a:ext>
              </a:extLst>
            </p:cNvPr>
            <p:cNvSpPr/>
            <p:nvPr/>
          </p:nvSpPr>
          <p:spPr bwMode="auto">
            <a:xfrm rot="5400000">
              <a:off x="3676033" y="5822626"/>
              <a:ext cx="390145" cy="227402"/>
            </a:xfrm>
            <a:prstGeom prst="triangle">
              <a:avLst/>
            </a:prstGeom>
            <a:solidFill>
              <a:srgbClr val="B9D80A"/>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17">
                      <a:srgbClr val="B9D80A"/>
                    </a:gs>
                    <a:gs pos="100000">
                      <a:srgbClr val="B9D80A"/>
                    </a:gs>
                  </a:gsLst>
                  <a:lin ang="5400000" scaled="0"/>
                </a:gradFill>
                <a:effectLst/>
                <a:uLnTx/>
                <a:uFillTx/>
                <a:latin typeface="Segoe UI"/>
                <a:ea typeface="+mn-ea"/>
                <a:cs typeface="+mn-cs"/>
              </a:endParaRPr>
            </a:p>
          </p:txBody>
        </p:sp>
        <p:sp>
          <p:nvSpPr>
            <p:cNvPr id="138" name="Isosceles Triangle 137">
              <a:extLst>
                <a:ext uri="{FF2B5EF4-FFF2-40B4-BE49-F238E27FC236}">
                  <a16:creationId xmlns:a16="http://schemas.microsoft.com/office/drawing/2014/main" id="{CBC37163-F9C4-4F8D-BC80-B116767E0460}"/>
                </a:ext>
              </a:extLst>
            </p:cNvPr>
            <p:cNvSpPr/>
            <p:nvPr/>
          </p:nvSpPr>
          <p:spPr bwMode="auto">
            <a:xfrm rot="5400000">
              <a:off x="5001058" y="5825977"/>
              <a:ext cx="390145" cy="227402"/>
            </a:xfrm>
            <a:prstGeom prst="triangle">
              <a:avLst/>
            </a:prstGeom>
            <a:solidFill>
              <a:srgbClr val="B9D80A"/>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17">
                      <a:srgbClr val="B9D80A"/>
                    </a:gs>
                    <a:gs pos="100000">
                      <a:srgbClr val="B9D80A"/>
                    </a:gs>
                  </a:gsLst>
                  <a:lin ang="5400000" scaled="0"/>
                </a:gradFill>
                <a:effectLst/>
                <a:uLnTx/>
                <a:uFillTx/>
                <a:latin typeface="Segoe UI"/>
                <a:ea typeface="+mn-ea"/>
                <a:cs typeface="+mn-cs"/>
              </a:endParaRPr>
            </a:p>
          </p:txBody>
        </p:sp>
        <p:sp>
          <p:nvSpPr>
            <p:cNvPr id="139" name="Isosceles Triangle 138">
              <a:extLst>
                <a:ext uri="{FF2B5EF4-FFF2-40B4-BE49-F238E27FC236}">
                  <a16:creationId xmlns:a16="http://schemas.microsoft.com/office/drawing/2014/main" id="{3EA9C473-DCF7-49F3-9013-DD4D2C0683D2}"/>
                </a:ext>
              </a:extLst>
            </p:cNvPr>
            <p:cNvSpPr/>
            <p:nvPr/>
          </p:nvSpPr>
          <p:spPr bwMode="auto">
            <a:xfrm rot="5400000">
              <a:off x="6326083" y="5829328"/>
              <a:ext cx="390145" cy="227402"/>
            </a:xfrm>
            <a:prstGeom prst="triangle">
              <a:avLst/>
            </a:prstGeom>
            <a:solidFill>
              <a:srgbClr val="B9D80A"/>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17">
                      <a:srgbClr val="B9D80A"/>
                    </a:gs>
                    <a:gs pos="100000">
                      <a:srgbClr val="B9D80A"/>
                    </a:gs>
                  </a:gsLst>
                  <a:lin ang="5400000" scaled="0"/>
                </a:gradFill>
                <a:effectLst/>
                <a:uLnTx/>
                <a:uFillTx/>
                <a:latin typeface="Segoe UI"/>
                <a:ea typeface="+mn-ea"/>
                <a:cs typeface="+mn-cs"/>
              </a:endParaRPr>
            </a:p>
          </p:txBody>
        </p:sp>
        <p:sp>
          <p:nvSpPr>
            <p:cNvPr id="140" name="Isosceles Triangle 139">
              <a:extLst>
                <a:ext uri="{FF2B5EF4-FFF2-40B4-BE49-F238E27FC236}">
                  <a16:creationId xmlns:a16="http://schemas.microsoft.com/office/drawing/2014/main" id="{F0C5C4EB-5563-4303-A056-501DE8D01537}"/>
                </a:ext>
              </a:extLst>
            </p:cNvPr>
            <p:cNvSpPr/>
            <p:nvPr/>
          </p:nvSpPr>
          <p:spPr bwMode="auto">
            <a:xfrm rot="5400000">
              <a:off x="4996366" y="4545351"/>
              <a:ext cx="390145" cy="227402"/>
            </a:xfrm>
            <a:prstGeom prst="triangle">
              <a:avLst/>
            </a:prstGeom>
            <a:solidFill>
              <a:srgbClr val="B9D80A"/>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17">
                      <a:srgbClr val="B9D80A"/>
                    </a:gs>
                    <a:gs pos="100000">
                      <a:srgbClr val="B9D80A"/>
                    </a:gs>
                  </a:gsLst>
                  <a:lin ang="5400000" scaled="0"/>
                </a:gradFill>
                <a:effectLst/>
                <a:uLnTx/>
                <a:uFillTx/>
                <a:latin typeface="Segoe UI"/>
                <a:ea typeface="+mn-ea"/>
                <a:cs typeface="+mn-cs"/>
              </a:endParaRPr>
            </a:p>
          </p:txBody>
        </p:sp>
        <p:sp>
          <p:nvSpPr>
            <p:cNvPr id="141" name="Isosceles Triangle 140">
              <a:extLst>
                <a:ext uri="{FF2B5EF4-FFF2-40B4-BE49-F238E27FC236}">
                  <a16:creationId xmlns:a16="http://schemas.microsoft.com/office/drawing/2014/main" id="{126DEC7C-A8E3-446A-85A3-0B453753AE03}"/>
                </a:ext>
              </a:extLst>
            </p:cNvPr>
            <p:cNvSpPr/>
            <p:nvPr/>
          </p:nvSpPr>
          <p:spPr bwMode="auto">
            <a:xfrm rot="5400000">
              <a:off x="6321391" y="4548702"/>
              <a:ext cx="390145" cy="227402"/>
            </a:xfrm>
            <a:prstGeom prst="triangle">
              <a:avLst/>
            </a:prstGeom>
            <a:solidFill>
              <a:srgbClr val="B9D80A"/>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17">
                      <a:srgbClr val="B9D80A"/>
                    </a:gs>
                    <a:gs pos="100000">
                      <a:srgbClr val="B9D80A"/>
                    </a:gs>
                  </a:gsLst>
                  <a:lin ang="5400000" scaled="0"/>
                </a:gradFill>
                <a:effectLst/>
                <a:uLnTx/>
                <a:uFillTx/>
                <a:latin typeface="Segoe UI"/>
                <a:ea typeface="+mn-ea"/>
                <a:cs typeface="+mn-cs"/>
              </a:endParaRPr>
            </a:p>
          </p:txBody>
        </p:sp>
      </p:grpSp>
      <p:grpSp>
        <p:nvGrpSpPr>
          <p:cNvPr id="142" name="Group 141">
            <a:extLst>
              <a:ext uri="{FF2B5EF4-FFF2-40B4-BE49-F238E27FC236}">
                <a16:creationId xmlns:a16="http://schemas.microsoft.com/office/drawing/2014/main" id="{F14C1AC2-7C84-49E1-9F79-220097EAE682}"/>
              </a:ext>
            </a:extLst>
          </p:cNvPr>
          <p:cNvGrpSpPr/>
          <p:nvPr/>
        </p:nvGrpSpPr>
        <p:grpSpPr>
          <a:xfrm>
            <a:off x="2133337" y="1607845"/>
            <a:ext cx="1291510" cy="1102045"/>
            <a:chOff x="2316221" y="1941090"/>
            <a:chExt cx="1291510" cy="1102045"/>
          </a:xfrm>
        </p:grpSpPr>
        <p:sp>
          <p:nvSpPr>
            <p:cNvPr id="143" name="Field gateway">
              <a:extLst>
                <a:ext uri="{FF2B5EF4-FFF2-40B4-BE49-F238E27FC236}">
                  <a16:creationId xmlns:a16="http://schemas.microsoft.com/office/drawing/2014/main" id="{8518BA81-AA21-472F-804A-481E1B22118F}"/>
                </a:ext>
              </a:extLst>
            </p:cNvPr>
            <p:cNvSpPr/>
            <p:nvPr/>
          </p:nvSpPr>
          <p:spPr>
            <a:xfrm>
              <a:off x="2662722" y="1941090"/>
              <a:ext cx="945009" cy="1102045"/>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IoT Hubs</a:t>
              </a:r>
              <a:endParaRPr kumimoji="0" lang="en-US" sz="1000" b="0" i="0" u="none" strike="noStrike" kern="0" cap="none" spc="0" normalizeH="0" baseline="0" noProof="0" dirty="0">
                <a:ln>
                  <a:noFill/>
                </a:ln>
                <a:solidFill>
                  <a:prstClr val="white">
                    <a:lumMod val="50000"/>
                  </a:prstClr>
                </a:solidFill>
                <a:effectLst/>
                <a:uLnTx/>
                <a:uFillTx/>
                <a:latin typeface="Segoe UI Light" panose="020B0502040204020203" pitchFamily="34" charset="0"/>
                <a:ea typeface="Segoe UI" pitchFamily="34" charset="0"/>
                <a:cs typeface="Segoe UI Light" panose="020B0502040204020203" pitchFamily="34" charset="0"/>
              </a:endParaRPr>
            </a:p>
          </p:txBody>
        </p:sp>
        <p:pic>
          <p:nvPicPr>
            <p:cNvPr id="144" name="Picture 143">
              <a:extLst>
                <a:ext uri="{FF2B5EF4-FFF2-40B4-BE49-F238E27FC236}">
                  <a16:creationId xmlns:a16="http://schemas.microsoft.com/office/drawing/2014/main" id="{11661E97-FD06-4C86-BEBE-99E3063AE290}"/>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871004" y="2093258"/>
              <a:ext cx="513736" cy="513736"/>
            </a:xfrm>
            <a:prstGeom prst="rect">
              <a:avLst/>
            </a:prstGeom>
          </p:spPr>
        </p:pic>
        <p:sp>
          <p:nvSpPr>
            <p:cNvPr id="145" name="Isosceles Triangle 144">
              <a:extLst>
                <a:ext uri="{FF2B5EF4-FFF2-40B4-BE49-F238E27FC236}">
                  <a16:creationId xmlns:a16="http://schemas.microsoft.com/office/drawing/2014/main" id="{AA1840E4-3BAD-4BA5-8DB6-B6CA5E1FB1D0}"/>
                </a:ext>
              </a:extLst>
            </p:cNvPr>
            <p:cNvSpPr/>
            <p:nvPr/>
          </p:nvSpPr>
          <p:spPr bwMode="auto">
            <a:xfrm rot="5400000">
              <a:off x="2234849" y="2385430"/>
              <a:ext cx="390145" cy="227402"/>
            </a:xfrm>
            <a:prstGeom prst="triangle">
              <a:avLst/>
            </a:prstGeom>
            <a:solidFill>
              <a:srgbClr val="B9D80A"/>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17">
                      <a:srgbClr val="B9D80A"/>
                    </a:gs>
                    <a:gs pos="100000">
                      <a:srgbClr val="B9D80A"/>
                    </a:gs>
                  </a:gsLst>
                  <a:lin ang="5400000" scaled="0"/>
                </a:gradFill>
                <a:effectLst/>
                <a:uLnTx/>
                <a:uFillTx/>
                <a:latin typeface="Segoe UI"/>
                <a:ea typeface="+mn-ea"/>
                <a:cs typeface="+mn-cs"/>
              </a:endParaRPr>
            </a:p>
          </p:txBody>
        </p:sp>
      </p:grpSp>
      <p:grpSp>
        <p:nvGrpSpPr>
          <p:cNvPr id="149" name="Group 148">
            <a:extLst>
              <a:ext uri="{FF2B5EF4-FFF2-40B4-BE49-F238E27FC236}">
                <a16:creationId xmlns:a16="http://schemas.microsoft.com/office/drawing/2014/main" id="{61C3F630-1F02-4D33-89F4-733080EEB455}"/>
              </a:ext>
            </a:extLst>
          </p:cNvPr>
          <p:cNvGrpSpPr/>
          <p:nvPr/>
        </p:nvGrpSpPr>
        <p:grpSpPr>
          <a:xfrm>
            <a:off x="7580838" y="3790004"/>
            <a:ext cx="1795478" cy="1963986"/>
            <a:chOff x="7763721" y="4285304"/>
            <a:chExt cx="1795478" cy="1963986"/>
          </a:xfrm>
        </p:grpSpPr>
        <p:sp>
          <p:nvSpPr>
            <p:cNvPr id="150" name="TextBox 149">
              <a:extLst>
                <a:ext uri="{FF2B5EF4-FFF2-40B4-BE49-F238E27FC236}">
                  <a16:creationId xmlns:a16="http://schemas.microsoft.com/office/drawing/2014/main" id="{1C5F595E-9F60-4D46-848D-0A4CFA5F7BE5}"/>
                </a:ext>
              </a:extLst>
            </p:cNvPr>
            <p:cNvSpPr txBox="1"/>
            <p:nvPr/>
          </p:nvSpPr>
          <p:spPr>
            <a:xfrm>
              <a:off x="7776019" y="4285304"/>
              <a:ext cx="1783180"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prstClr val="white"/>
                      </a:gs>
                      <a:gs pos="30000">
                        <a:prstClr val="white"/>
                      </a:gs>
                    </a:gsLst>
                    <a:lin ang="5400000" scaled="0"/>
                  </a:gradFill>
                  <a:latin typeface="Segoe UI"/>
                </a:rPr>
                <a:t>Scenario 1</a:t>
              </a:r>
            </a:p>
          </p:txBody>
        </p:sp>
        <p:sp>
          <p:nvSpPr>
            <p:cNvPr id="151" name="TextBox 150">
              <a:extLst>
                <a:ext uri="{FF2B5EF4-FFF2-40B4-BE49-F238E27FC236}">
                  <a16:creationId xmlns:a16="http://schemas.microsoft.com/office/drawing/2014/main" id="{C9203F7B-133A-4929-9501-B70960241526}"/>
                </a:ext>
              </a:extLst>
            </p:cNvPr>
            <p:cNvSpPr txBox="1"/>
            <p:nvPr/>
          </p:nvSpPr>
          <p:spPr>
            <a:xfrm>
              <a:off x="7763721" y="5621426"/>
              <a:ext cx="1783180"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prstClr val="white"/>
                      </a:gs>
                      <a:gs pos="30000">
                        <a:prstClr val="white"/>
                      </a:gs>
                    </a:gsLst>
                    <a:lin ang="5400000" scaled="0"/>
                  </a:gradFill>
                  <a:latin typeface="Segoe UI"/>
                </a:rPr>
                <a:t>Scenario 2</a:t>
              </a:r>
            </a:p>
          </p:txBody>
        </p:sp>
      </p:grpSp>
      <p:grpSp>
        <p:nvGrpSpPr>
          <p:cNvPr id="152" name="Group 151">
            <a:extLst>
              <a:ext uri="{FF2B5EF4-FFF2-40B4-BE49-F238E27FC236}">
                <a16:creationId xmlns:a16="http://schemas.microsoft.com/office/drawing/2014/main" id="{E7AE854F-472E-4370-9D1A-2D9DBE0FB258}"/>
              </a:ext>
            </a:extLst>
          </p:cNvPr>
          <p:cNvGrpSpPr/>
          <p:nvPr/>
        </p:nvGrpSpPr>
        <p:grpSpPr>
          <a:xfrm>
            <a:off x="2472364" y="2765502"/>
            <a:ext cx="945009" cy="663498"/>
            <a:chOff x="6347569" y="494369"/>
            <a:chExt cx="945009" cy="663498"/>
          </a:xfrm>
        </p:grpSpPr>
        <p:sp>
          <p:nvSpPr>
            <p:cNvPr id="153" name="Field gateway">
              <a:extLst>
                <a:ext uri="{FF2B5EF4-FFF2-40B4-BE49-F238E27FC236}">
                  <a16:creationId xmlns:a16="http://schemas.microsoft.com/office/drawing/2014/main" id="{1E842C47-20DF-43A8-8234-F844846E13F2}"/>
                </a:ext>
              </a:extLst>
            </p:cNvPr>
            <p:cNvSpPr/>
            <p:nvPr/>
          </p:nvSpPr>
          <p:spPr>
            <a:xfrm>
              <a:off x="6347569" y="494369"/>
              <a:ext cx="945009" cy="663498"/>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Organization</a:t>
              </a:r>
              <a:endParaRPr kumimoji="0" lang="en-US" sz="1000" b="0" i="0" u="none" strike="noStrike" kern="0" cap="none" spc="0" normalizeH="0" baseline="0" noProof="0" dirty="0">
                <a:ln>
                  <a:noFill/>
                </a:ln>
                <a:solidFill>
                  <a:prstClr val="white">
                    <a:lumMod val="50000"/>
                  </a:prstClr>
                </a:solidFill>
                <a:effectLst/>
                <a:uLnTx/>
                <a:uFillTx/>
                <a:latin typeface="Segoe UI Light" panose="020B0502040204020203" pitchFamily="34" charset="0"/>
                <a:ea typeface="Segoe UI" pitchFamily="34" charset="0"/>
                <a:cs typeface="Segoe UI Light" panose="020B0502040204020203" pitchFamily="34" charset="0"/>
              </a:endParaRPr>
            </a:p>
          </p:txBody>
        </p:sp>
        <p:pic>
          <p:nvPicPr>
            <p:cNvPr id="154" name="Picture 153">
              <a:extLst>
                <a:ext uri="{FF2B5EF4-FFF2-40B4-BE49-F238E27FC236}">
                  <a16:creationId xmlns:a16="http://schemas.microsoft.com/office/drawing/2014/main" id="{3F90DFF0-B08D-48B8-941B-5D62D6AD1503}"/>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563325" y="509699"/>
              <a:ext cx="450310" cy="450310"/>
            </a:xfrm>
            <a:prstGeom prst="rect">
              <a:avLst/>
            </a:prstGeom>
          </p:spPr>
        </p:pic>
      </p:grpSp>
      <p:grpSp>
        <p:nvGrpSpPr>
          <p:cNvPr id="155" name="Group 154">
            <a:extLst>
              <a:ext uri="{FF2B5EF4-FFF2-40B4-BE49-F238E27FC236}">
                <a16:creationId xmlns:a16="http://schemas.microsoft.com/office/drawing/2014/main" id="{E4BBFCC8-36AA-4C11-8A37-53B648B33597}"/>
              </a:ext>
            </a:extLst>
          </p:cNvPr>
          <p:cNvGrpSpPr/>
          <p:nvPr/>
        </p:nvGrpSpPr>
        <p:grpSpPr>
          <a:xfrm>
            <a:off x="2480613" y="6034256"/>
            <a:ext cx="945009" cy="663498"/>
            <a:chOff x="6347569" y="494369"/>
            <a:chExt cx="945009" cy="663498"/>
          </a:xfrm>
        </p:grpSpPr>
        <p:sp>
          <p:nvSpPr>
            <p:cNvPr id="156" name="Field gateway">
              <a:extLst>
                <a:ext uri="{FF2B5EF4-FFF2-40B4-BE49-F238E27FC236}">
                  <a16:creationId xmlns:a16="http://schemas.microsoft.com/office/drawing/2014/main" id="{8EC9FAA1-2339-45E1-9BFC-48E6D3F31E40}"/>
                </a:ext>
              </a:extLst>
            </p:cNvPr>
            <p:cNvSpPr/>
            <p:nvPr/>
          </p:nvSpPr>
          <p:spPr>
            <a:xfrm>
              <a:off x="6347569" y="494369"/>
              <a:ext cx="945009" cy="663498"/>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Organization</a:t>
              </a:r>
              <a:endParaRPr kumimoji="0" lang="en-US" sz="1000" b="0" i="0" u="none" strike="noStrike" kern="0" cap="none" spc="0" normalizeH="0" baseline="0" noProof="0" dirty="0">
                <a:ln>
                  <a:noFill/>
                </a:ln>
                <a:solidFill>
                  <a:prstClr val="white">
                    <a:lumMod val="50000"/>
                  </a:prstClr>
                </a:solidFill>
                <a:effectLst/>
                <a:uLnTx/>
                <a:uFillTx/>
                <a:latin typeface="Segoe UI Light" panose="020B0502040204020203" pitchFamily="34" charset="0"/>
                <a:ea typeface="Segoe UI" pitchFamily="34" charset="0"/>
                <a:cs typeface="Segoe UI Light" panose="020B0502040204020203" pitchFamily="34" charset="0"/>
              </a:endParaRPr>
            </a:p>
          </p:txBody>
        </p:sp>
        <p:pic>
          <p:nvPicPr>
            <p:cNvPr id="157" name="Picture 156">
              <a:extLst>
                <a:ext uri="{FF2B5EF4-FFF2-40B4-BE49-F238E27FC236}">
                  <a16:creationId xmlns:a16="http://schemas.microsoft.com/office/drawing/2014/main" id="{8B6447E5-8BAE-4BF1-964E-381A250D2B17}"/>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563325" y="509699"/>
              <a:ext cx="450310" cy="450310"/>
            </a:xfrm>
            <a:prstGeom prst="rect">
              <a:avLst/>
            </a:prstGeom>
          </p:spPr>
        </p:pic>
      </p:grpSp>
      <p:pic>
        <p:nvPicPr>
          <p:cNvPr id="158" name="Picture 157">
            <a:extLst>
              <a:ext uri="{FF2B5EF4-FFF2-40B4-BE49-F238E27FC236}">
                <a16:creationId xmlns:a16="http://schemas.microsoft.com/office/drawing/2014/main" id="{CBF90607-FA86-4511-9E59-23E57A32C357}"/>
              </a:ext>
            </a:extLst>
          </p:cNvPr>
          <p:cNvPicPr>
            <a:picLocks noChangeAspect="1"/>
          </p:cNvPicPr>
          <p:nvPr/>
        </p:nvPicPr>
        <p:blipFill>
          <a:blip r:embed="rId11"/>
          <a:stretch>
            <a:fillRect/>
          </a:stretch>
        </p:blipFill>
        <p:spPr>
          <a:xfrm>
            <a:off x="10919198" y="1881527"/>
            <a:ext cx="492228" cy="479707"/>
          </a:xfrm>
          <a:prstGeom prst="rect">
            <a:avLst/>
          </a:prstGeom>
        </p:spPr>
      </p:pic>
      <p:pic>
        <p:nvPicPr>
          <p:cNvPr id="159" name="Picture 158">
            <a:extLst>
              <a:ext uri="{FF2B5EF4-FFF2-40B4-BE49-F238E27FC236}">
                <a16:creationId xmlns:a16="http://schemas.microsoft.com/office/drawing/2014/main" id="{9E8964E8-741F-4F5A-81FC-0C45CEC4C277}"/>
              </a:ext>
            </a:extLst>
          </p:cNvPr>
          <p:cNvPicPr>
            <a:picLocks noChangeAspect="1"/>
          </p:cNvPicPr>
          <p:nvPr/>
        </p:nvPicPr>
        <p:blipFill>
          <a:blip r:embed="rId12"/>
          <a:stretch>
            <a:fillRect/>
          </a:stretch>
        </p:blipFill>
        <p:spPr>
          <a:xfrm>
            <a:off x="10910413" y="2768654"/>
            <a:ext cx="509798" cy="516732"/>
          </a:xfrm>
          <a:prstGeom prst="rect">
            <a:avLst/>
          </a:prstGeom>
        </p:spPr>
      </p:pic>
      <p:pic>
        <p:nvPicPr>
          <p:cNvPr id="160" name="Picture 159">
            <a:extLst>
              <a:ext uri="{FF2B5EF4-FFF2-40B4-BE49-F238E27FC236}">
                <a16:creationId xmlns:a16="http://schemas.microsoft.com/office/drawing/2014/main" id="{7F55819F-CC08-4CEE-9DA7-A31F3A5D780C}"/>
              </a:ext>
            </a:extLst>
          </p:cNvPr>
          <p:cNvPicPr>
            <a:picLocks noChangeAspect="1"/>
          </p:cNvPicPr>
          <p:nvPr/>
        </p:nvPicPr>
        <p:blipFill>
          <a:blip r:embed="rId13"/>
          <a:stretch>
            <a:fillRect/>
          </a:stretch>
        </p:blipFill>
        <p:spPr>
          <a:xfrm>
            <a:off x="10993897" y="3692806"/>
            <a:ext cx="342831" cy="449864"/>
          </a:xfrm>
          <a:prstGeom prst="rect">
            <a:avLst/>
          </a:prstGeom>
        </p:spPr>
      </p:pic>
      <p:pic>
        <p:nvPicPr>
          <p:cNvPr id="161" name="Picture 160">
            <a:extLst>
              <a:ext uri="{FF2B5EF4-FFF2-40B4-BE49-F238E27FC236}">
                <a16:creationId xmlns:a16="http://schemas.microsoft.com/office/drawing/2014/main" id="{262D197D-3E01-4DA2-B456-860FEC03B625}"/>
              </a:ext>
            </a:extLst>
          </p:cNvPr>
          <p:cNvPicPr>
            <a:picLocks noChangeAspect="1"/>
          </p:cNvPicPr>
          <p:nvPr/>
        </p:nvPicPr>
        <p:blipFill>
          <a:blip r:embed="rId14"/>
          <a:stretch>
            <a:fillRect/>
          </a:stretch>
        </p:blipFill>
        <p:spPr>
          <a:xfrm>
            <a:off x="10910413" y="5565855"/>
            <a:ext cx="509798" cy="508920"/>
          </a:xfrm>
          <a:prstGeom prst="rect">
            <a:avLst/>
          </a:prstGeom>
        </p:spPr>
      </p:pic>
    </p:spTree>
    <p:extLst>
      <p:ext uri="{BB962C8B-B14F-4D97-AF65-F5344CB8AC3E}">
        <p14:creationId xmlns:p14="http://schemas.microsoft.com/office/powerpoint/2010/main" val="39392365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2"/>
                                        </p:tgtEl>
                                        <p:attrNameLst>
                                          <p:attrName>style.visibility</p:attrName>
                                        </p:attrNameLst>
                                      </p:cBhvr>
                                      <p:to>
                                        <p:strVal val="visible"/>
                                      </p:to>
                                    </p:set>
                                    <p:animEffect transition="in" filter="fade">
                                      <p:cBhvr>
                                        <p:cTn id="7" dur="500"/>
                                        <p:tgtEl>
                                          <p:spTgt spid="14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52"/>
                                        </p:tgtEl>
                                        <p:attrNameLst>
                                          <p:attrName>style.visibility</p:attrName>
                                        </p:attrNameLst>
                                      </p:cBhvr>
                                      <p:to>
                                        <p:strVal val="visible"/>
                                      </p:to>
                                    </p:set>
                                    <p:animEffect transition="in" filter="fade">
                                      <p:cBhvr>
                                        <p:cTn id="11" dur="500"/>
                                        <p:tgtEl>
                                          <p:spTgt spid="152"/>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100"/>
                                        </p:tgtEl>
                                        <p:attrNameLst>
                                          <p:attrName>style.visibility</p:attrName>
                                        </p:attrNameLst>
                                      </p:cBhvr>
                                      <p:to>
                                        <p:strVal val="visible"/>
                                      </p:to>
                                    </p:set>
                                    <p:animEffect transition="in" filter="fade">
                                      <p:cBhvr>
                                        <p:cTn id="16" dur="500"/>
                                        <p:tgtEl>
                                          <p:spTgt spid="100"/>
                                        </p:tgtEl>
                                      </p:cBhvr>
                                    </p:animEffect>
                                  </p:childTnLst>
                                </p:cTn>
                              </p:par>
                            </p:childTnLst>
                          </p:cTn>
                        </p:par>
                        <p:par>
                          <p:cTn id="17" fill="hold">
                            <p:stCondLst>
                              <p:cond delay="500"/>
                            </p:stCondLst>
                            <p:childTnLst>
                              <p:par>
                                <p:cTn id="18" presetID="10" presetClass="entr" presetSubtype="0" fill="hold" nodeType="afterEffect">
                                  <p:stCondLst>
                                    <p:cond delay="0"/>
                                  </p:stCondLst>
                                  <p:childTnLst>
                                    <p:set>
                                      <p:cBhvr>
                                        <p:cTn id="19" dur="1" fill="hold">
                                          <p:stCondLst>
                                            <p:cond delay="0"/>
                                          </p:stCondLst>
                                        </p:cTn>
                                        <p:tgtEl>
                                          <p:spTgt spid="104"/>
                                        </p:tgtEl>
                                        <p:attrNameLst>
                                          <p:attrName>style.visibility</p:attrName>
                                        </p:attrNameLst>
                                      </p:cBhvr>
                                      <p:to>
                                        <p:strVal val="visible"/>
                                      </p:to>
                                    </p:set>
                                    <p:animEffect transition="in" filter="fade">
                                      <p:cBhvr>
                                        <p:cTn id="20" dur="500"/>
                                        <p:tgtEl>
                                          <p:spTgt spid="104"/>
                                        </p:tgtEl>
                                      </p:cBhvr>
                                    </p:animEffect>
                                  </p:childTnLst>
                                </p:cTn>
                              </p:par>
                            </p:childTnLst>
                          </p:cTn>
                        </p:par>
                        <p:par>
                          <p:cTn id="21" fill="hold">
                            <p:stCondLst>
                              <p:cond delay="1000"/>
                            </p:stCondLst>
                            <p:childTnLst>
                              <p:par>
                                <p:cTn id="22" presetID="10" presetClass="entr" presetSubtype="0" fill="hold" nodeType="afterEffect">
                                  <p:stCondLst>
                                    <p:cond delay="0"/>
                                  </p:stCondLst>
                                  <p:childTnLst>
                                    <p:set>
                                      <p:cBhvr>
                                        <p:cTn id="23" dur="1" fill="hold">
                                          <p:stCondLst>
                                            <p:cond delay="0"/>
                                          </p:stCondLst>
                                        </p:cTn>
                                        <p:tgtEl>
                                          <p:spTgt spid="108"/>
                                        </p:tgtEl>
                                        <p:attrNameLst>
                                          <p:attrName>style.visibility</p:attrName>
                                        </p:attrNameLst>
                                      </p:cBhvr>
                                      <p:to>
                                        <p:strVal val="visible"/>
                                      </p:to>
                                    </p:set>
                                    <p:animEffect transition="in" filter="fade">
                                      <p:cBhvr>
                                        <p:cTn id="24" dur="500"/>
                                        <p:tgtEl>
                                          <p:spTgt spid="108"/>
                                        </p:tgtEl>
                                      </p:cBhvr>
                                    </p:animEffect>
                                  </p:childTnLst>
                                </p:cTn>
                              </p:par>
                            </p:childTnLst>
                          </p:cTn>
                        </p:par>
                        <p:par>
                          <p:cTn id="25" fill="hold">
                            <p:stCondLst>
                              <p:cond delay="1500"/>
                            </p:stCondLst>
                            <p:childTnLst>
                              <p:par>
                                <p:cTn id="26" presetID="10" presetClass="entr" presetSubtype="0" fill="hold" nodeType="afterEffect">
                                  <p:stCondLst>
                                    <p:cond delay="0"/>
                                  </p:stCondLst>
                                  <p:childTnLst>
                                    <p:set>
                                      <p:cBhvr>
                                        <p:cTn id="27" dur="1" fill="hold">
                                          <p:stCondLst>
                                            <p:cond delay="0"/>
                                          </p:stCondLst>
                                        </p:cTn>
                                        <p:tgtEl>
                                          <p:spTgt spid="113"/>
                                        </p:tgtEl>
                                        <p:attrNameLst>
                                          <p:attrName>style.visibility</p:attrName>
                                        </p:attrNameLst>
                                      </p:cBhvr>
                                      <p:to>
                                        <p:strVal val="visible"/>
                                      </p:to>
                                    </p:set>
                                    <p:animEffect transition="in" filter="fade">
                                      <p:cBhvr>
                                        <p:cTn id="28" dur="500"/>
                                        <p:tgtEl>
                                          <p:spTgt spid="113"/>
                                        </p:tgtEl>
                                      </p:cBhvr>
                                    </p:animEffect>
                                  </p:childTnLst>
                                </p:cTn>
                              </p:par>
                            </p:childTnLst>
                          </p:cTn>
                        </p:par>
                        <p:par>
                          <p:cTn id="29" fill="hold">
                            <p:stCondLst>
                              <p:cond delay="2000"/>
                            </p:stCondLst>
                            <p:childTnLst>
                              <p:par>
                                <p:cTn id="30" presetID="10" presetClass="entr" presetSubtype="0" fill="hold" nodeType="afterEffect">
                                  <p:stCondLst>
                                    <p:cond delay="0"/>
                                  </p:stCondLst>
                                  <p:childTnLst>
                                    <p:set>
                                      <p:cBhvr>
                                        <p:cTn id="31" dur="1" fill="hold">
                                          <p:stCondLst>
                                            <p:cond delay="0"/>
                                          </p:stCondLst>
                                        </p:cTn>
                                        <p:tgtEl>
                                          <p:spTgt spid="117"/>
                                        </p:tgtEl>
                                        <p:attrNameLst>
                                          <p:attrName>style.visibility</p:attrName>
                                        </p:attrNameLst>
                                      </p:cBhvr>
                                      <p:to>
                                        <p:strVal val="visible"/>
                                      </p:to>
                                    </p:set>
                                    <p:animEffect transition="in" filter="fade">
                                      <p:cBhvr>
                                        <p:cTn id="32" dur="500"/>
                                        <p:tgtEl>
                                          <p:spTgt spid="117"/>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21"/>
                                        </p:tgtEl>
                                        <p:attrNameLst>
                                          <p:attrName>style.visibility</p:attrName>
                                        </p:attrNameLst>
                                      </p:cBhvr>
                                      <p:to>
                                        <p:strVal val="visible"/>
                                      </p:to>
                                    </p:set>
                                    <p:animEffect transition="in" filter="fade">
                                      <p:cBhvr>
                                        <p:cTn id="37" dur="500"/>
                                        <p:tgtEl>
                                          <p:spTgt spid="121"/>
                                        </p:tgtEl>
                                      </p:cBhvr>
                                    </p:animEffect>
                                  </p:childTnLst>
                                </p:cTn>
                              </p:par>
                              <p:par>
                                <p:cTn id="38" presetID="10" presetClass="entr" presetSubtype="0" fill="hold" nodeType="withEffect">
                                  <p:stCondLst>
                                    <p:cond delay="0"/>
                                  </p:stCondLst>
                                  <p:childTnLst>
                                    <p:set>
                                      <p:cBhvr>
                                        <p:cTn id="39" dur="1" fill="hold">
                                          <p:stCondLst>
                                            <p:cond delay="0"/>
                                          </p:stCondLst>
                                        </p:cTn>
                                        <p:tgtEl>
                                          <p:spTgt spid="155"/>
                                        </p:tgtEl>
                                        <p:attrNameLst>
                                          <p:attrName>style.visibility</p:attrName>
                                        </p:attrNameLst>
                                      </p:cBhvr>
                                      <p:to>
                                        <p:strVal val="visible"/>
                                      </p:to>
                                    </p:set>
                                    <p:animEffect transition="in" filter="fade">
                                      <p:cBhvr>
                                        <p:cTn id="40" dur="500"/>
                                        <p:tgtEl>
                                          <p:spTgt spid="155"/>
                                        </p:tgtEl>
                                      </p:cBhvr>
                                    </p:animEffect>
                                  </p:childTnLst>
                                </p:cTn>
                              </p:par>
                            </p:childTnLst>
                          </p:cTn>
                        </p:par>
                        <p:par>
                          <p:cTn id="41" fill="hold">
                            <p:stCondLst>
                              <p:cond delay="500"/>
                            </p:stCondLst>
                            <p:childTnLst>
                              <p:par>
                                <p:cTn id="42" presetID="10" presetClass="entr" presetSubtype="0" fill="hold" nodeType="afterEffect">
                                  <p:stCondLst>
                                    <p:cond delay="0"/>
                                  </p:stCondLst>
                                  <p:childTnLst>
                                    <p:set>
                                      <p:cBhvr>
                                        <p:cTn id="43" dur="1" fill="hold">
                                          <p:stCondLst>
                                            <p:cond delay="0"/>
                                          </p:stCondLst>
                                        </p:cTn>
                                        <p:tgtEl>
                                          <p:spTgt spid="149"/>
                                        </p:tgtEl>
                                        <p:attrNameLst>
                                          <p:attrName>style.visibility</p:attrName>
                                        </p:attrNameLst>
                                      </p:cBhvr>
                                      <p:to>
                                        <p:strVal val="visible"/>
                                      </p:to>
                                    </p:set>
                                    <p:animEffect transition="in" filter="fade">
                                      <p:cBhvr>
                                        <p:cTn id="44" dur="500"/>
                                        <p:tgtEl>
                                          <p:spTgt spid="1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upp 20">
            <a:extLst>
              <a:ext uri="{FF2B5EF4-FFF2-40B4-BE49-F238E27FC236}">
                <a16:creationId xmlns:a16="http://schemas.microsoft.com/office/drawing/2014/main" id="{7F8B4846-00A5-4732-BD1F-754AFA4F4549}"/>
              </a:ext>
            </a:extLst>
          </p:cNvPr>
          <p:cNvGrpSpPr/>
          <p:nvPr/>
        </p:nvGrpSpPr>
        <p:grpSpPr>
          <a:xfrm>
            <a:off x="9706700" y="2991087"/>
            <a:ext cx="2048724" cy="2060107"/>
            <a:chOff x="9528900" y="2991087"/>
            <a:chExt cx="2048724" cy="2060107"/>
          </a:xfrm>
        </p:grpSpPr>
        <p:pic>
          <p:nvPicPr>
            <p:cNvPr id="4" name="Bildobjekt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28900" y="2991087"/>
              <a:ext cx="2048724" cy="2060107"/>
            </a:xfrm>
            <a:prstGeom prst="rect">
              <a:avLst/>
            </a:prstGeom>
          </p:spPr>
        </p:pic>
        <p:sp>
          <p:nvSpPr>
            <p:cNvPr id="13" name="Rektangel 12"/>
            <p:cNvSpPr/>
            <p:nvPr/>
          </p:nvSpPr>
          <p:spPr>
            <a:xfrm>
              <a:off x="9729585" y="3229905"/>
              <a:ext cx="1616003" cy="830997"/>
            </a:xfrm>
            <a:prstGeom prst="rect">
              <a:avLst/>
            </a:prstGeom>
          </p:spPr>
          <p:txBody>
            <a:bodyPr wrap="square">
              <a:spAutoFit/>
            </a:bodyPr>
            <a:lstStyle/>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rPr>
                <a:t>Business Solution</a:t>
              </a: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endParaRPr>
            </a:p>
          </p:txBody>
        </p:sp>
      </p:grpSp>
      <p:pic>
        <p:nvPicPr>
          <p:cNvPr id="5" name="Bildobjekt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746837" y="2991089"/>
            <a:ext cx="2556616" cy="2060107"/>
          </a:xfrm>
          <a:prstGeom prst="rect">
            <a:avLst/>
          </a:prstGeom>
        </p:spPr>
      </p:pic>
      <p:pic>
        <p:nvPicPr>
          <p:cNvPr id="6" name="Bildobjekt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16418" y="2991089"/>
            <a:ext cx="2556616" cy="2060107"/>
          </a:xfrm>
          <a:prstGeom prst="rect">
            <a:avLst/>
          </a:prstGeom>
        </p:spPr>
      </p:pic>
      <p:pic>
        <p:nvPicPr>
          <p:cNvPr id="7" name="Bildobjekt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879030" y="2991089"/>
            <a:ext cx="2556616" cy="2060107"/>
          </a:xfrm>
          <a:prstGeom prst="rect">
            <a:avLst/>
          </a:prstGeom>
        </p:spPr>
      </p:pic>
      <p:pic>
        <p:nvPicPr>
          <p:cNvPr id="8" name="Bildobjekt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945125" y="2985415"/>
            <a:ext cx="2556616" cy="2060107"/>
          </a:xfrm>
          <a:prstGeom prst="rect">
            <a:avLst/>
          </a:prstGeom>
        </p:spPr>
      </p:pic>
      <p:sp>
        <p:nvSpPr>
          <p:cNvPr id="9" name="Rektangel 8"/>
          <p:cNvSpPr/>
          <p:nvPr/>
        </p:nvSpPr>
        <p:spPr>
          <a:xfrm>
            <a:off x="2141913" y="3229905"/>
            <a:ext cx="1616003" cy="830997"/>
          </a:xfrm>
          <a:prstGeom prst="rect">
            <a:avLst/>
          </a:prstGeom>
        </p:spPr>
        <p:txBody>
          <a:bodyPr wrap="square">
            <a:spAutoFit/>
          </a:bodyPr>
          <a:lstStyle/>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Gateway (Devices)</a:t>
            </a:r>
            <a:endParaRPr kumimoji="0" lang="en-US" sz="800" b="1"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10" name="Rektangel 9"/>
          <p:cNvSpPr/>
          <p:nvPr/>
        </p:nvSpPr>
        <p:spPr>
          <a:xfrm>
            <a:off x="4095403" y="3229905"/>
            <a:ext cx="1616003" cy="830997"/>
          </a:xfrm>
          <a:prstGeom prst="rect">
            <a:avLst/>
          </a:prstGeom>
        </p:spPr>
        <p:txBody>
          <a:bodyPr wrap="square">
            <a:spAutoFit/>
          </a:bodyPr>
          <a:lstStyle/>
          <a:p>
            <a:pPr marL="0" marR="0" lvl="0" indent="0" algn="ctr" defTabSz="1243177"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a:ea typeface="+mn-ea"/>
                <a:cs typeface="Segoe UI" pitchFamily="34" charset="0"/>
              </a:rPr>
              <a:t>Communi</a:t>
            </a: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rPr>
              <a:t>-cation</a:t>
            </a:r>
          </a:p>
        </p:txBody>
      </p:sp>
      <p:sp>
        <p:nvSpPr>
          <p:cNvPr id="11" name="Rektangel 10"/>
          <p:cNvSpPr/>
          <p:nvPr/>
        </p:nvSpPr>
        <p:spPr>
          <a:xfrm>
            <a:off x="6041967" y="3229905"/>
            <a:ext cx="1616003" cy="461665"/>
          </a:xfrm>
          <a:prstGeom prst="rect">
            <a:avLst/>
          </a:prstGeom>
        </p:spPr>
        <p:txBody>
          <a:bodyPr wrap="square">
            <a:spAutoFit/>
          </a:bodyPr>
          <a:lstStyle/>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rPr>
              <a:t>Cloud</a:t>
            </a: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endParaRPr>
          </a:p>
        </p:txBody>
      </p:sp>
      <p:sp>
        <p:nvSpPr>
          <p:cNvPr id="12" name="Rektangel 11"/>
          <p:cNvSpPr/>
          <p:nvPr/>
        </p:nvSpPr>
        <p:spPr>
          <a:xfrm>
            <a:off x="7960822" y="3229905"/>
            <a:ext cx="1616003" cy="830997"/>
          </a:xfrm>
          <a:prstGeom prst="rect">
            <a:avLst/>
          </a:prstGeom>
        </p:spPr>
        <p:txBody>
          <a:bodyPr wrap="square">
            <a:spAutoFit/>
          </a:bodyPr>
          <a:lstStyle/>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rPr>
              <a:t>IoT Operations</a:t>
            </a: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endParaRPr>
          </a:p>
        </p:txBody>
      </p:sp>
      <p:sp>
        <p:nvSpPr>
          <p:cNvPr id="28" name="Rubrik 1"/>
          <p:cNvSpPr txBox="1">
            <a:spLocks/>
          </p:cNvSpPr>
          <p:nvPr/>
        </p:nvSpPr>
        <p:spPr>
          <a:xfrm>
            <a:off x="363166" y="366185"/>
            <a:ext cx="11465668" cy="470528"/>
          </a:xfrm>
          <a:prstGeom prst="rect">
            <a:avLst/>
          </a:prstGeom>
        </p:spPr>
        <p:txBody>
          <a:bodyPr vert="horz" lIns="121920" tIns="60960" rIns="121920" bIns="60960" rtlCol="0" anchor="ctr">
            <a:normAutofit fontScale="97500" lnSpcReduction="10000"/>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sz="2933" b="1" i="0" u="none" strike="noStrike" kern="1200" cap="all" spc="0" normalizeH="0" baseline="0" noProof="0">
                <a:ln>
                  <a:noFill/>
                </a:ln>
                <a:solidFill>
                  <a:prstClr val="white"/>
                </a:solidFill>
                <a:effectLst/>
                <a:uLnTx/>
                <a:uFillTx/>
                <a:latin typeface="Segoe UI"/>
                <a:ea typeface="+mj-ea"/>
                <a:cs typeface="+mj-cs"/>
              </a:rPr>
              <a:t>IoT Operations generic offering</a:t>
            </a:r>
          </a:p>
        </p:txBody>
      </p:sp>
      <p:grpSp>
        <p:nvGrpSpPr>
          <p:cNvPr id="22" name="Grupp 21">
            <a:extLst>
              <a:ext uri="{FF2B5EF4-FFF2-40B4-BE49-F238E27FC236}">
                <a16:creationId xmlns:a16="http://schemas.microsoft.com/office/drawing/2014/main" id="{84D1983B-47F1-4336-B987-2869F06768BD}"/>
              </a:ext>
            </a:extLst>
          </p:cNvPr>
          <p:cNvGrpSpPr/>
          <p:nvPr/>
        </p:nvGrpSpPr>
        <p:grpSpPr>
          <a:xfrm>
            <a:off x="596441" y="2973120"/>
            <a:ext cx="1872813" cy="2060107"/>
            <a:chOff x="418641" y="2973120"/>
            <a:chExt cx="1872813" cy="2060107"/>
          </a:xfrm>
        </p:grpSpPr>
        <p:pic>
          <p:nvPicPr>
            <p:cNvPr id="31" name="Bildobjekt 3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2647" y="2973120"/>
              <a:ext cx="1838807" cy="2060107"/>
            </a:xfrm>
            <a:prstGeom prst="rect">
              <a:avLst/>
            </a:prstGeom>
          </p:spPr>
        </p:pic>
        <p:sp>
          <p:nvSpPr>
            <p:cNvPr id="32" name="Rektangel 31"/>
            <p:cNvSpPr/>
            <p:nvPr/>
          </p:nvSpPr>
          <p:spPr>
            <a:xfrm>
              <a:off x="418641" y="3266551"/>
              <a:ext cx="1616003" cy="1077218"/>
            </a:xfrm>
            <a:prstGeom prst="rect">
              <a:avLst/>
            </a:prstGeom>
          </p:spPr>
          <p:txBody>
            <a:bodyPr wrap="square">
              <a:spAutoFit/>
            </a:bodyPr>
            <a:lstStyle/>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16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PLC’s</a:t>
              </a:r>
              <a:endParaRPr kumimoji="0" lang="sv-SE" sz="1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16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Machines, Sensors, </a:t>
              </a:r>
            </a:p>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16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meters etc... </a:t>
              </a:r>
              <a:endParaRPr kumimoji="0" lang="en-US" sz="16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sp>
        <p:nvSpPr>
          <p:cNvPr id="30" name="AutoShape 2" descr="Image result for dell logo"/>
          <p:cNvSpPr>
            <a:spLocks noChangeAspect="1" noChangeArrowheads="1"/>
          </p:cNvSpPr>
          <p:nvPr/>
        </p:nvSpPr>
        <p:spPr bwMode="auto">
          <a:xfrm>
            <a:off x="7052945" y="3462138"/>
            <a:ext cx="362721" cy="43420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2400" b="0" i="0" u="none" strike="noStrike" kern="1200" cap="none" spc="0" normalizeH="0" baseline="0" noProof="0">
              <a:ln>
                <a:noFill/>
              </a:ln>
              <a:solidFill>
                <a:srgbClr val="3B3C40"/>
              </a:solidFill>
              <a:effectLst/>
              <a:uLnTx/>
              <a:uFillTx/>
              <a:latin typeface="Segoe UI"/>
              <a:ea typeface="+mn-ea"/>
              <a:cs typeface="+mn-cs"/>
            </a:endParaRPr>
          </a:p>
        </p:txBody>
      </p:sp>
      <p:grpSp>
        <p:nvGrpSpPr>
          <p:cNvPr id="24" name="Grupp 23">
            <a:extLst>
              <a:ext uri="{FF2B5EF4-FFF2-40B4-BE49-F238E27FC236}">
                <a16:creationId xmlns:a16="http://schemas.microsoft.com/office/drawing/2014/main" id="{5D8675CC-6552-44A1-B93F-2693B1730D2B}"/>
              </a:ext>
            </a:extLst>
          </p:cNvPr>
          <p:cNvGrpSpPr/>
          <p:nvPr/>
        </p:nvGrpSpPr>
        <p:grpSpPr>
          <a:xfrm>
            <a:off x="1397000" y="5256401"/>
            <a:ext cx="9049408" cy="792524"/>
            <a:chOff x="1029057" y="5256401"/>
            <a:chExt cx="9376858" cy="792524"/>
          </a:xfrm>
        </p:grpSpPr>
        <p:sp>
          <p:nvSpPr>
            <p:cNvPr id="35" name="textruta 34"/>
            <p:cNvSpPr txBox="1"/>
            <p:nvPr/>
          </p:nvSpPr>
          <p:spPr>
            <a:xfrm>
              <a:off x="1029057" y="5587260"/>
              <a:ext cx="9376858"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white"/>
                  </a:solidFill>
                  <a:effectLst/>
                  <a:uLnTx/>
                  <a:uFillTx/>
                  <a:latin typeface="Segoe UI"/>
                  <a:ea typeface="+mn-ea"/>
                  <a:cs typeface="+mn-cs"/>
                </a:rPr>
                <a:t>Set price per device &amp; month</a:t>
              </a:r>
              <a:r>
                <a:rPr kumimoji="0" lang="en-US" sz="2400" b="0" i="0" u="none" strike="noStrike" kern="1200" cap="none" spc="0" normalizeH="0" baseline="0" noProof="0">
                  <a:ln>
                    <a:noFill/>
                  </a:ln>
                  <a:solidFill>
                    <a:prstClr val="white"/>
                  </a:solidFill>
                  <a:effectLst/>
                  <a:uLnTx/>
                  <a:uFillTx/>
                  <a:latin typeface="Segoe UI"/>
                  <a:ea typeface="+mn-ea"/>
                  <a:cs typeface="+mn-cs"/>
                </a:rPr>
                <a:t>.</a:t>
              </a:r>
            </a:p>
          </p:txBody>
        </p:sp>
        <p:sp>
          <p:nvSpPr>
            <p:cNvPr id="3" name="Höger klammerparentes 2">
              <a:extLst>
                <a:ext uri="{FF2B5EF4-FFF2-40B4-BE49-F238E27FC236}">
                  <a16:creationId xmlns:a16="http://schemas.microsoft.com/office/drawing/2014/main" id="{361CE010-ECEF-4CFC-8F94-A9B39AFDA7E5}"/>
                </a:ext>
              </a:extLst>
            </p:cNvPr>
            <p:cNvSpPr/>
            <p:nvPr/>
          </p:nvSpPr>
          <p:spPr>
            <a:xfrm rot="5400000">
              <a:off x="5595511" y="1462762"/>
              <a:ext cx="243950" cy="7831227"/>
            </a:xfrm>
            <a:prstGeom prst="rightBrace">
              <a:avLst/>
            </a:prstGeom>
            <a:ln>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sv-SE"/>
            </a:p>
          </p:txBody>
        </p:sp>
      </p:grpSp>
      <p:pic>
        <p:nvPicPr>
          <p:cNvPr id="17" name="Bildobjekt 16">
            <a:extLst>
              <a:ext uri="{FF2B5EF4-FFF2-40B4-BE49-F238E27FC236}">
                <a16:creationId xmlns:a16="http://schemas.microsoft.com/office/drawing/2014/main" id="{5B67FDE0-AF5F-4A83-ACC0-A898B4171B9A}"/>
              </a:ext>
            </a:extLst>
          </p:cNvPr>
          <p:cNvPicPr>
            <a:picLocks noChangeAspect="1"/>
          </p:cNvPicPr>
          <p:nvPr/>
        </p:nvPicPr>
        <p:blipFill>
          <a:blip r:embed="rId5"/>
          <a:stretch>
            <a:fillRect/>
          </a:stretch>
        </p:blipFill>
        <p:spPr>
          <a:xfrm>
            <a:off x="7415666" y="4443335"/>
            <a:ext cx="1364100" cy="1933633"/>
          </a:xfrm>
          <a:prstGeom prst="rect">
            <a:avLst/>
          </a:prstGeo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pic>
      <p:pic>
        <p:nvPicPr>
          <p:cNvPr id="18" name="Bildobjekt 17">
            <a:extLst>
              <a:ext uri="{FF2B5EF4-FFF2-40B4-BE49-F238E27FC236}">
                <a16:creationId xmlns:a16="http://schemas.microsoft.com/office/drawing/2014/main" id="{8F13D5B1-83BA-4D0C-982B-A7805AF5728F}"/>
              </a:ext>
            </a:extLst>
          </p:cNvPr>
          <p:cNvPicPr>
            <a:picLocks noChangeAspect="1"/>
          </p:cNvPicPr>
          <p:nvPr/>
        </p:nvPicPr>
        <p:blipFill>
          <a:blip r:embed="rId6"/>
          <a:stretch>
            <a:fillRect/>
          </a:stretch>
        </p:blipFill>
        <p:spPr>
          <a:xfrm>
            <a:off x="8234877" y="4559526"/>
            <a:ext cx="1355766" cy="1930855"/>
          </a:xfrm>
          <a:prstGeom prst="rect">
            <a:avLst/>
          </a:prstGeo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pic>
      <p:pic>
        <p:nvPicPr>
          <p:cNvPr id="20" name="Bildobjekt 19">
            <a:extLst>
              <a:ext uri="{FF2B5EF4-FFF2-40B4-BE49-F238E27FC236}">
                <a16:creationId xmlns:a16="http://schemas.microsoft.com/office/drawing/2014/main" id="{BF80A142-722F-4649-A705-15F70B961CBC}"/>
              </a:ext>
            </a:extLst>
          </p:cNvPr>
          <p:cNvPicPr>
            <a:picLocks noChangeAspect="1"/>
          </p:cNvPicPr>
          <p:nvPr/>
        </p:nvPicPr>
        <p:blipFill>
          <a:blip r:embed="rId7"/>
          <a:stretch>
            <a:fillRect/>
          </a:stretch>
        </p:blipFill>
        <p:spPr>
          <a:xfrm>
            <a:off x="9081756" y="4686000"/>
            <a:ext cx="1352987" cy="1933633"/>
          </a:xfrm>
          <a:prstGeom prst="rect">
            <a:avLst/>
          </a:prstGeo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pic>
      <p:sp>
        <p:nvSpPr>
          <p:cNvPr id="36" name="Rektangel 35">
            <a:extLst>
              <a:ext uri="{FF2B5EF4-FFF2-40B4-BE49-F238E27FC236}">
                <a16:creationId xmlns:a16="http://schemas.microsoft.com/office/drawing/2014/main" id="{6521EBED-61FF-4D2F-8328-D3649DCFAF30}"/>
              </a:ext>
            </a:extLst>
          </p:cNvPr>
          <p:cNvSpPr/>
          <p:nvPr/>
        </p:nvSpPr>
        <p:spPr>
          <a:xfrm>
            <a:off x="480422" y="2098224"/>
            <a:ext cx="11348412" cy="813594"/>
          </a:xfrm>
          <a:prstGeom prst="rect">
            <a:avLst/>
          </a:prstGeom>
          <a:solidFill>
            <a:schemeClr val="bg1">
              <a:alpha val="3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sv-SE"/>
          </a:p>
        </p:txBody>
      </p:sp>
      <p:pic>
        <p:nvPicPr>
          <p:cNvPr id="37" name="Picture 8" descr="Image result for dell logo">
            <a:extLst>
              <a:ext uri="{FF2B5EF4-FFF2-40B4-BE49-F238E27FC236}">
                <a16:creationId xmlns:a16="http://schemas.microsoft.com/office/drawing/2014/main" id="{1FBBD5C4-2B20-4F3A-BE54-44C1CD562DF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596645" y="2138340"/>
            <a:ext cx="730756" cy="730755"/>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12" descr="Image result for tele2 logo">
            <a:extLst>
              <a:ext uri="{FF2B5EF4-FFF2-40B4-BE49-F238E27FC236}">
                <a16:creationId xmlns:a16="http://schemas.microsoft.com/office/drawing/2014/main" id="{1AA00E19-A03A-4532-9076-E94D14CD226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294815" y="2333712"/>
            <a:ext cx="1034972" cy="408239"/>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12" descr="Bildresultat för Actemium logo png">
            <a:extLst>
              <a:ext uri="{FF2B5EF4-FFF2-40B4-BE49-F238E27FC236}">
                <a16:creationId xmlns:a16="http://schemas.microsoft.com/office/drawing/2014/main" id="{D144E8EC-96D5-45F6-BB2F-F3E1A54D8D6A}"/>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49287" y="2092550"/>
            <a:ext cx="1854517" cy="441195"/>
          </a:xfrm>
          <a:prstGeom prst="rect">
            <a:avLst/>
          </a:prstGeom>
          <a:noFill/>
          <a:extLst>
            <a:ext uri="{909E8E84-426E-40DD-AFC4-6F175D3DCCD1}">
              <a14:hiddenFill xmlns:a14="http://schemas.microsoft.com/office/drawing/2010/main">
                <a:solidFill>
                  <a:srgbClr val="FFFFFF"/>
                </a:solidFill>
              </a14:hiddenFill>
            </a:ext>
          </a:extLst>
        </p:spPr>
      </p:pic>
      <p:pic>
        <p:nvPicPr>
          <p:cNvPr id="44" name="Bildobjekt 43">
            <a:extLst>
              <a:ext uri="{FF2B5EF4-FFF2-40B4-BE49-F238E27FC236}">
                <a16:creationId xmlns:a16="http://schemas.microsoft.com/office/drawing/2014/main" id="{83AEA410-6777-4240-8845-91D4AC1B694F}"/>
              </a:ext>
            </a:extLst>
          </p:cNvPr>
          <p:cNvPicPr>
            <a:picLocks noChangeAspect="1"/>
          </p:cNvPicPr>
          <p:nvPr/>
        </p:nvPicPr>
        <p:blipFill>
          <a:blip r:embed="rId11"/>
          <a:stretch>
            <a:fillRect/>
          </a:stretch>
        </p:blipFill>
        <p:spPr>
          <a:xfrm>
            <a:off x="9931116" y="2441487"/>
            <a:ext cx="1604877" cy="292962"/>
          </a:xfrm>
          <a:prstGeom prst="rect">
            <a:avLst/>
          </a:prstGeom>
        </p:spPr>
      </p:pic>
      <p:pic>
        <p:nvPicPr>
          <p:cNvPr id="45" name="Bildobjekt 44">
            <a:extLst>
              <a:ext uri="{FF2B5EF4-FFF2-40B4-BE49-F238E27FC236}">
                <a16:creationId xmlns:a16="http://schemas.microsoft.com/office/drawing/2014/main" id="{75DB0F8F-CCEE-488C-A0ED-D3818E1BC4A7}"/>
              </a:ext>
            </a:extLst>
          </p:cNvPr>
          <p:cNvPicPr>
            <a:picLocks noChangeAspect="1"/>
          </p:cNvPicPr>
          <p:nvPr/>
        </p:nvPicPr>
        <p:blipFill>
          <a:blip r:embed="rId11"/>
          <a:stretch>
            <a:fillRect/>
          </a:stretch>
        </p:blipFill>
        <p:spPr>
          <a:xfrm>
            <a:off x="7960822" y="2424551"/>
            <a:ext cx="1604877" cy="306993"/>
          </a:xfrm>
          <a:prstGeom prst="rect">
            <a:avLst/>
          </a:prstGeom>
        </p:spPr>
      </p:pic>
      <p:sp>
        <p:nvSpPr>
          <p:cNvPr id="46" name="Textfeld 10">
            <a:extLst>
              <a:ext uri="{FF2B5EF4-FFF2-40B4-BE49-F238E27FC236}">
                <a16:creationId xmlns:a16="http://schemas.microsoft.com/office/drawing/2014/main" id="{1D75FBF7-144A-44B2-8372-6C9C1AACDEDC}"/>
              </a:ext>
            </a:extLst>
          </p:cNvPr>
          <p:cNvSpPr txBox="1"/>
          <p:nvPr/>
        </p:nvSpPr>
        <p:spPr>
          <a:xfrm>
            <a:off x="7990659" y="2661544"/>
            <a:ext cx="1586166" cy="307777"/>
          </a:xfrm>
          <a:prstGeom prst="rect">
            <a:avLst/>
          </a:prstGeom>
          <a:noFill/>
        </p:spPr>
        <p:txBody>
          <a:bodyPr wrap="square" rtlCol="0">
            <a:spAutoFit/>
          </a:bodyPr>
          <a:lstStyle>
            <a:defPPr>
              <a:defRPr lang="fr-FR"/>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4489"/>
                </a:solidFill>
                <a:effectLst/>
                <a:uLnTx/>
                <a:uFillTx/>
                <a:latin typeface="Arial" panose="020B0604020202020204" pitchFamily="34" charset="0"/>
                <a:ea typeface="+mn-ea"/>
                <a:cs typeface="Arial" panose="020B0604020202020204" pitchFamily="34" charset="0"/>
              </a:rPr>
              <a:t>IoT </a:t>
            </a:r>
            <a:r>
              <a:rPr kumimoji="0" lang="en-US" sz="1200" b="0" i="0" u="none" strike="noStrike" kern="1200" cap="none" spc="0" normalizeH="0" baseline="0" noProof="0" dirty="0">
                <a:ln>
                  <a:noFill/>
                </a:ln>
                <a:solidFill>
                  <a:srgbClr val="004489"/>
                </a:solidFill>
                <a:effectLst/>
                <a:uLnTx/>
                <a:uFillTx/>
                <a:latin typeface="Arial" panose="020B0604020202020204" pitchFamily="34" charset="0"/>
                <a:ea typeface="+mn-ea"/>
                <a:cs typeface="Arial" panose="020B0604020202020204" pitchFamily="34" charset="0"/>
              </a:rPr>
              <a:t>Nordic</a:t>
            </a:r>
          </a:p>
        </p:txBody>
      </p:sp>
      <p:pic>
        <p:nvPicPr>
          <p:cNvPr id="47" name="Picture 2" descr="https://microservicebus.com/Images/azurelogo.png">
            <a:extLst>
              <a:ext uri="{FF2B5EF4-FFF2-40B4-BE49-F238E27FC236}">
                <a16:creationId xmlns:a16="http://schemas.microsoft.com/office/drawing/2014/main" id="{75F37752-7A20-4949-896F-6683BFFFB1DC}"/>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031306" y="2239598"/>
            <a:ext cx="1568433" cy="565921"/>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4" descr="Bildresultat för omexom logo png">
            <a:extLst>
              <a:ext uri="{FF2B5EF4-FFF2-40B4-BE49-F238E27FC236}">
                <a16:creationId xmlns:a16="http://schemas.microsoft.com/office/drawing/2014/main" id="{E79ACD82-9977-4DE1-8DF5-69DE5847016A}"/>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579315" y="2545459"/>
            <a:ext cx="1439063" cy="3280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02025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mph" presetSubtype="0" nodeType="clickEffect">
                                  <p:stCondLst>
                                    <p:cond delay="0"/>
                                  </p:stCondLst>
                                  <p:childTnLst>
                                    <p:set>
                                      <p:cBhvr>
                                        <p:cTn id="6" dur="indefinite"/>
                                        <p:tgtEl>
                                          <p:spTgt spid="21"/>
                                        </p:tgtEl>
                                        <p:attrNameLst>
                                          <p:attrName>style.opacity</p:attrName>
                                        </p:attrNameLst>
                                      </p:cBhvr>
                                      <p:to>
                                        <p:strVal val="0.25"/>
                                      </p:to>
                                    </p:set>
                                    <p:animEffect filter="image" prLst="opacity: 0.25">
                                      <p:cBhvr rctx="IE">
                                        <p:cTn id="7" dur="indefinite"/>
                                        <p:tgtEl>
                                          <p:spTgt spid="21"/>
                                        </p:tgtEl>
                                      </p:cBhvr>
                                    </p:animEffect>
                                  </p:childTnLst>
                                </p:cTn>
                              </p:par>
                              <p:par>
                                <p:cTn id="8" presetID="9" presetClass="emph" presetSubtype="0" nodeType="withEffect">
                                  <p:stCondLst>
                                    <p:cond delay="0"/>
                                  </p:stCondLst>
                                  <p:childTnLst>
                                    <p:set>
                                      <p:cBhvr>
                                        <p:cTn id="9" dur="indefinite"/>
                                        <p:tgtEl>
                                          <p:spTgt spid="22"/>
                                        </p:tgtEl>
                                        <p:attrNameLst>
                                          <p:attrName>style.opacity</p:attrName>
                                        </p:attrNameLst>
                                      </p:cBhvr>
                                      <p:to>
                                        <p:strVal val="0.25"/>
                                      </p:to>
                                    </p:set>
                                    <p:animEffect filter="image" prLst="opacity: 0.25">
                                      <p:cBhvr rctx="IE">
                                        <p:cTn id="10" dur="indefinite"/>
                                        <p:tgtEl>
                                          <p:spTgt spid="22"/>
                                        </p:tgtEl>
                                      </p:cBhvr>
                                    </p:animEffect>
                                  </p:childTnLst>
                                </p:cTn>
                              </p:par>
                            </p:childTnLst>
                          </p:cTn>
                        </p:par>
                        <p:par>
                          <p:cTn id="11" fill="hold">
                            <p:stCondLst>
                              <p:cond delay="0"/>
                            </p:stCondLst>
                            <p:childTnLst>
                              <p:par>
                                <p:cTn id="12" presetID="10" presetClass="entr" presetSubtype="0" fill="hold" nodeType="afterEffect">
                                  <p:stCondLst>
                                    <p:cond delay="0"/>
                                  </p:stCondLst>
                                  <p:childTnLst>
                                    <p:set>
                                      <p:cBhvr>
                                        <p:cTn id="13" dur="1" fill="hold">
                                          <p:stCondLst>
                                            <p:cond delay="0"/>
                                          </p:stCondLst>
                                        </p:cTn>
                                        <p:tgtEl>
                                          <p:spTgt spid="24"/>
                                        </p:tgtEl>
                                        <p:attrNameLst>
                                          <p:attrName>style.visibility</p:attrName>
                                        </p:attrNameLst>
                                      </p:cBhvr>
                                      <p:to>
                                        <p:strVal val="visible"/>
                                      </p:to>
                                    </p:set>
                                    <p:animEffect transition="in" filter="fade">
                                      <p:cBhvr>
                                        <p:cTn id="14" dur="500"/>
                                        <p:tgtEl>
                                          <p:spTgt spid="24"/>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grpId="0" nodeType="click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500"/>
                                        <p:tgtEl>
                                          <p:spTgt spid="36"/>
                                        </p:tgtEl>
                                      </p:cBhvr>
                                    </p:animEffect>
                                  </p:childTnLst>
                                </p:cTn>
                              </p:par>
                            </p:childTnLst>
                          </p:cTn>
                        </p:par>
                        <p:par>
                          <p:cTn id="20" fill="hold">
                            <p:stCondLst>
                              <p:cond delay="500"/>
                            </p:stCondLst>
                            <p:childTnLst>
                              <p:par>
                                <p:cTn id="21" presetID="10" presetClass="entr" presetSubtype="0" fill="hold" nodeType="afterEffect">
                                  <p:stCondLst>
                                    <p:cond delay="0"/>
                                  </p:stCondLst>
                                  <p:childTnLst>
                                    <p:set>
                                      <p:cBhvr>
                                        <p:cTn id="22" dur="1" fill="hold">
                                          <p:stCondLst>
                                            <p:cond delay="0"/>
                                          </p:stCondLst>
                                        </p:cTn>
                                        <p:tgtEl>
                                          <p:spTgt spid="37"/>
                                        </p:tgtEl>
                                        <p:attrNameLst>
                                          <p:attrName>style.visibility</p:attrName>
                                        </p:attrNameLst>
                                      </p:cBhvr>
                                      <p:to>
                                        <p:strVal val="visible"/>
                                      </p:to>
                                    </p:set>
                                    <p:animEffect transition="in" filter="fade">
                                      <p:cBhvr>
                                        <p:cTn id="23" dur="500"/>
                                        <p:tgtEl>
                                          <p:spTgt spid="37"/>
                                        </p:tgtEl>
                                      </p:cBhvr>
                                    </p:animEffect>
                                  </p:childTnLst>
                                </p:cTn>
                              </p:par>
                              <p:par>
                                <p:cTn id="24" presetID="10" presetClass="entr" presetSubtype="0" fill="hold" nodeType="withEffect">
                                  <p:stCondLst>
                                    <p:cond delay="0"/>
                                  </p:stCondLst>
                                  <p:childTnLst>
                                    <p:set>
                                      <p:cBhvr>
                                        <p:cTn id="25" dur="1" fill="hold">
                                          <p:stCondLst>
                                            <p:cond delay="0"/>
                                          </p:stCondLst>
                                        </p:cTn>
                                        <p:tgtEl>
                                          <p:spTgt spid="41"/>
                                        </p:tgtEl>
                                        <p:attrNameLst>
                                          <p:attrName>style.visibility</p:attrName>
                                        </p:attrNameLst>
                                      </p:cBhvr>
                                      <p:to>
                                        <p:strVal val="visible"/>
                                      </p:to>
                                    </p:set>
                                    <p:animEffect transition="in" filter="fade">
                                      <p:cBhvr>
                                        <p:cTn id="26" dur="500"/>
                                        <p:tgtEl>
                                          <p:spTgt spid="41"/>
                                        </p:tgtEl>
                                      </p:cBhvr>
                                    </p:animEffect>
                                  </p:childTnLst>
                                </p:cTn>
                              </p:par>
                              <p:par>
                                <p:cTn id="27" presetID="10" presetClass="entr" presetSubtype="0" fill="hold" nodeType="withEffect">
                                  <p:stCondLst>
                                    <p:cond delay="0"/>
                                  </p:stCondLst>
                                  <p:childTnLst>
                                    <p:set>
                                      <p:cBhvr>
                                        <p:cTn id="28" dur="1" fill="hold">
                                          <p:stCondLst>
                                            <p:cond delay="0"/>
                                          </p:stCondLst>
                                        </p:cTn>
                                        <p:tgtEl>
                                          <p:spTgt spid="47"/>
                                        </p:tgtEl>
                                        <p:attrNameLst>
                                          <p:attrName>style.visibility</p:attrName>
                                        </p:attrNameLst>
                                      </p:cBhvr>
                                      <p:to>
                                        <p:strVal val="visible"/>
                                      </p:to>
                                    </p:set>
                                    <p:animEffect transition="in" filter="fade">
                                      <p:cBhvr>
                                        <p:cTn id="29" dur="500"/>
                                        <p:tgtEl>
                                          <p:spTgt spid="47"/>
                                        </p:tgtEl>
                                      </p:cBhvr>
                                    </p:animEffect>
                                  </p:childTnLst>
                                </p:cTn>
                              </p:par>
                              <p:par>
                                <p:cTn id="30" presetID="10" presetClass="entr" presetSubtype="0" fill="hold" nodeType="withEffect">
                                  <p:stCondLst>
                                    <p:cond delay="0"/>
                                  </p:stCondLst>
                                  <p:childTnLst>
                                    <p:set>
                                      <p:cBhvr>
                                        <p:cTn id="31" dur="1" fill="hold">
                                          <p:stCondLst>
                                            <p:cond delay="0"/>
                                          </p:stCondLst>
                                        </p:cTn>
                                        <p:tgtEl>
                                          <p:spTgt spid="45"/>
                                        </p:tgtEl>
                                        <p:attrNameLst>
                                          <p:attrName>style.visibility</p:attrName>
                                        </p:attrNameLst>
                                      </p:cBhvr>
                                      <p:to>
                                        <p:strVal val="visible"/>
                                      </p:to>
                                    </p:set>
                                    <p:animEffect transition="in" filter="fade">
                                      <p:cBhvr>
                                        <p:cTn id="32" dur="500"/>
                                        <p:tgtEl>
                                          <p:spTgt spid="45"/>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46"/>
                                        </p:tgtEl>
                                        <p:attrNameLst>
                                          <p:attrName>style.visibility</p:attrName>
                                        </p:attrNameLst>
                                      </p:cBhvr>
                                      <p:to>
                                        <p:strVal val="visible"/>
                                      </p:to>
                                    </p:set>
                                    <p:animEffect transition="in" filter="fade">
                                      <p:cBhvr>
                                        <p:cTn id="35" dur="500"/>
                                        <p:tgtEl>
                                          <p:spTgt spid="46"/>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17"/>
                                        </p:tgtEl>
                                        <p:attrNameLst>
                                          <p:attrName>style.visibility</p:attrName>
                                        </p:attrNameLst>
                                      </p:cBhvr>
                                      <p:to>
                                        <p:strVal val="visible"/>
                                      </p:to>
                                    </p:set>
                                    <p:animEffect transition="in" filter="fade">
                                      <p:cBhvr>
                                        <p:cTn id="40" dur="500"/>
                                        <p:tgtEl>
                                          <p:spTgt spid="17"/>
                                        </p:tgtEl>
                                      </p:cBhvr>
                                    </p:animEffect>
                                  </p:childTnLst>
                                </p:cTn>
                              </p:par>
                            </p:childTnLst>
                          </p:cTn>
                        </p:par>
                        <p:par>
                          <p:cTn id="41" fill="hold">
                            <p:stCondLst>
                              <p:cond delay="500"/>
                            </p:stCondLst>
                            <p:childTnLst>
                              <p:par>
                                <p:cTn id="42" presetID="10" presetClass="entr" presetSubtype="0" fill="hold" nodeType="afterEffect">
                                  <p:stCondLst>
                                    <p:cond delay="0"/>
                                  </p:stCondLst>
                                  <p:childTnLst>
                                    <p:set>
                                      <p:cBhvr>
                                        <p:cTn id="43" dur="1" fill="hold">
                                          <p:stCondLst>
                                            <p:cond delay="0"/>
                                          </p:stCondLst>
                                        </p:cTn>
                                        <p:tgtEl>
                                          <p:spTgt spid="18"/>
                                        </p:tgtEl>
                                        <p:attrNameLst>
                                          <p:attrName>style.visibility</p:attrName>
                                        </p:attrNameLst>
                                      </p:cBhvr>
                                      <p:to>
                                        <p:strVal val="visible"/>
                                      </p:to>
                                    </p:set>
                                    <p:animEffect transition="in" filter="fade">
                                      <p:cBhvr>
                                        <p:cTn id="44" dur="500"/>
                                        <p:tgtEl>
                                          <p:spTgt spid="18"/>
                                        </p:tgtEl>
                                      </p:cBhvr>
                                    </p:animEffect>
                                  </p:childTnLst>
                                </p:cTn>
                              </p:par>
                            </p:childTnLst>
                          </p:cTn>
                        </p:par>
                        <p:par>
                          <p:cTn id="45" fill="hold">
                            <p:stCondLst>
                              <p:cond delay="1000"/>
                            </p:stCondLst>
                            <p:childTnLst>
                              <p:par>
                                <p:cTn id="46" presetID="10" presetClass="entr" presetSubtype="0" fill="hold" nodeType="afterEffect">
                                  <p:stCondLst>
                                    <p:cond delay="0"/>
                                  </p:stCondLst>
                                  <p:childTnLst>
                                    <p:set>
                                      <p:cBhvr>
                                        <p:cTn id="47" dur="1" fill="hold">
                                          <p:stCondLst>
                                            <p:cond delay="0"/>
                                          </p:stCondLst>
                                        </p:cTn>
                                        <p:tgtEl>
                                          <p:spTgt spid="20"/>
                                        </p:tgtEl>
                                        <p:attrNameLst>
                                          <p:attrName>style.visibility</p:attrName>
                                        </p:attrNameLst>
                                      </p:cBhvr>
                                      <p:to>
                                        <p:strVal val="visible"/>
                                      </p:to>
                                    </p:set>
                                    <p:animEffect transition="in" filter="fade">
                                      <p:cBhvr>
                                        <p:cTn id="48" dur="500"/>
                                        <p:tgtEl>
                                          <p:spTgt spid="20"/>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nodeType="clickEffect">
                                  <p:stCondLst>
                                    <p:cond delay="0"/>
                                  </p:stCondLst>
                                  <p:childTnLst>
                                    <p:set>
                                      <p:cBhvr>
                                        <p:cTn id="52" dur="1" fill="hold">
                                          <p:stCondLst>
                                            <p:cond delay="0"/>
                                          </p:stCondLst>
                                        </p:cTn>
                                        <p:tgtEl>
                                          <p:spTgt spid="42"/>
                                        </p:tgtEl>
                                        <p:attrNameLst>
                                          <p:attrName>style.visibility</p:attrName>
                                        </p:attrNameLst>
                                      </p:cBhvr>
                                      <p:to>
                                        <p:strVal val="visible"/>
                                      </p:to>
                                    </p:set>
                                    <p:animEffect transition="in" filter="fade">
                                      <p:cBhvr>
                                        <p:cTn id="53" dur="500"/>
                                        <p:tgtEl>
                                          <p:spTgt spid="42"/>
                                        </p:tgtEl>
                                      </p:cBhvr>
                                    </p:animEffect>
                                  </p:childTnLst>
                                </p:cTn>
                              </p:par>
                              <p:par>
                                <p:cTn id="54" presetID="10" presetClass="entr" presetSubtype="0" fill="hold" nodeType="withEffect">
                                  <p:stCondLst>
                                    <p:cond delay="0"/>
                                  </p:stCondLst>
                                  <p:childTnLst>
                                    <p:set>
                                      <p:cBhvr>
                                        <p:cTn id="55" dur="1" fill="hold">
                                          <p:stCondLst>
                                            <p:cond delay="0"/>
                                          </p:stCondLst>
                                        </p:cTn>
                                        <p:tgtEl>
                                          <p:spTgt spid="44"/>
                                        </p:tgtEl>
                                        <p:attrNameLst>
                                          <p:attrName>style.visibility</p:attrName>
                                        </p:attrNameLst>
                                      </p:cBhvr>
                                      <p:to>
                                        <p:strVal val="visible"/>
                                      </p:to>
                                    </p:set>
                                    <p:animEffect transition="in" filter="fade">
                                      <p:cBhvr>
                                        <p:cTn id="56" dur="500"/>
                                        <p:tgtEl>
                                          <p:spTgt spid="44"/>
                                        </p:tgtEl>
                                      </p:cBhvr>
                                    </p:animEffect>
                                  </p:childTnLst>
                                </p:cTn>
                              </p:par>
                              <p:par>
                                <p:cTn id="57" presetID="10" presetClass="entr" presetSubtype="0" fill="hold" nodeType="withEffect">
                                  <p:stCondLst>
                                    <p:cond delay="0"/>
                                  </p:stCondLst>
                                  <p:childTnLst>
                                    <p:set>
                                      <p:cBhvr>
                                        <p:cTn id="58" dur="1" fill="hold">
                                          <p:stCondLst>
                                            <p:cond delay="0"/>
                                          </p:stCondLst>
                                        </p:cTn>
                                        <p:tgtEl>
                                          <p:spTgt spid="48"/>
                                        </p:tgtEl>
                                        <p:attrNameLst>
                                          <p:attrName>style.visibility</p:attrName>
                                        </p:attrNameLst>
                                      </p:cBhvr>
                                      <p:to>
                                        <p:strVal val="visible"/>
                                      </p:to>
                                    </p:set>
                                    <p:animEffect transition="in" filter="fade">
                                      <p:cBhvr>
                                        <p:cTn id="59" dur="5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46"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a:t>Axians – </a:t>
            </a:r>
            <a:r>
              <a:rPr lang="sv-SE" b="1" dirty="0">
                <a:solidFill>
                  <a:srgbClr val="FF0000"/>
                </a:solidFill>
              </a:rPr>
              <a:t>IoT</a:t>
            </a:r>
            <a:r>
              <a:rPr lang="sv-SE" dirty="0"/>
              <a:t> Operation</a:t>
            </a:r>
            <a:endParaRPr lang="en-US" dirty="0"/>
          </a:p>
        </p:txBody>
      </p:sp>
      <p:grpSp>
        <p:nvGrpSpPr>
          <p:cNvPr id="1029" name="Group 1028">
            <a:extLst>
              <a:ext uri="{FF2B5EF4-FFF2-40B4-BE49-F238E27FC236}">
                <a16:creationId xmlns:a16="http://schemas.microsoft.com/office/drawing/2014/main" id="{240BDCA2-26D6-4FD6-9AFA-BF2FF6B8B65F}"/>
              </a:ext>
            </a:extLst>
          </p:cNvPr>
          <p:cNvGrpSpPr/>
          <p:nvPr/>
        </p:nvGrpSpPr>
        <p:grpSpPr>
          <a:xfrm>
            <a:off x="4800751" y="1152632"/>
            <a:ext cx="1520944" cy="4831311"/>
            <a:chOff x="4800751" y="1152632"/>
            <a:chExt cx="1520944" cy="4831311"/>
          </a:xfrm>
        </p:grpSpPr>
        <p:sp>
          <p:nvSpPr>
            <p:cNvPr id="51" name="Rectangle 50"/>
            <p:cNvSpPr/>
            <p:nvPr/>
          </p:nvSpPr>
          <p:spPr>
            <a:xfrm>
              <a:off x="4800751" y="1152632"/>
              <a:ext cx="1520944" cy="4831311"/>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52" name="Picture 5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121389" y="3065004"/>
              <a:ext cx="879667" cy="721991"/>
            </a:xfrm>
            <a:prstGeom prst="rect">
              <a:avLst/>
            </a:prstGeom>
          </p:spPr>
        </p:pic>
        <p:sp>
          <p:nvSpPr>
            <p:cNvPr id="66" name="TextBox 65"/>
            <p:cNvSpPr txBox="1"/>
            <p:nvPr/>
          </p:nvSpPr>
          <p:spPr>
            <a:xfrm>
              <a:off x="4806507" y="1168072"/>
              <a:ext cx="1515188"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Device </a:t>
              </a:r>
              <a:r>
                <a:rPr kumimoji="0" lang="en-US" sz="1800" b="0" i="0" u="none" strike="noStrike" kern="1200" cap="none" spc="0" normalizeH="0" baseline="0" noProof="0" dirty="0" err="1">
                  <a:ln>
                    <a:noFill/>
                  </a:ln>
                  <a:solidFill>
                    <a:prstClr val="white"/>
                  </a:solidFill>
                  <a:effectLst/>
                  <a:uLnTx/>
                  <a:uFillTx/>
                  <a:latin typeface="Calibri" panose="020F0502020204030204"/>
                  <a:ea typeface="+mn-ea"/>
                  <a:cs typeface="+mn-cs"/>
                </a:rPr>
                <a:t>Mgmt</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027" name="Group 1026">
            <a:extLst>
              <a:ext uri="{FF2B5EF4-FFF2-40B4-BE49-F238E27FC236}">
                <a16:creationId xmlns:a16="http://schemas.microsoft.com/office/drawing/2014/main" id="{4247E955-95C6-4803-9CFE-53A8E9E77630}"/>
              </a:ext>
            </a:extLst>
          </p:cNvPr>
          <p:cNvGrpSpPr/>
          <p:nvPr/>
        </p:nvGrpSpPr>
        <p:grpSpPr>
          <a:xfrm>
            <a:off x="7614300" y="2880338"/>
            <a:ext cx="3739500" cy="1499510"/>
            <a:chOff x="7614300" y="2880338"/>
            <a:chExt cx="3739500" cy="1499510"/>
          </a:xfrm>
        </p:grpSpPr>
        <p:sp>
          <p:nvSpPr>
            <p:cNvPr id="112" name="Rectangle 111">
              <a:extLst>
                <a:ext uri="{FF2B5EF4-FFF2-40B4-BE49-F238E27FC236}">
                  <a16:creationId xmlns:a16="http://schemas.microsoft.com/office/drawing/2014/main" id="{45864581-913C-4B90-B531-FB2920590272}"/>
                </a:ext>
              </a:extLst>
            </p:cNvPr>
            <p:cNvSpPr/>
            <p:nvPr/>
          </p:nvSpPr>
          <p:spPr>
            <a:xfrm>
              <a:off x="7687346" y="3284404"/>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113" name="Picture 112">
              <a:extLst>
                <a:ext uri="{FF2B5EF4-FFF2-40B4-BE49-F238E27FC236}">
                  <a16:creationId xmlns:a16="http://schemas.microsoft.com/office/drawing/2014/main" id="{6DA0732B-EE61-4D1C-83C3-E5CBE8F99033}"/>
                </a:ext>
              </a:extLst>
            </p:cNvPr>
            <p:cNvPicPr>
              <a:picLocks noChangeAspect="1"/>
            </p:cNvPicPr>
            <p:nvPr/>
          </p:nvPicPr>
          <p:blipFill>
            <a:blip r:embed="rId3"/>
            <a:stretch>
              <a:fillRect/>
            </a:stretch>
          </p:blipFill>
          <p:spPr>
            <a:xfrm>
              <a:off x="9631079" y="3895711"/>
              <a:ext cx="354135" cy="343920"/>
            </a:xfrm>
            <a:prstGeom prst="rect">
              <a:avLst/>
            </a:prstGeom>
          </p:spPr>
        </p:pic>
        <p:pic>
          <p:nvPicPr>
            <p:cNvPr id="114" name="Picture 113">
              <a:extLst>
                <a:ext uri="{FF2B5EF4-FFF2-40B4-BE49-F238E27FC236}">
                  <a16:creationId xmlns:a16="http://schemas.microsoft.com/office/drawing/2014/main" id="{F361A9DB-A270-4B6A-9A3D-AD43731B9907}"/>
                </a:ext>
              </a:extLst>
            </p:cNvPr>
            <p:cNvPicPr>
              <a:picLocks noChangeAspect="1"/>
            </p:cNvPicPr>
            <p:nvPr/>
          </p:nvPicPr>
          <p:blipFill>
            <a:blip r:embed="rId3"/>
            <a:stretch>
              <a:fillRect/>
            </a:stretch>
          </p:blipFill>
          <p:spPr>
            <a:xfrm>
              <a:off x="9631078" y="3463658"/>
              <a:ext cx="354135" cy="343920"/>
            </a:xfrm>
            <a:prstGeom prst="rect">
              <a:avLst/>
            </a:prstGeom>
          </p:spPr>
        </p:pic>
        <p:pic>
          <p:nvPicPr>
            <p:cNvPr id="115" name="Picture 114">
              <a:extLst>
                <a:ext uri="{FF2B5EF4-FFF2-40B4-BE49-F238E27FC236}">
                  <a16:creationId xmlns:a16="http://schemas.microsoft.com/office/drawing/2014/main" id="{0C8E72F0-2700-4E86-83B1-543727E45984}"/>
                </a:ext>
              </a:extLst>
            </p:cNvPr>
            <p:cNvPicPr>
              <a:picLocks noChangeAspect="1"/>
            </p:cNvPicPr>
            <p:nvPr/>
          </p:nvPicPr>
          <p:blipFill>
            <a:blip r:embed="rId3"/>
            <a:stretch>
              <a:fillRect/>
            </a:stretch>
          </p:blipFill>
          <p:spPr>
            <a:xfrm>
              <a:off x="9631077" y="3031605"/>
              <a:ext cx="354135" cy="343920"/>
            </a:xfrm>
            <a:prstGeom prst="rect">
              <a:avLst/>
            </a:prstGeom>
          </p:spPr>
        </p:pic>
        <p:pic>
          <p:nvPicPr>
            <p:cNvPr id="116" name="Picture 115">
              <a:extLst>
                <a:ext uri="{FF2B5EF4-FFF2-40B4-BE49-F238E27FC236}">
                  <a16:creationId xmlns:a16="http://schemas.microsoft.com/office/drawing/2014/main" id="{CF1BB178-83FC-4BA2-B790-87B2D0E2210E}"/>
                </a:ext>
              </a:extLst>
            </p:cNvPr>
            <p:cNvPicPr>
              <a:picLocks noChangeAspect="1"/>
            </p:cNvPicPr>
            <p:nvPr/>
          </p:nvPicPr>
          <p:blipFill>
            <a:blip r:embed="rId3"/>
            <a:stretch>
              <a:fillRect/>
            </a:stretch>
          </p:blipFill>
          <p:spPr>
            <a:xfrm>
              <a:off x="10066943" y="3895711"/>
              <a:ext cx="354135" cy="343920"/>
            </a:xfrm>
            <a:prstGeom prst="rect">
              <a:avLst/>
            </a:prstGeom>
          </p:spPr>
        </p:pic>
        <p:pic>
          <p:nvPicPr>
            <p:cNvPr id="117" name="Picture 116">
              <a:extLst>
                <a:ext uri="{FF2B5EF4-FFF2-40B4-BE49-F238E27FC236}">
                  <a16:creationId xmlns:a16="http://schemas.microsoft.com/office/drawing/2014/main" id="{EF9D3BA8-FCB5-4480-BF86-22B6E2F1C11F}"/>
                </a:ext>
              </a:extLst>
            </p:cNvPr>
            <p:cNvPicPr>
              <a:picLocks noChangeAspect="1"/>
            </p:cNvPicPr>
            <p:nvPr/>
          </p:nvPicPr>
          <p:blipFill>
            <a:blip r:embed="rId3"/>
            <a:stretch>
              <a:fillRect/>
            </a:stretch>
          </p:blipFill>
          <p:spPr>
            <a:xfrm>
              <a:off x="10066942" y="3463658"/>
              <a:ext cx="354135" cy="343920"/>
            </a:xfrm>
            <a:prstGeom prst="rect">
              <a:avLst/>
            </a:prstGeom>
          </p:spPr>
        </p:pic>
        <p:pic>
          <p:nvPicPr>
            <p:cNvPr id="118" name="Picture 117">
              <a:extLst>
                <a:ext uri="{FF2B5EF4-FFF2-40B4-BE49-F238E27FC236}">
                  <a16:creationId xmlns:a16="http://schemas.microsoft.com/office/drawing/2014/main" id="{503B7343-3F1D-4C2F-AEA4-16B1078387D7}"/>
                </a:ext>
              </a:extLst>
            </p:cNvPr>
            <p:cNvPicPr>
              <a:picLocks noChangeAspect="1"/>
            </p:cNvPicPr>
            <p:nvPr/>
          </p:nvPicPr>
          <p:blipFill>
            <a:blip r:embed="rId3"/>
            <a:stretch>
              <a:fillRect/>
            </a:stretch>
          </p:blipFill>
          <p:spPr>
            <a:xfrm>
              <a:off x="10066941" y="3031605"/>
              <a:ext cx="354135" cy="343920"/>
            </a:xfrm>
            <a:prstGeom prst="rect">
              <a:avLst/>
            </a:prstGeom>
          </p:spPr>
        </p:pic>
        <p:pic>
          <p:nvPicPr>
            <p:cNvPr id="119" name="Picture 118">
              <a:extLst>
                <a:ext uri="{FF2B5EF4-FFF2-40B4-BE49-F238E27FC236}">
                  <a16:creationId xmlns:a16="http://schemas.microsoft.com/office/drawing/2014/main" id="{9BF859DD-F7A2-4C81-8790-00311632C23E}"/>
                </a:ext>
              </a:extLst>
            </p:cNvPr>
            <p:cNvPicPr>
              <a:picLocks noChangeAspect="1"/>
            </p:cNvPicPr>
            <p:nvPr/>
          </p:nvPicPr>
          <p:blipFill>
            <a:blip r:embed="rId3"/>
            <a:stretch>
              <a:fillRect/>
            </a:stretch>
          </p:blipFill>
          <p:spPr>
            <a:xfrm>
              <a:off x="10502807" y="3895711"/>
              <a:ext cx="354135" cy="343920"/>
            </a:xfrm>
            <a:prstGeom prst="rect">
              <a:avLst/>
            </a:prstGeom>
          </p:spPr>
        </p:pic>
        <p:pic>
          <p:nvPicPr>
            <p:cNvPr id="120" name="Picture 119">
              <a:extLst>
                <a:ext uri="{FF2B5EF4-FFF2-40B4-BE49-F238E27FC236}">
                  <a16:creationId xmlns:a16="http://schemas.microsoft.com/office/drawing/2014/main" id="{70B17A51-4B80-48C8-8B22-0FB0F3235360}"/>
                </a:ext>
              </a:extLst>
            </p:cNvPr>
            <p:cNvPicPr>
              <a:picLocks noChangeAspect="1"/>
            </p:cNvPicPr>
            <p:nvPr/>
          </p:nvPicPr>
          <p:blipFill>
            <a:blip r:embed="rId3"/>
            <a:stretch>
              <a:fillRect/>
            </a:stretch>
          </p:blipFill>
          <p:spPr>
            <a:xfrm>
              <a:off x="10502806" y="3463658"/>
              <a:ext cx="354135" cy="343920"/>
            </a:xfrm>
            <a:prstGeom prst="rect">
              <a:avLst/>
            </a:prstGeom>
          </p:spPr>
        </p:pic>
        <p:pic>
          <p:nvPicPr>
            <p:cNvPr id="121" name="Picture 120">
              <a:extLst>
                <a:ext uri="{FF2B5EF4-FFF2-40B4-BE49-F238E27FC236}">
                  <a16:creationId xmlns:a16="http://schemas.microsoft.com/office/drawing/2014/main" id="{B9E9895A-7AD0-41F0-9C4C-E6623BEB99EA}"/>
                </a:ext>
              </a:extLst>
            </p:cNvPr>
            <p:cNvPicPr>
              <a:picLocks noChangeAspect="1"/>
            </p:cNvPicPr>
            <p:nvPr/>
          </p:nvPicPr>
          <p:blipFill>
            <a:blip r:embed="rId3"/>
            <a:stretch>
              <a:fillRect/>
            </a:stretch>
          </p:blipFill>
          <p:spPr>
            <a:xfrm>
              <a:off x="10502805" y="3031605"/>
              <a:ext cx="354135" cy="343920"/>
            </a:xfrm>
            <a:prstGeom prst="rect">
              <a:avLst/>
            </a:prstGeom>
          </p:spPr>
        </p:pic>
        <p:pic>
          <p:nvPicPr>
            <p:cNvPr id="122" name="Picture 121">
              <a:extLst>
                <a:ext uri="{FF2B5EF4-FFF2-40B4-BE49-F238E27FC236}">
                  <a16:creationId xmlns:a16="http://schemas.microsoft.com/office/drawing/2014/main" id="{B6F70FE5-27CD-40F2-A50E-5229267A5376}"/>
                </a:ext>
              </a:extLst>
            </p:cNvPr>
            <p:cNvPicPr>
              <a:picLocks noChangeAspect="1"/>
            </p:cNvPicPr>
            <p:nvPr/>
          </p:nvPicPr>
          <p:blipFill>
            <a:blip r:embed="rId3"/>
            <a:stretch>
              <a:fillRect/>
            </a:stretch>
          </p:blipFill>
          <p:spPr>
            <a:xfrm>
              <a:off x="10938671" y="3895711"/>
              <a:ext cx="354135" cy="343920"/>
            </a:xfrm>
            <a:prstGeom prst="rect">
              <a:avLst/>
            </a:prstGeom>
          </p:spPr>
        </p:pic>
        <p:pic>
          <p:nvPicPr>
            <p:cNvPr id="123" name="Picture 122">
              <a:extLst>
                <a:ext uri="{FF2B5EF4-FFF2-40B4-BE49-F238E27FC236}">
                  <a16:creationId xmlns:a16="http://schemas.microsoft.com/office/drawing/2014/main" id="{968389B7-EE9C-4F32-B0FF-D1E2A848D42B}"/>
                </a:ext>
              </a:extLst>
            </p:cNvPr>
            <p:cNvPicPr>
              <a:picLocks noChangeAspect="1"/>
            </p:cNvPicPr>
            <p:nvPr/>
          </p:nvPicPr>
          <p:blipFill>
            <a:blip r:embed="rId3"/>
            <a:stretch>
              <a:fillRect/>
            </a:stretch>
          </p:blipFill>
          <p:spPr>
            <a:xfrm>
              <a:off x="10938670" y="3463658"/>
              <a:ext cx="354135" cy="343920"/>
            </a:xfrm>
            <a:prstGeom prst="rect">
              <a:avLst/>
            </a:prstGeom>
          </p:spPr>
        </p:pic>
        <p:pic>
          <p:nvPicPr>
            <p:cNvPr id="124" name="Picture 123">
              <a:extLst>
                <a:ext uri="{FF2B5EF4-FFF2-40B4-BE49-F238E27FC236}">
                  <a16:creationId xmlns:a16="http://schemas.microsoft.com/office/drawing/2014/main" id="{E01ECDA3-9BA6-47B9-83CE-340618F723BC}"/>
                </a:ext>
              </a:extLst>
            </p:cNvPr>
            <p:cNvPicPr>
              <a:picLocks noChangeAspect="1"/>
            </p:cNvPicPr>
            <p:nvPr/>
          </p:nvPicPr>
          <p:blipFill>
            <a:blip r:embed="rId3"/>
            <a:stretch>
              <a:fillRect/>
            </a:stretch>
          </p:blipFill>
          <p:spPr>
            <a:xfrm>
              <a:off x="10938669" y="3031605"/>
              <a:ext cx="354135" cy="343920"/>
            </a:xfrm>
            <a:prstGeom prst="rect">
              <a:avLst/>
            </a:prstGeom>
          </p:spPr>
        </p:pic>
        <p:sp>
          <p:nvSpPr>
            <p:cNvPr id="125" name="Rectangle 124">
              <a:extLst>
                <a:ext uri="{FF2B5EF4-FFF2-40B4-BE49-F238E27FC236}">
                  <a16:creationId xmlns:a16="http://schemas.microsoft.com/office/drawing/2014/main" id="{C7ECC834-E963-4038-BB6E-9924343554FD}"/>
                </a:ext>
              </a:extLst>
            </p:cNvPr>
            <p:cNvSpPr/>
            <p:nvPr/>
          </p:nvSpPr>
          <p:spPr>
            <a:xfrm>
              <a:off x="9566076" y="2895478"/>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6" name="Straight Arrow Connector 125">
              <a:extLst>
                <a:ext uri="{FF2B5EF4-FFF2-40B4-BE49-F238E27FC236}">
                  <a16:creationId xmlns:a16="http://schemas.microsoft.com/office/drawing/2014/main" id="{77177B09-C981-4444-96EA-9F85052E0FF8}"/>
                </a:ext>
              </a:extLst>
            </p:cNvPr>
            <p:cNvCxnSpPr>
              <a:stCxn id="112" idx="3"/>
              <a:endCxn id="125" idx="1"/>
            </p:cNvCxnSpPr>
            <p:nvPr/>
          </p:nvCxnSpPr>
          <p:spPr>
            <a:xfrm>
              <a:off x="8792246" y="3633654"/>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3" name="TextBox 142">
              <a:extLst>
                <a:ext uri="{FF2B5EF4-FFF2-40B4-BE49-F238E27FC236}">
                  <a16:creationId xmlns:a16="http://schemas.microsoft.com/office/drawing/2014/main" id="{C0EC3CDA-02A0-47C9-8C43-50F517E80E67}"/>
                </a:ext>
              </a:extLst>
            </p:cNvPr>
            <p:cNvSpPr txBox="1"/>
            <p:nvPr/>
          </p:nvSpPr>
          <p:spPr>
            <a:xfrm>
              <a:off x="7614300" y="2880338"/>
              <a:ext cx="1271502" cy="369332"/>
            </a:xfrm>
            <a:prstGeom prst="rect">
              <a:avLst/>
            </a:prstGeom>
            <a:noFill/>
          </p:spPr>
          <p:txBody>
            <a:bodyPr wrap="none" rtlCol="0">
              <a:spAutoFit/>
            </a:bodyPr>
            <a:lstStyle/>
            <a:p>
              <a:r>
                <a:rPr lang="sv-SE" dirty="0"/>
                <a:t>Customer B</a:t>
              </a:r>
              <a:endParaRPr lang="en-US" dirty="0"/>
            </a:p>
          </p:txBody>
        </p:sp>
        <p:pic>
          <p:nvPicPr>
            <p:cNvPr id="145" name="Picture 4" descr="Related image">
              <a:extLst>
                <a:ext uri="{FF2B5EF4-FFF2-40B4-BE49-F238E27FC236}">
                  <a16:creationId xmlns:a16="http://schemas.microsoft.com/office/drawing/2014/main" id="{2FBFACFD-2097-4971-817B-11CF759B7F6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623840" y="3797438"/>
              <a:ext cx="418541" cy="50647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28" name="Group 1027">
            <a:extLst>
              <a:ext uri="{FF2B5EF4-FFF2-40B4-BE49-F238E27FC236}">
                <a16:creationId xmlns:a16="http://schemas.microsoft.com/office/drawing/2014/main" id="{0CDE55AB-F524-4AFF-8F1E-304A555BFC43}"/>
              </a:ext>
            </a:extLst>
          </p:cNvPr>
          <p:cNvGrpSpPr/>
          <p:nvPr/>
        </p:nvGrpSpPr>
        <p:grpSpPr>
          <a:xfrm>
            <a:off x="7628563" y="4545087"/>
            <a:ext cx="3725237" cy="1486453"/>
            <a:chOff x="7628563" y="4545087"/>
            <a:chExt cx="3725237" cy="1486453"/>
          </a:xfrm>
        </p:grpSpPr>
        <p:sp>
          <p:nvSpPr>
            <p:cNvPr id="127" name="Rectangle 126">
              <a:extLst>
                <a:ext uri="{FF2B5EF4-FFF2-40B4-BE49-F238E27FC236}">
                  <a16:creationId xmlns:a16="http://schemas.microsoft.com/office/drawing/2014/main" id="{F580FFF3-D4BF-47F5-8541-D44196DE24B3}"/>
                </a:ext>
              </a:extLst>
            </p:cNvPr>
            <p:cNvSpPr/>
            <p:nvPr/>
          </p:nvSpPr>
          <p:spPr>
            <a:xfrm>
              <a:off x="7687346" y="4936096"/>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128" name="Picture 127">
              <a:extLst>
                <a:ext uri="{FF2B5EF4-FFF2-40B4-BE49-F238E27FC236}">
                  <a16:creationId xmlns:a16="http://schemas.microsoft.com/office/drawing/2014/main" id="{6BD708F8-E9BA-4F50-9698-6269D3F90311}"/>
                </a:ext>
              </a:extLst>
            </p:cNvPr>
            <p:cNvPicPr>
              <a:picLocks noChangeAspect="1"/>
            </p:cNvPicPr>
            <p:nvPr/>
          </p:nvPicPr>
          <p:blipFill>
            <a:blip r:embed="rId3"/>
            <a:stretch>
              <a:fillRect/>
            </a:stretch>
          </p:blipFill>
          <p:spPr>
            <a:xfrm>
              <a:off x="9631079" y="5547403"/>
              <a:ext cx="354135" cy="343920"/>
            </a:xfrm>
            <a:prstGeom prst="rect">
              <a:avLst/>
            </a:prstGeom>
          </p:spPr>
        </p:pic>
        <p:pic>
          <p:nvPicPr>
            <p:cNvPr id="129" name="Picture 128">
              <a:extLst>
                <a:ext uri="{FF2B5EF4-FFF2-40B4-BE49-F238E27FC236}">
                  <a16:creationId xmlns:a16="http://schemas.microsoft.com/office/drawing/2014/main" id="{61D82181-4B14-4798-AD32-5D0480EA8D7C}"/>
                </a:ext>
              </a:extLst>
            </p:cNvPr>
            <p:cNvPicPr>
              <a:picLocks noChangeAspect="1"/>
            </p:cNvPicPr>
            <p:nvPr/>
          </p:nvPicPr>
          <p:blipFill>
            <a:blip r:embed="rId3"/>
            <a:stretch>
              <a:fillRect/>
            </a:stretch>
          </p:blipFill>
          <p:spPr>
            <a:xfrm>
              <a:off x="9631078" y="5115350"/>
              <a:ext cx="354135" cy="343920"/>
            </a:xfrm>
            <a:prstGeom prst="rect">
              <a:avLst/>
            </a:prstGeom>
          </p:spPr>
        </p:pic>
        <p:pic>
          <p:nvPicPr>
            <p:cNvPr id="130" name="Picture 129">
              <a:extLst>
                <a:ext uri="{FF2B5EF4-FFF2-40B4-BE49-F238E27FC236}">
                  <a16:creationId xmlns:a16="http://schemas.microsoft.com/office/drawing/2014/main" id="{90101D1B-5CF1-4E87-900A-CBC0B60CD6FE}"/>
                </a:ext>
              </a:extLst>
            </p:cNvPr>
            <p:cNvPicPr>
              <a:picLocks noChangeAspect="1"/>
            </p:cNvPicPr>
            <p:nvPr/>
          </p:nvPicPr>
          <p:blipFill>
            <a:blip r:embed="rId3"/>
            <a:stretch>
              <a:fillRect/>
            </a:stretch>
          </p:blipFill>
          <p:spPr>
            <a:xfrm>
              <a:off x="9631077" y="4683297"/>
              <a:ext cx="354135" cy="343920"/>
            </a:xfrm>
            <a:prstGeom prst="rect">
              <a:avLst/>
            </a:prstGeom>
          </p:spPr>
        </p:pic>
        <p:pic>
          <p:nvPicPr>
            <p:cNvPr id="131" name="Picture 130">
              <a:extLst>
                <a:ext uri="{FF2B5EF4-FFF2-40B4-BE49-F238E27FC236}">
                  <a16:creationId xmlns:a16="http://schemas.microsoft.com/office/drawing/2014/main" id="{2BE62D41-4077-4EF2-B954-86AC1CA44CE7}"/>
                </a:ext>
              </a:extLst>
            </p:cNvPr>
            <p:cNvPicPr>
              <a:picLocks noChangeAspect="1"/>
            </p:cNvPicPr>
            <p:nvPr/>
          </p:nvPicPr>
          <p:blipFill>
            <a:blip r:embed="rId3"/>
            <a:stretch>
              <a:fillRect/>
            </a:stretch>
          </p:blipFill>
          <p:spPr>
            <a:xfrm>
              <a:off x="10066943" y="5547403"/>
              <a:ext cx="354135" cy="343920"/>
            </a:xfrm>
            <a:prstGeom prst="rect">
              <a:avLst/>
            </a:prstGeom>
          </p:spPr>
        </p:pic>
        <p:pic>
          <p:nvPicPr>
            <p:cNvPr id="132" name="Picture 131">
              <a:extLst>
                <a:ext uri="{FF2B5EF4-FFF2-40B4-BE49-F238E27FC236}">
                  <a16:creationId xmlns:a16="http://schemas.microsoft.com/office/drawing/2014/main" id="{ACE955F3-56EF-4FF7-B68C-7E14592AD966}"/>
                </a:ext>
              </a:extLst>
            </p:cNvPr>
            <p:cNvPicPr>
              <a:picLocks noChangeAspect="1"/>
            </p:cNvPicPr>
            <p:nvPr/>
          </p:nvPicPr>
          <p:blipFill>
            <a:blip r:embed="rId3"/>
            <a:stretch>
              <a:fillRect/>
            </a:stretch>
          </p:blipFill>
          <p:spPr>
            <a:xfrm>
              <a:off x="10066942" y="5115350"/>
              <a:ext cx="354135" cy="343920"/>
            </a:xfrm>
            <a:prstGeom prst="rect">
              <a:avLst/>
            </a:prstGeom>
          </p:spPr>
        </p:pic>
        <p:pic>
          <p:nvPicPr>
            <p:cNvPr id="133" name="Picture 132">
              <a:extLst>
                <a:ext uri="{FF2B5EF4-FFF2-40B4-BE49-F238E27FC236}">
                  <a16:creationId xmlns:a16="http://schemas.microsoft.com/office/drawing/2014/main" id="{D17C739D-C673-4B04-9595-7EE4B465850F}"/>
                </a:ext>
              </a:extLst>
            </p:cNvPr>
            <p:cNvPicPr>
              <a:picLocks noChangeAspect="1"/>
            </p:cNvPicPr>
            <p:nvPr/>
          </p:nvPicPr>
          <p:blipFill>
            <a:blip r:embed="rId3"/>
            <a:stretch>
              <a:fillRect/>
            </a:stretch>
          </p:blipFill>
          <p:spPr>
            <a:xfrm>
              <a:off x="10066941" y="4683297"/>
              <a:ext cx="354135" cy="343920"/>
            </a:xfrm>
            <a:prstGeom prst="rect">
              <a:avLst/>
            </a:prstGeom>
          </p:spPr>
        </p:pic>
        <p:pic>
          <p:nvPicPr>
            <p:cNvPr id="134" name="Picture 133">
              <a:extLst>
                <a:ext uri="{FF2B5EF4-FFF2-40B4-BE49-F238E27FC236}">
                  <a16:creationId xmlns:a16="http://schemas.microsoft.com/office/drawing/2014/main" id="{9CCAC823-B588-460D-877D-3FFB9C1AB78C}"/>
                </a:ext>
              </a:extLst>
            </p:cNvPr>
            <p:cNvPicPr>
              <a:picLocks noChangeAspect="1"/>
            </p:cNvPicPr>
            <p:nvPr/>
          </p:nvPicPr>
          <p:blipFill>
            <a:blip r:embed="rId3"/>
            <a:stretch>
              <a:fillRect/>
            </a:stretch>
          </p:blipFill>
          <p:spPr>
            <a:xfrm>
              <a:off x="10502807" y="5547403"/>
              <a:ext cx="354135" cy="343920"/>
            </a:xfrm>
            <a:prstGeom prst="rect">
              <a:avLst/>
            </a:prstGeom>
          </p:spPr>
        </p:pic>
        <p:pic>
          <p:nvPicPr>
            <p:cNvPr id="135" name="Picture 134">
              <a:extLst>
                <a:ext uri="{FF2B5EF4-FFF2-40B4-BE49-F238E27FC236}">
                  <a16:creationId xmlns:a16="http://schemas.microsoft.com/office/drawing/2014/main" id="{4FF6DB55-2385-47E2-892A-250644DFB969}"/>
                </a:ext>
              </a:extLst>
            </p:cNvPr>
            <p:cNvPicPr>
              <a:picLocks noChangeAspect="1"/>
            </p:cNvPicPr>
            <p:nvPr/>
          </p:nvPicPr>
          <p:blipFill>
            <a:blip r:embed="rId3"/>
            <a:stretch>
              <a:fillRect/>
            </a:stretch>
          </p:blipFill>
          <p:spPr>
            <a:xfrm>
              <a:off x="10502806" y="5115350"/>
              <a:ext cx="354135" cy="343920"/>
            </a:xfrm>
            <a:prstGeom prst="rect">
              <a:avLst/>
            </a:prstGeom>
          </p:spPr>
        </p:pic>
        <p:pic>
          <p:nvPicPr>
            <p:cNvPr id="136" name="Picture 135">
              <a:extLst>
                <a:ext uri="{FF2B5EF4-FFF2-40B4-BE49-F238E27FC236}">
                  <a16:creationId xmlns:a16="http://schemas.microsoft.com/office/drawing/2014/main" id="{46A4E906-2B48-4FE0-BE70-C7B4A1949E48}"/>
                </a:ext>
              </a:extLst>
            </p:cNvPr>
            <p:cNvPicPr>
              <a:picLocks noChangeAspect="1"/>
            </p:cNvPicPr>
            <p:nvPr/>
          </p:nvPicPr>
          <p:blipFill>
            <a:blip r:embed="rId3"/>
            <a:stretch>
              <a:fillRect/>
            </a:stretch>
          </p:blipFill>
          <p:spPr>
            <a:xfrm>
              <a:off x="10502805" y="4683297"/>
              <a:ext cx="354135" cy="343920"/>
            </a:xfrm>
            <a:prstGeom prst="rect">
              <a:avLst/>
            </a:prstGeom>
          </p:spPr>
        </p:pic>
        <p:pic>
          <p:nvPicPr>
            <p:cNvPr id="137" name="Picture 136">
              <a:extLst>
                <a:ext uri="{FF2B5EF4-FFF2-40B4-BE49-F238E27FC236}">
                  <a16:creationId xmlns:a16="http://schemas.microsoft.com/office/drawing/2014/main" id="{ABBF6649-2E5E-4CDE-B90F-153E8E70A82D}"/>
                </a:ext>
              </a:extLst>
            </p:cNvPr>
            <p:cNvPicPr>
              <a:picLocks noChangeAspect="1"/>
            </p:cNvPicPr>
            <p:nvPr/>
          </p:nvPicPr>
          <p:blipFill>
            <a:blip r:embed="rId3"/>
            <a:stretch>
              <a:fillRect/>
            </a:stretch>
          </p:blipFill>
          <p:spPr>
            <a:xfrm>
              <a:off x="10938671" y="5547403"/>
              <a:ext cx="354135" cy="343920"/>
            </a:xfrm>
            <a:prstGeom prst="rect">
              <a:avLst/>
            </a:prstGeom>
          </p:spPr>
        </p:pic>
        <p:pic>
          <p:nvPicPr>
            <p:cNvPr id="138" name="Picture 137">
              <a:extLst>
                <a:ext uri="{FF2B5EF4-FFF2-40B4-BE49-F238E27FC236}">
                  <a16:creationId xmlns:a16="http://schemas.microsoft.com/office/drawing/2014/main" id="{9A0A3B09-C427-4914-BBA6-91BE69A10B2E}"/>
                </a:ext>
              </a:extLst>
            </p:cNvPr>
            <p:cNvPicPr>
              <a:picLocks noChangeAspect="1"/>
            </p:cNvPicPr>
            <p:nvPr/>
          </p:nvPicPr>
          <p:blipFill>
            <a:blip r:embed="rId3"/>
            <a:stretch>
              <a:fillRect/>
            </a:stretch>
          </p:blipFill>
          <p:spPr>
            <a:xfrm>
              <a:off x="10938670" y="5115350"/>
              <a:ext cx="354135" cy="343920"/>
            </a:xfrm>
            <a:prstGeom prst="rect">
              <a:avLst/>
            </a:prstGeom>
          </p:spPr>
        </p:pic>
        <p:pic>
          <p:nvPicPr>
            <p:cNvPr id="139" name="Picture 138">
              <a:extLst>
                <a:ext uri="{FF2B5EF4-FFF2-40B4-BE49-F238E27FC236}">
                  <a16:creationId xmlns:a16="http://schemas.microsoft.com/office/drawing/2014/main" id="{A3B3290C-EDB4-4698-BF5C-63391536297B}"/>
                </a:ext>
              </a:extLst>
            </p:cNvPr>
            <p:cNvPicPr>
              <a:picLocks noChangeAspect="1"/>
            </p:cNvPicPr>
            <p:nvPr/>
          </p:nvPicPr>
          <p:blipFill>
            <a:blip r:embed="rId3"/>
            <a:stretch>
              <a:fillRect/>
            </a:stretch>
          </p:blipFill>
          <p:spPr>
            <a:xfrm>
              <a:off x="10938669" y="4683297"/>
              <a:ext cx="354135" cy="343920"/>
            </a:xfrm>
            <a:prstGeom prst="rect">
              <a:avLst/>
            </a:prstGeom>
          </p:spPr>
        </p:pic>
        <p:sp>
          <p:nvSpPr>
            <p:cNvPr id="140" name="Rectangle 139">
              <a:extLst>
                <a:ext uri="{FF2B5EF4-FFF2-40B4-BE49-F238E27FC236}">
                  <a16:creationId xmlns:a16="http://schemas.microsoft.com/office/drawing/2014/main" id="{390E4A24-8629-4F35-9D57-E5FF116ACFE1}"/>
                </a:ext>
              </a:extLst>
            </p:cNvPr>
            <p:cNvSpPr/>
            <p:nvPr/>
          </p:nvSpPr>
          <p:spPr>
            <a:xfrm>
              <a:off x="9566076" y="4547170"/>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41" name="Straight Arrow Connector 140">
              <a:extLst>
                <a:ext uri="{FF2B5EF4-FFF2-40B4-BE49-F238E27FC236}">
                  <a16:creationId xmlns:a16="http://schemas.microsoft.com/office/drawing/2014/main" id="{24D7430D-DC3D-4A49-B335-6E111581EE80}"/>
                </a:ext>
              </a:extLst>
            </p:cNvPr>
            <p:cNvCxnSpPr>
              <a:stCxn id="127" idx="3"/>
              <a:endCxn id="140" idx="1"/>
            </p:cNvCxnSpPr>
            <p:nvPr/>
          </p:nvCxnSpPr>
          <p:spPr>
            <a:xfrm>
              <a:off x="8792246" y="5285346"/>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4" name="TextBox 143">
              <a:extLst>
                <a:ext uri="{FF2B5EF4-FFF2-40B4-BE49-F238E27FC236}">
                  <a16:creationId xmlns:a16="http://schemas.microsoft.com/office/drawing/2014/main" id="{2E1BFADE-EECB-4A31-AC72-E1E319EF7359}"/>
                </a:ext>
              </a:extLst>
            </p:cNvPr>
            <p:cNvSpPr txBox="1"/>
            <p:nvPr/>
          </p:nvSpPr>
          <p:spPr>
            <a:xfrm>
              <a:off x="7628563" y="4545087"/>
              <a:ext cx="1269899" cy="369332"/>
            </a:xfrm>
            <a:prstGeom prst="rect">
              <a:avLst/>
            </a:prstGeom>
            <a:noFill/>
          </p:spPr>
          <p:txBody>
            <a:bodyPr wrap="none" rtlCol="0">
              <a:spAutoFit/>
            </a:bodyPr>
            <a:lstStyle/>
            <a:p>
              <a:r>
                <a:rPr lang="sv-SE" dirty="0"/>
                <a:t>Customer C</a:t>
              </a:r>
              <a:endParaRPr lang="en-US" dirty="0"/>
            </a:p>
          </p:txBody>
        </p:sp>
        <p:pic>
          <p:nvPicPr>
            <p:cNvPr id="146" name="Picture 10" descr="Image result for ibm IOT logo">
              <a:extLst>
                <a:ext uri="{FF2B5EF4-FFF2-40B4-BE49-F238E27FC236}">
                  <a16:creationId xmlns:a16="http://schemas.microsoft.com/office/drawing/2014/main" id="{C3B0129C-EA2B-4878-9272-0AFDF8FC8E6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608637" y="5424829"/>
              <a:ext cx="570524" cy="55911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25" name="Group 1024">
            <a:extLst>
              <a:ext uri="{FF2B5EF4-FFF2-40B4-BE49-F238E27FC236}">
                <a16:creationId xmlns:a16="http://schemas.microsoft.com/office/drawing/2014/main" id="{33E4F68E-0296-4F20-B2B6-9C823641D452}"/>
              </a:ext>
            </a:extLst>
          </p:cNvPr>
          <p:cNvGrpSpPr/>
          <p:nvPr/>
        </p:nvGrpSpPr>
        <p:grpSpPr>
          <a:xfrm>
            <a:off x="7600037" y="1215589"/>
            <a:ext cx="3753763" cy="1512567"/>
            <a:chOff x="7600037" y="1215589"/>
            <a:chExt cx="3753763" cy="1512567"/>
          </a:xfrm>
        </p:grpSpPr>
        <p:sp>
          <p:nvSpPr>
            <p:cNvPr id="97" name="Rectangle 96">
              <a:extLst>
                <a:ext uri="{FF2B5EF4-FFF2-40B4-BE49-F238E27FC236}">
                  <a16:creationId xmlns:a16="http://schemas.microsoft.com/office/drawing/2014/main" id="{8DFB482E-E367-494E-9070-060F7F323E9D}"/>
                </a:ext>
              </a:extLst>
            </p:cNvPr>
            <p:cNvSpPr/>
            <p:nvPr/>
          </p:nvSpPr>
          <p:spPr>
            <a:xfrm>
              <a:off x="7687346" y="1632712"/>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98" name="Picture 97">
              <a:extLst>
                <a:ext uri="{FF2B5EF4-FFF2-40B4-BE49-F238E27FC236}">
                  <a16:creationId xmlns:a16="http://schemas.microsoft.com/office/drawing/2014/main" id="{9F8B69E9-BF8B-47AD-986E-FA3031CE06FF}"/>
                </a:ext>
              </a:extLst>
            </p:cNvPr>
            <p:cNvPicPr>
              <a:picLocks noChangeAspect="1"/>
            </p:cNvPicPr>
            <p:nvPr/>
          </p:nvPicPr>
          <p:blipFill>
            <a:blip r:embed="rId3"/>
            <a:stretch>
              <a:fillRect/>
            </a:stretch>
          </p:blipFill>
          <p:spPr>
            <a:xfrm>
              <a:off x="9631079" y="2244019"/>
              <a:ext cx="354135" cy="343920"/>
            </a:xfrm>
            <a:prstGeom prst="rect">
              <a:avLst/>
            </a:prstGeom>
          </p:spPr>
        </p:pic>
        <p:pic>
          <p:nvPicPr>
            <p:cNvPr id="99" name="Picture 98">
              <a:extLst>
                <a:ext uri="{FF2B5EF4-FFF2-40B4-BE49-F238E27FC236}">
                  <a16:creationId xmlns:a16="http://schemas.microsoft.com/office/drawing/2014/main" id="{25564854-60C0-47A2-849E-5BC647B7E764}"/>
                </a:ext>
              </a:extLst>
            </p:cNvPr>
            <p:cNvPicPr>
              <a:picLocks noChangeAspect="1"/>
            </p:cNvPicPr>
            <p:nvPr/>
          </p:nvPicPr>
          <p:blipFill>
            <a:blip r:embed="rId3"/>
            <a:stretch>
              <a:fillRect/>
            </a:stretch>
          </p:blipFill>
          <p:spPr>
            <a:xfrm>
              <a:off x="9631078" y="1811966"/>
              <a:ext cx="354135" cy="343920"/>
            </a:xfrm>
            <a:prstGeom prst="rect">
              <a:avLst/>
            </a:prstGeom>
          </p:spPr>
        </p:pic>
        <p:pic>
          <p:nvPicPr>
            <p:cNvPr id="100" name="Picture 99">
              <a:extLst>
                <a:ext uri="{FF2B5EF4-FFF2-40B4-BE49-F238E27FC236}">
                  <a16:creationId xmlns:a16="http://schemas.microsoft.com/office/drawing/2014/main" id="{C057CA5D-804B-4419-A1BC-08D1E7B8452D}"/>
                </a:ext>
              </a:extLst>
            </p:cNvPr>
            <p:cNvPicPr>
              <a:picLocks noChangeAspect="1"/>
            </p:cNvPicPr>
            <p:nvPr/>
          </p:nvPicPr>
          <p:blipFill>
            <a:blip r:embed="rId3"/>
            <a:stretch>
              <a:fillRect/>
            </a:stretch>
          </p:blipFill>
          <p:spPr>
            <a:xfrm>
              <a:off x="9631077" y="1379913"/>
              <a:ext cx="354135" cy="343920"/>
            </a:xfrm>
            <a:prstGeom prst="rect">
              <a:avLst/>
            </a:prstGeom>
          </p:spPr>
        </p:pic>
        <p:pic>
          <p:nvPicPr>
            <p:cNvPr id="101" name="Picture 100">
              <a:extLst>
                <a:ext uri="{FF2B5EF4-FFF2-40B4-BE49-F238E27FC236}">
                  <a16:creationId xmlns:a16="http://schemas.microsoft.com/office/drawing/2014/main" id="{08383796-F09D-41C0-90BE-66EA73B7CC6A}"/>
                </a:ext>
              </a:extLst>
            </p:cNvPr>
            <p:cNvPicPr>
              <a:picLocks noChangeAspect="1"/>
            </p:cNvPicPr>
            <p:nvPr/>
          </p:nvPicPr>
          <p:blipFill>
            <a:blip r:embed="rId3"/>
            <a:stretch>
              <a:fillRect/>
            </a:stretch>
          </p:blipFill>
          <p:spPr>
            <a:xfrm>
              <a:off x="10066943" y="2244019"/>
              <a:ext cx="354135" cy="343920"/>
            </a:xfrm>
            <a:prstGeom prst="rect">
              <a:avLst/>
            </a:prstGeom>
          </p:spPr>
        </p:pic>
        <p:pic>
          <p:nvPicPr>
            <p:cNvPr id="102" name="Picture 101">
              <a:extLst>
                <a:ext uri="{FF2B5EF4-FFF2-40B4-BE49-F238E27FC236}">
                  <a16:creationId xmlns:a16="http://schemas.microsoft.com/office/drawing/2014/main" id="{D88DB640-A60D-41D3-837D-FA359873969A}"/>
                </a:ext>
              </a:extLst>
            </p:cNvPr>
            <p:cNvPicPr>
              <a:picLocks noChangeAspect="1"/>
            </p:cNvPicPr>
            <p:nvPr/>
          </p:nvPicPr>
          <p:blipFill>
            <a:blip r:embed="rId3"/>
            <a:stretch>
              <a:fillRect/>
            </a:stretch>
          </p:blipFill>
          <p:spPr>
            <a:xfrm>
              <a:off x="10066942" y="1811966"/>
              <a:ext cx="354135" cy="343920"/>
            </a:xfrm>
            <a:prstGeom prst="rect">
              <a:avLst/>
            </a:prstGeom>
          </p:spPr>
        </p:pic>
        <p:pic>
          <p:nvPicPr>
            <p:cNvPr id="103" name="Picture 102">
              <a:extLst>
                <a:ext uri="{FF2B5EF4-FFF2-40B4-BE49-F238E27FC236}">
                  <a16:creationId xmlns:a16="http://schemas.microsoft.com/office/drawing/2014/main" id="{A7C5B9DC-4E4D-4409-BF42-29844A24E3AD}"/>
                </a:ext>
              </a:extLst>
            </p:cNvPr>
            <p:cNvPicPr>
              <a:picLocks noChangeAspect="1"/>
            </p:cNvPicPr>
            <p:nvPr/>
          </p:nvPicPr>
          <p:blipFill>
            <a:blip r:embed="rId3"/>
            <a:stretch>
              <a:fillRect/>
            </a:stretch>
          </p:blipFill>
          <p:spPr>
            <a:xfrm>
              <a:off x="10066941" y="1379913"/>
              <a:ext cx="354135" cy="343920"/>
            </a:xfrm>
            <a:prstGeom prst="rect">
              <a:avLst/>
            </a:prstGeom>
          </p:spPr>
        </p:pic>
        <p:pic>
          <p:nvPicPr>
            <p:cNvPr id="104" name="Picture 103">
              <a:extLst>
                <a:ext uri="{FF2B5EF4-FFF2-40B4-BE49-F238E27FC236}">
                  <a16:creationId xmlns:a16="http://schemas.microsoft.com/office/drawing/2014/main" id="{A02DF20A-4758-440D-BB21-024141B72EA7}"/>
                </a:ext>
              </a:extLst>
            </p:cNvPr>
            <p:cNvPicPr>
              <a:picLocks noChangeAspect="1"/>
            </p:cNvPicPr>
            <p:nvPr/>
          </p:nvPicPr>
          <p:blipFill>
            <a:blip r:embed="rId3"/>
            <a:stretch>
              <a:fillRect/>
            </a:stretch>
          </p:blipFill>
          <p:spPr>
            <a:xfrm>
              <a:off x="10502807" y="2244019"/>
              <a:ext cx="354135" cy="343920"/>
            </a:xfrm>
            <a:prstGeom prst="rect">
              <a:avLst/>
            </a:prstGeom>
          </p:spPr>
        </p:pic>
        <p:pic>
          <p:nvPicPr>
            <p:cNvPr id="105" name="Picture 104">
              <a:extLst>
                <a:ext uri="{FF2B5EF4-FFF2-40B4-BE49-F238E27FC236}">
                  <a16:creationId xmlns:a16="http://schemas.microsoft.com/office/drawing/2014/main" id="{876B1451-4416-4103-9517-D845CD46A637}"/>
                </a:ext>
              </a:extLst>
            </p:cNvPr>
            <p:cNvPicPr>
              <a:picLocks noChangeAspect="1"/>
            </p:cNvPicPr>
            <p:nvPr/>
          </p:nvPicPr>
          <p:blipFill>
            <a:blip r:embed="rId3"/>
            <a:stretch>
              <a:fillRect/>
            </a:stretch>
          </p:blipFill>
          <p:spPr>
            <a:xfrm>
              <a:off x="10502806" y="1811966"/>
              <a:ext cx="354135" cy="343920"/>
            </a:xfrm>
            <a:prstGeom prst="rect">
              <a:avLst/>
            </a:prstGeom>
          </p:spPr>
        </p:pic>
        <p:pic>
          <p:nvPicPr>
            <p:cNvPr id="106" name="Picture 105">
              <a:extLst>
                <a:ext uri="{FF2B5EF4-FFF2-40B4-BE49-F238E27FC236}">
                  <a16:creationId xmlns:a16="http://schemas.microsoft.com/office/drawing/2014/main" id="{ACDD1C4E-8943-4AE0-A19F-412DAD352190}"/>
                </a:ext>
              </a:extLst>
            </p:cNvPr>
            <p:cNvPicPr>
              <a:picLocks noChangeAspect="1"/>
            </p:cNvPicPr>
            <p:nvPr/>
          </p:nvPicPr>
          <p:blipFill>
            <a:blip r:embed="rId3"/>
            <a:stretch>
              <a:fillRect/>
            </a:stretch>
          </p:blipFill>
          <p:spPr>
            <a:xfrm>
              <a:off x="10502805" y="1379913"/>
              <a:ext cx="354135" cy="343920"/>
            </a:xfrm>
            <a:prstGeom prst="rect">
              <a:avLst/>
            </a:prstGeom>
          </p:spPr>
        </p:pic>
        <p:pic>
          <p:nvPicPr>
            <p:cNvPr id="107" name="Picture 106">
              <a:extLst>
                <a:ext uri="{FF2B5EF4-FFF2-40B4-BE49-F238E27FC236}">
                  <a16:creationId xmlns:a16="http://schemas.microsoft.com/office/drawing/2014/main" id="{8B6E931A-186D-4D59-8CDA-D496F8B08736}"/>
                </a:ext>
              </a:extLst>
            </p:cNvPr>
            <p:cNvPicPr>
              <a:picLocks noChangeAspect="1"/>
            </p:cNvPicPr>
            <p:nvPr/>
          </p:nvPicPr>
          <p:blipFill>
            <a:blip r:embed="rId3"/>
            <a:stretch>
              <a:fillRect/>
            </a:stretch>
          </p:blipFill>
          <p:spPr>
            <a:xfrm>
              <a:off x="10938671" y="2244019"/>
              <a:ext cx="354135" cy="343920"/>
            </a:xfrm>
            <a:prstGeom prst="rect">
              <a:avLst/>
            </a:prstGeom>
          </p:spPr>
        </p:pic>
        <p:pic>
          <p:nvPicPr>
            <p:cNvPr id="108" name="Picture 107">
              <a:extLst>
                <a:ext uri="{FF2B5EF4-FFF2-40B4-BE49-F238E27FC236}">
                  <a16:creationId xmlns:a16="http://schemas.microsoft.com/office/drawing/2014/main" id="{F3B04BD2-2FDF-48DD-8331-979A749E8BEA}"/>
                </a:ext>
              </a:extLst>
            </p:cNvPr>
            <p:cNvPicPr>
              <a:picLocks noChangeAspect="1"/>
            </p:cNvPicPr>
            <p:nvPr/>
          </p:nvPicPr>
          <p:blipFill>
            <a:blip r:embed="rId3"/>
            <a:stretch>
              <a:fillRect/>
            </a:stretch>
          </p:blipFill>
          <p:spPr>
            <a:xfrm>
              <a:off x="10938670" y="1811966"/>
              <a:ext cx="354135" cy="343920"/>
            </a:xfrm>
            <a:prstGeom prst="rect">
              <a:avLst/>
            </a:prstGeom>
          </p:spPr>
        </p:pic>
        <p:pic>
          <p:nvPicPr>
            <p:cNvPr id="109" name="Picture 108">
              <a:extLst>
                <a:ext uri="{FF2B5EF4-FFF2-40B4-BE49-F238E27FC236}">
                  <a16:creationId xmlns:a16="http://schemas.microsoft.com/office/drawing/2014/main" id="{408B9254-BD10-4446-8323-44104567FA60}"/>
                </a:ext>
              </a:extLst>
            </p:cNvPr>
            <p:cNvPicPr>
              <a:picLocks noChangeAspect="1"/>
            </p:cNvPicPr>
            <p:nvPr/>
          </p:nvPicPr>
          <p:blipFill>
            <a:blip r:embed="rId3"/>
            <a:stretch>
              <a:fillRect/>
            </a:stretch>
          </p:blipFill>
          <p:spPr>
            <a:xfrm>
              <a:off x="10938669" y="1379913"/>
              <a:ext cx="354135" cy="343920"/>
            </a:xfrm>
            <a:prstGeom prst="rect">
              <a:avLst/>
            </a:prstGeom>
          </p:spPr>
        </p:pic>
        <p:sp>
          <p:nvSpPr>
            <p:cNvPr id="110" name="Rectangle 109">
              <a:extLst>
                <a:ext uri="{FF2B5EF4-FFF2-40B4-BE49-F238E27FC236}">
                  <a16:creationId xmlns:a16="http://schemas.microsoft.com/office/drawing/2014/main" id="{4AD99BB6-AEFB-4791-ABBD-4064BB46C075}"/>
                </a:ext>
              </a:extLst>
            </p:cNvPr>
            <p:cNvSpPr/>
            <p:nvPr/>
          </p:nvSpPr>
          <p:spPr>
            <a:xfrm>
              <a:off x="9566076" y="1243786"/>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1" name="Straight Arrow Connector 110">
              <a:extLst>
                <a:ext uri="{FF2B5EF4-FFF2-40B4-BE49-F238E27FC236}">
                  <a16:creationId xmlns:a16="http://schemas.microsoft.com/office/drawing/2014/main" id="{8250AACA-D217-4156-BF99-A6FD7E8026E3}"/>
                </a:ext>
              </a:extLst>
            </p:cNvPr>
            <p:cNvCxnSpPr>
              <a:stCxn id="97" idx="3"/>
              <a:endCxn id="110" idx="1"/>
            </p:cNvCxnSpPr>
            <p:nvPr/>
          </p:nvCxnSpPr>
          <p:spPr>
            <a:xfrm>
              <a:off x="8792246" y="1981962"/>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2" name="TextBox 141">
              <a:extLst>
                <a:ext uri="{FF2B5EF4-FFF2-40B4-BE49-F238E27FC236}">
                  <a16:creationId xmlns:a16="http://schemas.microsoft.com/office/drawing/2014/main" id="{98163CC1-7F24-497D-AC8D-A1A1B66D362B}"/>
                </a:ext>
              </a:extLst>
            </p:cNvPr>
            <p:cNvSpPr txBox="1"/>
            <p:nvPr/>
          </p:nvSpPr>
          <p:spPr>
            <a:xfrm>
              <a:off x="7600037" y="1215589"/>
              <a:ext cx="1279517" cy="369332"/>
            </a:xfrm>
            <a:prstGeom prst="rect">
              <a:avLst/>
            </a:prstGeom>
            <a:noFill/>
          </p:spPr>
          <p:txBody>
            <a:bodyPr wrap="none" rtlCol="0">
              <a:spAutoFit/>
            </a:bodyPr>
            <a:lstStyle/>
            <a:p>
              <a:r>
                <a:rPr lang="sv-SE" dirty="0"/>
                <a:t>Customer A</a:t>
              </a:r>
              <a:endParaRPr lang="en-US" dirty="0"/>
            </a:p>
          </p:txBody>
        </p:sp>
        <p:grpSp>
          <p:nvGrpSpPr>
            <p:cNvPr id="147" name="Group 146">
              <a:extLst>
                <a:ext uri="{FF2B5EF4-FFF2-40B4-BE49-F238E27FC236}">
                  <a16:creationId xmlns:a16="http://schemas.microsoft.com/office/drawing/2014/main" id="{87B6A82F-1629-4584-9099-D0CC272D8CFF}"/>
                </a:ext>
              </a:extLst>
            </p:cNvPr>
            <p:cNvGrpSpPr/>
            <p:nvPr/>
          </p:nvGrpSpPr>
          <p:grpSpPr>
            <a:xfrm>
              <a:off x="8544765" y="2170874"/>
              <a:ext cx="576692" cy="509588"/>
              <a:chOff x="5498091" y="4114800"/>
              <a:chExt cx="576692" cy="509588"/>
            </a:xfrm>
          </p:grpSpPr>
          <p:sp>
            <p:nvSpPr>
              <p:cNvPr id="148" name="Oval 147">
                <a:extLst>
                  <a:ext uri="{FF2B5EF4-FFF2-40B4-BE49-F238E27FC236}">
                    <a16:creationId xmlns:a16="http://schemas.microsoft.com/office/drawing/2014/main" id="{6879CA68-485D-4F4F-98C8-538FB24974CD}"/>
                  </a:ext>
                </a:extLst>
              </p:cNvPr>
              <p:cNvSpPr/>
              <p:nvPr/>
            </p:nvSpPr>
            <p:spPr>
              <a:xfrm>
                <a:off x="5534025" y="4114800"/>
                <a:ext cx="504825" cy="50958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9" name="Picture 8" descr="Image result for AZURE IOT">
                <a:extLst>
                  <a:ext uri="{FF2B5EF4-FFF2-40B4-BE49-F238E27FC236}">
                    <a16:creationId xmlns:a16="http://schemas.microsoft.com/office/drawing/2014/main" id="{F4C859F1-50BC-44CE-8CE3-4C4A0FCD2A4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498091" y="4218212"/>
                <a:ext cx="576692" cy="302763"/>
              </a:xfrm>
              <a:prstGeom prst="rect">
                <a:avLst/>
              </a:prstGeom>
              <a:noFill/>
              <a:extLst>
                <a:ext uri="{909E8E84-426E-40DD-AFC4-6F175D3DCCD1}">
                  <a14:hiddenFill xmlns:a14="http://schemas.microsoft.com/office/drawing/2010/main">
                    <a:solidFill>
                      <a:srgbClr val="FFFFFF"/>
                    </a:solidFill>
                  </a14:hiddenFill>
                </a:ext>
              </a:extLst>
            </p:spPr>
          </p:pic>
        </p:grpSp>
      </p:grpSp>
      <p:cxnSp>
        <p:nvCxnSpPr>
          <p:cNvPr id="150" name="Straight Arrow Connector 149">
            <a:extLst>
              <a:ext uri="{FF2B5EF4-FFF2-40B4-BE49-F238E27FC236}">
                <a16:creationId xmlns:a16="http://schemas.microsoft.com/office/drawing/2014/main" id="{7961FD4A-C074-4458-ACB9-954EE0E7BB5F}"/>
              </a:ext>
            </a:extLst>
          </p:cNvPr>
          <p:cNvCxnSpPr>
            <a:cxnSpLocks/>
          </p:cNvCxnSpPr>
          <p:nvPr/>
        </p:nvCxnSpPr>
        <p:spPr>
          <a:xfrm>
            <a:off x="6354196" y="1985971"/>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52" name="Straight Arrow Connector 151">
            <a:extLst>
              <a:ext uri="{FF2B5EF4-FFF2-40B4-BE49-F238E27FC236}">
                <a16:creationId xmlns:a16="http://schemas.microsoft.com/office/drawing/2014/main" id="{44593D00-CE4C-4A9F-9D8D-AFAE43F21DBE}"/>
              </a:ext>
            </a:extLst>
          </p:cNvPr>
          <p:cNvCxnSpPr>
            <a:cxnSpLocks/>
          </p:cNvCxnSpPr>
          <p:nvPr/>
        </p:nvCxnSpPr>
        <p:spPr>
          <a:xfrm>
            <a:off x="6354196" y="3629734"/>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53" name="Straight Arrow Connector 152">
            <a:extLst>
              <a:ext uri="{FF2B5EF4-FFF2-40B4-BE49-F238E27FC236}">
                <a16:creationId xmlns:a16="http://schemas.microsoft.com/office/drawing/2014/main" id="{2313CC88-3FC5-492C-811A-7AD63B120468}"/>
              </a:ext>
            </a:extLst>
          </p:cNvPr>
          <p:cNvCxnSpPr>
            <a:cxnSpLocks/>
          </p:cNvCxnSpPr>
          <p:nvPr/>
        </p:nvCxnSpPr>
        <p:spPr>
          <a:xfrm>
            <a:off x="6354196" y="5273497"/>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grpSp>
        <p:nvGrpSpPr>
          <p:cNvPr id="1047" name="Group 1046">
            <a:extLst>
              <a:ext uri="{FF2B5EF4-FFF2-40B4-BE49-F238E27FC236}">
                <a16:creationId xmlns:a16="http://schemas.microsoft.com/office/drawing/2014/main" id="{8B1F25E4-A03B-497B-BE7F-420879D0DBD2}"/>
              </a:ext>
            </a:extLst>
          </p:cNvPr>
          <p:cNvGrpSpPr/>
          <p:nvPr/>
        </p:nvGrpSpPr>
        <p:grpSpPr>
          <a:xfrm>
            <a:off x="378558" y="1212586"/>
            <a:ext cx="3754579" cy="4971129"/>
            <a:chOff x="378558" y="1212586"/>
            <a:chExt cx="3754579" cy="4971129"/>
          </a:xfrm>
        </p:grpSpPr>
        <p:pic>
          <p:nvPicPr>
            <p:cNvPr id="1043" name="Picture 1042">
              <a:extLst>
                <a:ext uri="{FF2B5EF4-FFF2-40B4-BE49-F238E27FC236}">
                  <a16:creationId xmlns:a16="http://schemas.microsoft.com/office/drawing/2014/main" id="{760FD41F-7262-408F-BC4D-47730479435A}"/>
                </a:ext>
              </a:extLst>
            </p:cNvPr>
            <p:cNvPicPr>
              <a:picLocks noChangeAspect="1"/>
            </p:cNvPicPr>
            <p:nvPr/>
          </p:nvPicPr>
          <p:blipFill>
            <a:blip r:embed="rId7"/>
            <a:stretch>
              <a:fillRect/>
            </a:stretch>
          </p:blipFill>
          <p:spPr>
            <a:xfrm>
              <a:off x="439679" y="1212586"/>
              <a:ext cx="3295238" cy="2514286"/>
            </a:xfrm>
            <a:prstGeom prst="rect">
              <a:avLst/>
            </a:prstGeom>
          </p:spPr>
        </p:pic>
        <p:pic>
          <p:nvPicPr>
            <p:cNvPr id="1044" name="Picture 1043">
              <a:extLst>
                <a:ext uri="{FF2B5EF4-FFF2-40B4-BE49-F238E27FC236}">
                  <a16:creationId xmlns:a16="http://schemas.microsoft.com/office/drawing/2014/main" id="{1F262B37-5820-4076-88B2-F4E4CA954DDA}"/>
                </a:ext>
              </a:extLst>
            </p:cNvPr>
            <p:cNvPicPr>
              <a:picLocks noChangeAspect="1"/>
            </p:cNvPicPr>
            <p:nvPr/>
          </p:nvPicPr>
          <p:blipFill>
            <a:blip r:embed="rId8"/>
            <a:stretch>
              <a:fillRect/>
            </a:stretch>
          </p:blipFill>
          <p:spPr>
            <a:xfrm>
              <a:off x="378558" y="3688477"/>
              <a:ext cx="3371429" cy="2495238"/>
            </a:xfrm>
            <a:prstGeom prst="rect">
              <a:avLst/>
            </a:prstGeom>
          </p:spPr>
        </p:pic>
        <p:sp>
          <p:nvSpPr>
            <p:cNvPr id="1046" name="Right Brace 1045">
              <a:extLst>
                <a:ext uri="{FF2B5EF4-FFF2-40B4-BE49-F238E27FC236}">
                  <a16:creationId xmlns:a16="http://schemas.microsoft.com/office/drawing/2014/main" id="{7053BCB7-131F-44B5-8548-4CD0E7E94135}"/>
                </a:ext>
              </a:extLst>
            </p:cNvPr>
            <p:cNvSpPr/>
            <p:nvPr/>
          </p:nvSpPr>
          <p:spPr>
            <a:xfrm>
              <a:off x="3924300" y="1243786"/>
              <a:ext cx="208837" cy="4787754"/>
            </a:xfrm>
            <a:prstGeom prst="righ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Tree>
    <p:extLst>
      <p:ext uri="{BB962C8B-B14F-4D97-AF65-F5344CB8AC3E}">
        <p14:creationId xmlns:p14="http://schemas.microsoft.com/office/powerpoint/2010/main" val="33135322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25"/>
                                        </p:tgtEl>
                                        <p:attrNameLst>
                                          <p:attrName>style.visibility</p:attrName>
                                        </p:attrNameLst>
                                      </p:cBhvr>
                                      <p:to>
                                        <p:strVal val="visible"/>
                                      </p:to>
                                    </p:set>
                                    <p:animEffect transition="in" filter="fade">
                                      <p:cBhvr>
                                        <p:cTn id="7" dur="500"/>
                                        <p:tgtEl>
                                          <p:spTgt spid="102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027"/>
                                        </p:tgtEl>
                                        <p:attrNameLst>
                                          <p:attrName>style.visibility</p:attrName>
                                        </p:attrNameLst>
                                      </p:cBhvr>
                                      <p:to>
                                        <p:strVal val="visible"/>
                                      </p:to>
                                    </p:set>
                                    <p:animEffect transition="in" filter="fade">
                                      <p:cBhvr>
                                        <p:cTn id="11" dur="500"/>
                                        <p:tgtEl>
                                          <p:spTgt spid="102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028"/>
                                        </p:tgtEl>
                                        <p:attrNameLst>
                                          <p:attrName>style.visibility</p:attrName>
                                        </p:attrNameLst>
                                      </p:cBhvr>
                                      <p:to>
                                        <p:strVal val="visible"/>
                                      </p:to>
                                    </p:set>
                                    <p:animEffect transition="in" filter="fade">
                                      <p:cBhvr>
                                        <p:cTn id="15" dur="500"/>
                                        <p:tgtEl>
                                          <p:spTgt spid="1028"/>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1029"/>
                                        </p:tgtEl>
                                        <p:attrNameLst>
                                          <p:attrName>style.visibility</p:attrName>
                                        </p:attrNameLst>
                                      </p:cBhvr>
                                      <p:to>
                                        <p:strVal val="visible"/>
                                      </p:to>
                                    </p:set>
                                    <p:animEffect transition="in" filter="fade">
                                      <p:cBhvr>
                                        <p:cTn id="20" dur="500"/>
                                        <p:tgtEl>
                                          <p:spTgt spid="1029"/>
                                        </p:tgtEl>
                                      </p:cBhvr>
                                    </p:animEffect>
                                  </p:childTnLst>
                                </p:cTn>
                              </p:par>
                            </p:childTnLst>
                          </p:cTn>
                        </p:par>
                        <p:par>
                          <p:cTn id="21" fill="hold">
                            <p:stCondLst>
                              <p:cond delay="500"/>
                            </p:stCondLst>
                            <p:childTnLst>
                              <p:par>
                                <p:cTn id="22" presetID="10" presetClass="entr" presetSubtype="0" fill="hold" nodeType="afterEffect">
                                  <p:stCondLst>
                                    <p:cond delay="0"/>
                                  </p:stCondLst>
                                  <p:childTnLst>
                                    <p:set>
                                      <p:cBhvr>
                                        <p:cTn id="23" dur="1" fill="hold">
                                          <p:stCondLst>
                                            <p:cond delay="0"/>
                                          </p:stCondLst>
                                        </p:cTn>
                                        <p:tgtEl>
                                          <p:spTgt spid="150"/>
                                        </p:tgtEl>
                                        <p:attrNameLst>
                                          <p:attrName>style.visibility</p:attrName>
                                        </p:attrNameLst>
                                      </p:cBhvr>
                                      <p:to>
                                        <p:strVal val="visible"/>
                                      </p:to>
                                    </p:set>
                                    <p:animEffect transition="in" filter="fade">
                                      <p:cBhvr>
                                        <p:cTn id="24" dur="500"/>
                                        <p:tgtEl>
                                          <p:spTgt spid="150"/>
                                        </p:tgtEl>
                                      </p:cBhvr>
                                    </p:animEffect>
                                  </p:childTnLst>
                                </p:cTn>
                              </p:par>
                            </p:childTnLst>
                          </p:cTn>
                        </p:par>
                        <p:par>
                          <p:cTn id="25" fill="hold">
                            <p:stCondLst>
                              <p:cond delay="1000"/>
                            </p:stCondLst>
                            <p:childTnLst>
                              <p:par>
                                <p:cTn id="26" presetID="10" presetClass="entr" presetSubtype="0" fill="hold" nodeType="afterEffect">
                                  <p:stCondLst>
                                    <p:cond delay="0"/>
                                  </p:stCondLst>
                                  <p:childTnLst>
                                    <p:set>
                                      <p:cBhvr>
                                        <p:cTn id="27" dur="1" fill="hold">
                                          <p:stCondLst>
                                            <p:cond delay="0"/>
                                          </p:stCondLst>
                                        </p:cTn>
                                        <p:tgtEl>
                                          <p:spTgt spid="152"/>
                                        </p:tgtEl>
                                        <p:attrNameLst>
                                          <p:attrName>style.visibility</p:attrName>
                                        </p:attrNameLst>
                                      </p:cBhvr>
                                      <p:to>
                                        <p:strVal val="visible"/>
                                      </p:to>
                                    </p:set>
                                    <p:animEffect transition="in" filter="fade">
                                      <p:cBhvr>
                                        <p:cTn id="28" dur="500"/>
                                        <p:tgtEl>
                                          <p:spTgt spid="152"/>
                                        </p:tgtEl>
                                      </p:cBhvr>
                                    </p:animEffect>
                                  </p:childTnLst>
                                </p:cTn>
                              </p:par>
                            </p:childTnLst>
                          </p:cTn>
                        </p:par>
                        <p:par>
                          <p:cTn id="29" fill="hold">
                            <p:stCondLst>
                              <p:cond delay="1500"/>
                            </p:stCondLst>
                            <p:childTnLst>
                              <p:par>
                                <p:cTn id="30" presetID="10" presetClass="entr" presetSubtype="0" fill="hold" nodeType="afterEffect">
                                  <p:stCondLst>
                                    <p:cond delay="0"/>
                                  </p:stCondLst>
                                  <p:childTnLst>
                                    <p:set>
                                      <p:cBhvr>
                                        <p:cTn id="31" dur="1" fill="hold">
                                          <p:stCondLst>
                                            <p:cond delay="0"/>
                                          </p:stCondLst>
                                        </p:cTn>
                                        <p:tgtEl>
                                          <p:spTgt spid="153"/>
                                        </p:tgtEl>
                                        <p:attrNameLst>
                                          <p:attrName>style.visibility</p:attrName>
                                        </p:attrNameLst>
                                      </p:cBhvr>
                                      <p:to>
                                        <p:strVal val="visible"/>
                                      </p:to>
                                    </p:set>
                                    <p:animEffect transition="in" filter="fade">
                                      <p:cBhvr>
                                        <p:cTn id="32" dur="500"/>
                                        <p:tgtEl>
                                          <p:spTgt spid="153"/>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047"/>
                                        </p:tgtEl>
                                        <p:attrNameLst>
                                          <p:attrName>style.visibility</p:attrName>
                                        </p:attrNameLst>
                                      </p:cBhvr>
                                      <p:to>
                                        <p:strVal val="visible"/>
                                      </p:to>
                                    </p:set>
                                    <p:animEffect transition="in" filter="fade">
                                      <p:cBhvr>
                                        <p:cTn id="37" dur="500"/>
                                        <p:tgtEl>
                                          <p:spTgt spid="10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a:t>Axians – </a:t>
            </a:r>
            <a:r>
              <a:rPr lang="sv-SE" b="1" dirty="0">
                <a:solidFill>
                  <a:srgbClr val="FF0000"/>
                </a:solidFill>
              </a:rPr>
              <a:t>IoT</a:t>
            </a:r>
            <a:r>
              <a:rPr lang="sv-SE" dirty="0"/>
              <a:t> Operation</a:t>
            </a:r>
            <a:endParaRPr lang="en-US" dirty="0"/>
          </a:p>
        </p:txBody>
      </p:sp>
      <p:grpSp>
        <p:nvGrpSpPr>
          <p:cNvPr id="22" name="Group 21"/>
          <p:cNvGrpSpPr/>
          <p:nvPr/>
        </p:nvGrpSpPr>
        <p:grpSpPr>
          <a:xfrm>
            <a:off x="3440367" y="1154018"/>
            <a:ext cx="1272556" cy="4831310"/>
            <a:chOff x="3271635" y="1154018"/>
            <a:chExt cx="1272556" cy="4831310"/>
          </a:xfrm>
        </p:grpSpPr>
        <p:pic>
          <p:nvPicPr>
            <p:cNvPr id="1026" name="Picture 2" descr="https://microservicebus.com/Images/ServiceNowLogo.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rot="16200000">
              <a:off x="2961948" y="3259489"/>
              <a:ext cx="1905000" cy="400050"/>
            </a:xfrm>
            <a:prstGeom prst="rect">
              <a:avLst/>
            </a:prstGeom>
            <a:noFill/>
            <a:extLst>
              <a:ext uri="{909E8E84-426E-40DD-AFC4-6F175D3DCCD1}">
                <a14:hiddenFill xmlns:a14="http://schemas.microsoft.com/office/drawing/2010/main">
                  <a:solidFill>
                    <a:srgbClr val="FFFFFF"/>
                  </a:solidFill>
                </a14:hiddenFill>
              </a:ext>
            </a:extLst>
          </p:spPr>
        </p:pic>
        <p:sp>
          <p:nvSpPr>
            <p:cNvPr id="59" name="Rectangle 58"/>
            <p:cNvSpPr/>
            <p:nvPr/>
          </p:nvSpPr>
          <p:spPr>
            <a:xfrm>
              <a:off x="3271635" y="1154018"/>
              <a:ext cx="1272556" cy="483131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36" name="Group 35"/>
          <p:cNvGrpSpPr/>
          <p:nvPr/>
        </p:nvGrpSpPr>
        <p:grpSpPr>
          <a:xfrm>
            <a:off x="812771" y="1453632"/>
            <a:ext cx="2034945" cy="4011761"/>
            <a:chOff x="704534" y="1467601"/>
            <a:chExt cx="2267904" cy="4471024"/>
          </a:xfrm>
        </p:grpSpPr>
        <p:pic>
          <p:nvPicPr>
            <p:cNvPr id="3" name="Picture 2"/>
            <p:cNvPicPr>
              <a:picLocks noChangeAspect="1"/>
            </p:cNvPicPr>
            <p:nvPr/>
          </p:nvPicPr>
          <p:blipFill>
            <a:blip r:embed="rId3"/>
            <a:stretch>
              <a:fillRect/>
            </a:stretch>
          </p:blipFill>
          <p:spPr>
            <a:xfrm>
              <a:off x="1101057" y="1467601"/>
              <a:ext cx="1691366" cy="1629208"/>
            </a:xfrm>
            <a:prstGeom prst="rect">
              <a:avLst/>
            </a:prstGeom>
          </p:spPr>
        </p:pic>
        <p:pic>
          <p:nvPicPr>
            <p:cNvPr id="5" name="Picture 4"/>
            <p:cNvPicPr>
              <a:picLocks noChangeAspect="1"/>
            </p:cNvPicPr>
            <p:nvPr/>
          </p:nvPicPr>
          <p:blipFill>
            <a:blip r:embed="rId4"/>
            <a:stretch>
              <a:fillRect/>
            </a:stretch>
          </p:blipFill>
          <p:spPr>
            <a:xfrm>
              <a:off x="704534" y="4273447"/>
              <a:ext cx="751106" cy="679824"/>
            </a:xfrm>
            <a:prstGeom prst="rect">
              <a:avLst/>
            </a:prstGeom>
          </p:spPr>
        </p:pic>
        <p:pic>
          <p:nvPicPr>
            <p:cNvPr id="62" name="Picture 61"/>
            <p:cNvPicPr>
              <a:picLocks noChangeAspect="1"/>
            </p:cNvPicPr>
            <p:nvPr/>
          </p:nvPicPr>
          <p:blipFill>
            <a:blip r:embed="rId4"/>
            <a:stretch>
              <a:fillRect/>
            </a:stretch>
          </p:blipFill>
          <p:spPr>
            <a:xfrm>
              <a:off x="1462938" y="4273446"/>
              <a:ext cx="751106" cy="679824"/>
            </a:xfrm>
            <a:prstGeom prst="rect">
              <a:avLst/>
            </a:prstGeom>
          </p:spPr>
        </p:pic>
        <p:pic>
          <p:nvPicPr>
            <p:cNvPr id="63" name="Picture 62"/>
            <p:cNvPicPr>
              <a:picLocks noChangeAspect="1"/>
            </p:cNvPicPr>
            <p:nvPr/>
          </p:nvPicPr>
          <p:blipFill>
            <a:blip r:embed="rId4"/>
            <a:stretch>
              <a:fillRect/>
            </a:stretch>
          </p:blipFill>
          <p:spPr>
            <a:xfrm>
              <a:off x="2221332" y="4273445"/>
              <a:ext cx="751106" cy="679824"/>
            </a:xfrm>
            <a:prstGeom prst="rect">
              <a:avLst/>
            </a:prstGeom>
          </p:spPr>
        </p:pic>
        <p:sp>
          <p:nvSpPr>
            <p:cNvPr id="9" name="TextBox 8"/>
            <p:cNvSpPr txBox="1"/>
            <p:nvPr/>
          </p:nvSpPr>
          <p:spPr>
            <a:xfrm>
              <a:off x="1019328" y="3013535"/>
              <a:ext cx="148091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SERVICE DESK</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5" name="TextBox 64"/>
            <p:cNvSpPr txBox="1"/>
            <p:nvPr/>
          </p:nvSpPr>
          <p:spPr>
            <a:xfrm>
              <a:off x="991369" y="5015295"/>
              <a:ext cx="1694244" cy="9233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NETWORK OPERATIONS CENTER</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029" name="Group 1028">
            <a:extLst>
              <a:ext uri="{FF2B5EF4-FFF2-40B4-BE49-F238E27FC236}">
                <a16:creationId xmlns:a16="http://schemas.microsoft.com/office/drawing/2014/main" id="{240BDCA2-26D6-4FD6-9AFA-BF2FF6B8B65F}"/>
              </a:ext>
            </a:extLst>
          </p:cNvPr>
          <p:cNvGrpSpPr/>
          <p:nvPr/>
        </p:nvGrpSpPr>
        <p:grpSpPr>
          <a:xfrm>
            <a:off x="4800751" y="1152632"/>
            <a:ext cx="1520944" cy="4831311"/>
            <a:chOff x="4800751" y="1152632"/>
            <a:chExt cx="1520944" cy="4831311"/>
          </a:xfrm>
        </p:grpSpPr>
        <p:sp>
          <p:nvSpPr>
            <p:cNvPr id="51" name="Rectangle 50"/>
            <p:cNvSpPr/>
            <p:nvPr/>
          </p:nvSpPr>
          <p:spPr>
            <a:xfrm>
              <a:off x="4800751" y="1152632"/>
              <a:ext cx="1520944" cy="4831311"/>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52" name="Picture 5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121389" y="3065004"/>
              <a:ext cx="879667" cy="721991"/>
            </a:xfrm>
            <a:prstGeom prst="rect">
              <a:avLst/>
            </a:prstGeom>
          </p:spPr>
        </p:pic>
        <p:sp>
          <p:nvSpPr>
            <p:cNvPr id="66" name="TextBox 65"/>
            <p:cNvSpPr txBox="1"/>
            <p:nvPr/>
          </p:nvSpPr>
          <p:spPr>
            <a:xfrm>
              <a:off x="4806507" y="1168072"/>
              <a:ext cx="1515188"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Device </a:t>
              </a:r>
              <a:r>
                <a:rPr kumimoji="0" lang="en-US" sz="1800" b="0" i="0" u="none" strike="noStrike" kern="1200" cap="none" spc="0" normalizeH="0" baseline="0" noProof="0" dirty="0" err="1">
                  <a:ln>
                    <a:noFill/>
                  </a:ln>
                  <a:solidFill>
                    <a:prstClr val="white"/>
                  </a:solidFill>
                  <a:effectLst/>
                  <a:uLnTx/>
                  <a:uFillTx/>
                  <a:latin typeface="Calibri" panose="020F0502020204030204"/>
                  <a:ea typeface="+mn-ea"/>
                  <a:cs typeface="+mn-cs"/>
                </a:rPr>
                <a:t>Mgmt</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027" name="Group 1026">
            <a:extLst>
              <a:ext uri="{FF2B5EF4-FFF2-40B4-BE49-F238E27FC236}">
                <a16:creationId xmlns:a16="http://schemas.microsoft.com/office/drawing/2014/main" id="{4247E955-95C6-4803-9CFE-53A8E9E77630}"/>
              </a:ext>
            </a:extLst>
          </p:cNvPr>
          <p:cNvGrpSpPr/>
          <p:nvPr/>
        </p:nvGrpSpPr>
        <p:grpSpPr>
          <a:xfrm>
            <a:off x="7614300" y="2880338"/>
            <a:ext cx="3739500" cy="1499510"/>
            <a:chOff x="7614300" y="2880338"/>
            <a:chExt cx="3739500" cy="1499510"/>
          </a:xfrm>
        </p:grpSpPr>
        <p:sp>
          <p:nvSpPr>
            <p:cNvPr id="112" name="Rectangle 111">
              <a:extLst>
                <a:ext uri="{FF2B5EF4-FFF2-40B4-BE49-F238E27FC236}">
                  <a16:creationId xmlns:a16="http://schemas.microsoft.com/office/drawing/2014/main" id="{45864581-913C-4B90-B531-FB2920590272}"/>
                </a:ext>
              </a:extLst>
            </p:cNvPr>
            <p:cNvSpPr/>
            <p:nvPr/>
          </p:nvSpPr>
          <p:spPr>
            <a:xfrm>
              <a:off x="7687346" y="3284404"/>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113" name="Picture 112">
              <a:extLst>
                <a:ext uri="{FF2B5EF4-FFF2-40B4-BE49-F238E27FC236}">
                  <a16:creationId xmlns:a16="http://schemas.microsoft.com/office/drawing/2014/main" id="{6DA0732B-EE61-4D1C-83C3-E5CBE8F99033}"/>
                </a:ext>
              </a:extLst>
            </p:cNvPr>
            <p:cNvPicPr>
              <a:picLocks noChangeAspect="1"/>
            </p:cNvPicPr>
            <p:nvPr/>
          </p:nvPicPr>
          <p:blipFill>
            <a:blip r:embed="rId6"/>
            <a:stretch>
              <a:fillRect/>
            </a:stretch>
          </p:blipFill>
          <p:spPr>
            <a:xfrm>
              <a:off x="9631079" y="3895711"/>
              <a:ext cx="354135" cy="343920"/>
            </a:xfrm>
            <a:prstGeom prst="rect">
              <a:avLst/>
            </a:prstGeom>
          </p:spPr>
        </p:pic>
        <p:pic>
          <p:nvPicPr>
            <p:cNvPr id="114" name="Picture 113">
              <a:extLst>
                <a:ext uri="{FF2B5EF4-FFF2-40B4-BE49-F238E27FC236}">
                  <a16:creationId xmlns:a16="http://schemas.microsoft.com/office/drawing/2014/main" id="{F361A9DB-A270-4B6A-9A3D-AD43731B9907}"/>
                </a:ext>
              </a:extLst>
            </p:cNvPr>
            <p:cNvPicPr>
              <a:picLocks noChangeAspect="1"/>
            </p:cNvPicPr>
            <p:nvPr/>
          </p:nvPicPr>
          <p:blipFill>
            <a:blip r:embed="rId6"/>
            <a:stretch>
              <a:fillRect/>
            </a:stretch>
          </p:blipFill>
          <p:spPr>
            <a:xfrm>
              <a:off x="9631078" y="3463658"/>
              <a:ext cx="354135" cy="343920"/>
            </a:xfrm>
            <a:prstGeom prst="rect">
              <a:avLst/>
            </a:prstGeom>
          </p:spPr>
        </p:pic>
        <p:pic>
          <p:nvPicPr>
            <p:cNvPr id="115" name="Picture 114">
              <a:extLst>
                <a:ext uri="{FF2B5EF4-FFF2-40B4-BE49-F238E27FC236}">
                  <a16:creationId xmlns:a16="http://schemas.microsoft.com/office/drawing/2014/main" id="{0C8E72F0-2700-4E86-83B1-543727E45984}"/>
                </a:ext>
              </a:extLst>
            </p:cNvPr>
            <p:cNvPicPr>
              <a:picLocks noChangeAspect="1"/>
            </p:cNvPicPr>
            <p:nvPr/>
          </p:nvPicPr>
          <p:blipFill>
            <a:blip r:embed="rId6"/>
            <a:stretch>
              <a:fillRect/>
            </a:stretch>
          </p:blipFill>
          <p:spPr>
            <a:xfrm>
              <a:off x="9631077" y="3031605"/>
              <a:ext cx="354135" cy="343920"/>
            </a:xfrm>
            <a:prstGeom prst="rect">
              <a:avLst/>
            </a:prstGeom>
          </p:spPr>
        </p:pic>
        <p:pic>
          <p:nvPicPr>
            <p:cNvPr id="116" name="Picture 115">
              <a:extLst>
                <a:ext uri="{FF2B5EF4-FFF2-40B4-BE49-F238E27FC236}">
                  <a16:creationId xmlns:a16="http://schemas.microsoft.com/office/drawing/2014/main" id="{CF1BB178-83FC-4BA2-B790-87B2D0E2210E}"/>
                </a:ext>
              </a:extLst>
            </p:cNvPr>
            <p:cNvPicPr>
              <a:picLocks noChangeAspect="1"/>
            </p:cNvPicPr>
            <p:nvPr/>
          </p:nvPicPr>
          <p:blipFill>
            <a:blip r:embed="rId6"/>
            <a:stretch>
              <a:fillRect/>
            </a:stretch>
          </p:blipFill>
          <p:spPr>
            <a:xfrm>
              <a:off x="10066943" y="3895711"/>
              <a:ext cx="354135" cy="343920"/>
            </a:xfrm>
            <a:prstGeom prst="rect">
              <a:avLst/>
            </a:prstGeom>
          </p:spPr>
        </p:pic>
        <p:pic>
          <p:nvPicPr>
            <p:cNvPr id="117" name="Picture 116">
              <a:extLst>
                <a:ext uri="{FF2B5EF4-FFF2-40B4-BE49-F238E27FC236}">
                  <a16:creationId xmlns:a16="http://schemas.microsoft.com/office/drawing/2014/main" id="{EF9D3BA8-FCB5-4480-BF86-22B6E2F1C11F}"/>
                </a:ext>
              </a:extLst>
            </p:cNvPr>
            <p:cNvPicPr>
              <a:picLocks noChangeAspect="1"/>
            </p:cNvPicPr>
            <p:nvPr/>
          </p:nvPicPr>
          <p:blipFill>
            <a:blip r:embed="rId6"/>
            <a:stretch>
              <a:fillRect/>
            </a:stretch>
          </p:blipFill>
          <p:spPr>
            <a:xfrm>
              <a:off x="10066942" y="3463658"/>
              <a:ext cx="354135" cy="343920"/>
            </a:xfrm>
            <a:prstGeom prst="rect">
              <a:avLst/>
            </a:prstGeom>
          </p:spPr>
        </p:pic>
        <p:pic>
          <p:nvPicPr>
            <p:cNvPr id="118" name="Picture 117">
              <a:extLst>
                <a:ext uri="{FF2B5EF4-FFF2-40B4-BE49-F238E27FC236}">
                  <a16:creationId xmlns:a16="http://schemas.microsoft.com/office/drawing/2014/main" id="{503B7343-3F1D-4C2F-AEA4-16B1078387D7}"/>
                </a:ext>
              </a:extLst>
            </p:cNvPr>
            <p:cNvPicPr>
              <a:picLocks noChangeAspect="1"/>
            </p:cNvPicPr>
            <p:nvPr/>
          </p:nvPicPr>
          <p:blipFill>
            <a:blip r:embed="rId6"/>
            <a:stretch>
              <a:fillRect/>
            </a:stretch>
          </p:blipFill>
          <p:spPr>
            <a:xfrm>
              <a:off x="10066941" y="3031605"/>
              <a:ext cx="354135" cy="343920"/>
            </a:xfrm>
            <a:prstGeom prst="rect">
              <a:avLst/>
            </a:prstGeom>
          </p:spPr>
        </p:pic>
        <p:pic>
          <p:nvPicPr>
            <p:cNvPr id="119" name="Picture 118">
              <a:extLst>
                <a:ext uri="{FF2B5EF4-FFF2-40B4-BE49-F238E27FC236}">
                  <a16:creationId xmlns:a16="http://schemas.microsoft.com/office/drawing/2014/main" id="{9BF859DD-F7A2-4C81-8790-00311632C23E}"/>
                </a:ext>
              </a:extLst>
            </p:cNvPr>
            <p:cNvPicPr>
              <a:picLocks noChangeAspect="1"/>
            </p:cNvPicPr>
            <p:nvPr/>
          </p:nvPicPr>
          <p:blipFill>
            <a:blip r:embed="rId6"/>
            <a:stretch>
              <a:fillRect/>
            </a:stretch>
          </p:blipFill>
          <p:spPr>
            <a:xfrm>
              <a:off x="10502807" y="3895711"/>
              <a:ext cx="354135" cy="343920"/>
            </a:xfrm>
            <a:prstGeom prst="rect">
              <a:avLst/>
            </a:prstGeom>
          </p:spPr>
        </p:pic>
        <p:pic>
          <p:nvPicPr>
            <p:cNvPr id="120" name="Picture 119">
              <a:extLst>
                <a:ext uri="{FF2B5EF4-FFF2-40B4-BE49-F238E27FC236}">
                  <a16:creationId xmlns:a16="http://schemas.microsoft.com/office/drawing/2014/main" id="{70B17A51-4B80-48C8-8B22-0FB0F3235360}"/>
                </a:ext>
              </a:extLst>
            </p:cNvPr>
            <p:cNvPicPr>
              <a:picLocks noChangeAspect="1"/>
            </p:cNvPicPr>
            <p:nvPr/>
          </p:nvPicPr>
          <p:blipFill>
            <a:blip r:embed="rId6"/>
            <a:stretch>
              <a:fillRect/>
            </a:stretch>
          </p:blipFill>
          <p:spPr>
            <a:xfrm>
              <a:off x="10502806" y="3463658"/>
              <a:ext cx="354135" cy="343920"/>
            </a:xfrm>
            <a:prstGeom prst="rect">
              <a:avLst/>
            </a:prstGeom>
          </p:spPr>
        </p:pic>
        <p:pic>
          <p:nvPicPr>
            <p:cNvPr id="121" name="Picture 120">
              <a:extLst>
                <a:ext uri="{FF2B5EF4-FFF2-40B4-BE49-F238E27FC236}">
                  <a16:creationId xmlns:a16="http://schemas.microsoft.com/office/drawing/2014/main" id="{B9E9895A-7AD0-41F0-9C4C-E6623BEB99EA}"/>
                </a:ext>
              </a:extLst>
            </p:cNvPr>
            <p:cNvPicPr>
              <a:picLocks noChangeAspect="1"/>
            </p:cNvPicPr>
            <p:nvPr/>
          </p:nvPicPr>
          <p:blipFill>
            <a:blip r:embed="rId6"/>
            <a:stretch>
              <a:fillRect/>
            </a:stretch>
          </p:blipFill>
          <p:spPr>
            <a:xfrm>
              <a:off x="10502805" y="3031605"/>
              <a:ext cx="354135" cy="343920"/>
            </a:xfrm>
            <a:prstGeom prst="rect">
              <a:avLst/>
            </a:prstGeom>
          </p:spPr>
        </p:pic>
        <p:pic>
          <p:nvPicPr>
            <p:cNvPr id="122" name="Picture 121">
              <a:extLst>
                <a:ext uri="{FF2B5EF4-FFF2-40B4-BE49-F238E27FC236}">
                  <a16:creationId xmlns:a16="http://schemas.microsoft.com/office/drawing/2014/main" id="{B6F70FE5-27CD-40F2-A50E-5229267A5376}"/>
                </a:ext>
              </a:extLst>
            </p:cNvPr>
            <p:cNvPicPr>
              <a:picLocks noChangeAspect="1"/>
            </p:cNvPicPr>
            <p:nvPr/>
          </p:nvPicPr>
          <p:blipFill>
            <a:blip r:embed="rId6"/>
            <a:stretch>
              <a:fillRect/>
            </a:stretch>
          </p:blipFill>
          <p:spPr>
            <a:xfrm>
              <a:off x="10938671" y="3895711"/>
              <a:ext cx="354135" cy="343920"/>
            </a:xfrm>
            <a:prstGeom prst="rect">
              <a:avLst/>
            </a:prstGeom>
          </p:spPr>
        </p:pic>
        <p:pic>
          <p:nvPicPr>
            <p:cNvPr id="123" name="Picture 122">
              <a:extLst>
                <a:ext uri="{FF2B5EF4-FFF2-40B4-BE49-F238E27FC236}">
                  <a16:creationId xmlns:a16="http://schemas.microsoft.com/office/drawing/2014/main" id="{968389B7-EE9C-4F32-B0FF-D1E2A848D42B}"/>
                </a:ext>
              </a:extLst>
            </p:cNvPr>
            <p:cNvPicPr>
              <a:picLocks noChangeAspect="1"/>
            </p:cNvPicPr>
            <p:nvPr/>
          </p:nvPicPr>
          <p:blipFill>
            <a:blip r:embed="rId6"/>
            <a:stretch>
              <a:fillRect/>
            </a:stretch>
          </p:blipFill>
          <p:spPr>
            <a:xfrm>
              <a:off x="10938670" y="3463658"/>
              <a:ext cx="354135" cy="343920"/>
            </a:xfrm>
            <a:prstGeom prst="rect">
              <a:avLst/>
            </a:prstGeom>
          </p:spPr>
        </p:pic>
        <p:pic>
          <p:nvPicPr>
            <p:cNvPr id="124" name="Picture 123">
              <a:extLst>
                <a:ext uri="{FF2B5EF4-FFF2-40B4-BE49-F238E27FC236}">
                  <a16:creationId xmlns:a16="http://schemas.microsoft.com/office/drawing/2014/main" id="{E01ECDA3-9BA6-47B9-83CE-340618F723BC}"/>
                </a:ext>
              </a:extLst>
            </p:cNvPr>
            <p:cNvPicPr>
              <a:picLocks noChangeAspect="1"/>
            </p:cNvPicPr>
            <p:nvPr/>
          </p:nvPicPr>
          <p:blipFill>
            <a:blip r:embed="rId6"/>
            <a:stretch>
              <a:fillRect/>
            </a:stretch>
          </p:blipFill>
          <p:spPr>
            <a:xfrm>
              <a:off x="10938669" y="3031605"/>
              <a:ext cx="354135" cy="343920"/>
            </a:xfrm>
            <a:prstGeom prst="rect">
              <a:avLst/>
            </a:prstGeom>
          </p:spPr>
        </p:pic>
        <p:sp>
          <p:nvSpPr>
            <p:cNvPr id="125" name="Rectangle 124">
              <a:extLst>
                <a:ext uri="{FF2B5EF4-FFF2-40B4-BE49-F238E27FC236}">
                  <a16:creationId xmlns:a16="http://schemas.microsoft.com/office/drawing/2014/main" id="{C7ECC834-E963-4038-BB6E-9924343554FD}"/>
                </a:ext>
              </a:extLst>
            </p:cNvPr>
            <p:cNvSpPr/>
            <p:nvPr/>
          </p:nvSpPr>
          <p:spPr>
            <a:xfrm>
              <a:off x="9566076" y="2895478"/>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6" name="Straight Arrow Connector 125">
              <a:extLst>
                <a:ext uri="{FF2B5EF4-FFF2-40B4-BE49-F238E27FC236}">
                  <a16:creationId xmlns:a16="http://schemas.microsoft.com/office/drawing/2014/main" id="{77177B09-C981-4444-96EA-9F85052E0FF8}"/>
                </a:ext>
              </a:extLst>
            </p:cNvPr>
            <p:cNvCxnSpPr>
              <a:stCxn id="112" idx="3"/>
              <a:endCxn id="125" idx="1"/>
            </p:cNvCxnSpPr>
            <p:nvPr/>
          </p:nvCxnSpPr>
          <p:spPr>
            <a:xfrm>
              <a:off x="8792246" y="3633654"/>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3" name="TextBox 142">
              <a:extLst>
                <a:ext uri="{FF2B5EF4-FFF2-40B4-BE49-F238E27FC236}">
                  <a16:creationId xmlns:a16="http://schemas.microsoft.com/office/drawing/2014/main" id="{C0EC3CDA-02A0-47C9-8C43-50F517E80E67}"/>
                </a:ext>
              </a:extLst>
            </p:cNvPr>
            <p:cNvSpPr txBox="1"/>
            <p:nvPr/>
          </p:nvSpPr>
          <p:spPr>
            <a:xfrm>
              <a:off x="7614300" y="2880338"/>
              <a:ext cx="1271502" cy="369332"/>
            </a:xfrm>
            <a:prstGeom prst="rect">
              <a:avLst/>
            </a:prstGeom>
            <a:noFill/>
          </p:spPr>
          <p:txBody>
            <a:bodyPr wrap="none" rtlCol="0">
              <a:spAutoFit/>
            </a:bodyPr>
            <a:lstStyle/>
            <a:p>
              <a:r>
                <a:rPr lang="sv-SE" dirty="0"/>
                <a:t>Customer B</a:t>
              </a:r>
              <a:endParaRPr lang="en-US" dirty="0"/>
            </a:p>
          </p:txBody>
        </p:sp>
        <p:pic>
          <p:nvPicPr>
            <p:cNvPr id="145" name="Picture 4" descr="Related image">
              <a:extLst>
                <a:ext uri="{FF2B5EF4-FFF2-40B4-BE49-F238E27FC236}">
                  <a16:creationId xmlns:a16="http://schemas.microsoft.com/office/drawing/2014/main" id="{2FBFACFD-2097-4971-817B-11CF759B7F6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623840" y="3797438"/>
              <a:ext cx="418541" cy="50647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28" name="Group 1027">
            <a:extLst>
              <a:ext uri="{FF2B5EF4-FFF2-40B4-BE49-F238E27FC236}">
                <a16:creationId xmlns:a16="http://schemas.microsoft.com/office/drawing/2014/main" id="{0CDE55AB-F524-4AFF-8F1E-304A555BFC43}"/>
              </a:ext>
            </a:extLst>
          </p:cNvPr>
          <p:cNvGrpSpPr/>
          <p:nvPr/>
        </p:nvGrpSpPr>
        <p:grpSpPr>
          <a:xfrm>
            <a:off x="7628563" y="4545087"/>
            <a:ext cx="3725237" cy="1486453"/>
            <a:chOff x="7628563" y="4545087"/>
            <a:chExt cx="3725237" cy="1486453"/>
          </a:xfrm>
        </p:grpSpPr>
        <p:sp>
          <p:nvSpPr>
            <p:cNvPr id="127" name="Rectangle 126">
              <a:extLst>
                <a:ext uri="{FF2B5EF4-FFF2-40B4-BE49-F238E27FC236}">
                  <a16:creationId xmlns:a16="http://schemas.microsoft.com/office/drawing/2014/main" id="{F580FFF3-D4BF-47F5-8541-D44196DE24B3}"/>
                </a:ext>
              </a:extLst>
            </p:cNvPr>
            <p:cNvSpPr/>
            <p:nvPr/>
          </p:nvSpPr>
          <p:spPr>
            <a:xfrm>
              <a:off x="7687346" y="4936096"/>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128" name="Picture 127">
              <a:extLst>
                <a:ext uri="{FF2B5EF4-FFF2-40B4-BE49-F238E27FC236}">
                  <a16:creationId xmlns:a16="http://schemas.microsoft.com/office/drawing/2014/main" id="{6BD708F8-E9BA-4F50-9698-6269D3F90311}"/>
                </a:ext>
              </a:extLst>
            </p:cNvPr>
            <p:cNvPicPr>
              <a:picLocks noChangeAspect="1"/>
            </p:cNvPicPr>
            <p:nvPr/>
          </p:nvPicPr>
          <p:blipFill>
            <a:blip r:embed="rId6"/>
            <a:stretch>
              <a:fillRect/>
            </a:stretch>
          </p:blipFill>
          <p:spPr>
            <a:xfrm>
              <a:off x="9631079" y="5547403"/>
              <a:ext cx="354135" cy="343920"/>
            </a:xfrm>
            <a:prstGeom prst="rect">
              <a:avLst/>
            </a:prstGeom>
          </p:spPr>
        </p:pic>
        <p:pic>
          <p:nvPicPr>
            <p:cNvPr id="129" name="Picture 128">
              <a:extLst>
                <a:ext uri="{FF2B5EF4-FFF2-40B4-BE49-F238E27FC236}">
                  <a16:creationId xmlns:a16="http://schemas.microsoft.com/office/drawing/2014/main" id="{61D82181-4B14-4798-AD32-5D0480EA8D7C}"/>
                </a:ext>
              </a:extLst>
            </p:cNvPr>
            <p:cNvPicPr>
              <a:picLocks noChangeAspect="1"/>
            </p:cNvPicPr>
            <p:nvPr/>
          </p:nvPicPr>
          <p:blipFill>
            <a:blip r:embed="rId6"/>
            <a:stretch>
              <a:fillRect/>
            </a:stretch>
          </p:blipFill>
          <p:spPr>
            <a:xfrm>
              <a:off x="9631078" y="5115350"/>
              <a:ext cx="354135" cy="343920"/>
            </a:xfrm>
            <a:prstGeom prst="rect">
              <a:avLst/>
            </a:prstGeom>
          </p:spPr>
        </p:pic>
        <p:pic>
          <p:nvPicPr>
            <p:cNvPr id="130" name="Picture 129">
              <a:extLst>
                <a:ext uri="{FF2B5EF4-FFF2-40B4-BE49-F238E27FC236}">
                  <a16:creationId xmlns:a16="http://schemas.microsoft.com/office/drawing/2014/main" id="{90101D1B-5CF1-4E87-900A-CBC0B60CD6FE}"/>
                </a:ext>
              </a:extLst>
            </p:cNvPr>
            <p:cNvPicPr>
              <a:picLocks noChangeAspect="1"/>
            </p:cNvPicPr>
            <p:nvPr/>
          </p:nvPicPr>
          <p:blipFill>
            <a:blip r:embed="rId6"/>
            <a:stretch>
              <a:fillRect/>
            </a:stretch>
          </p:blipFill>
          <p:spPr>
            <a:xfrm>
              <a:off x="9631077" y="4683297"/>
              <a:ext cx="354135" cy="343920"/>
            </a:xfrm>
            <a:prstGeom prst="rect">
              <a:avLst/>
            </a:prstGeom>
          </p:spPr>
        </p:pic>
        <p:pic>
          <p:nvPicPr>
            <p:cNvPr id="131" name="Picture 130">
              <a:extLst>
                <a:ext uri="{FF2B5EF4-FFF2-40B4-BE49-F238E27FC236}">
                  <a16:creationId xmlns:a16="http://schemas.microsoft.com/office/drawing/2014/main" id="{2BE62D41-4077-4EF2-B954-86AC1CA44CE7}"/>
                </a:ext>
              </a:extLst>
            </p:cNvPr>
            <p:cNvPicPr>
              <a:picLocks noChangeAspect="1"/>
            </p:cNvPicPr>
            <p:nvPr/>
          </p:nvPicPr>
          <p:blipFill>
            <a:blip r:embed="rId6"/>
            <a:stretch>
              <a:fillRect/>
            </a:stretch>
          </p:blipFill>
          <p:spPr>
            <a:xfrm>
              <a:off x="10066943" y="5547403"/>
              <a:ext cx="354135" cy="343920"/>
            </a:xfrm>
            <a:prstGeom prst="rect">
              <a:avLst/>
            </a:prstGeom>
          </p:spPr>
        </p:pic>
        <p:pic>
          <p:nvPicPr>
            <p:cNvPr id="132" name="Picture 131">
              <a:extLst>
                <a:ext uri="{FF2B5EF4-FFF2-40B4-BE49-F238E27FC236}">
                  <a16:creationId xmlns:a16="http://schemas.microsoft.com/office/drawing/2014/main" id="{ACE955F3-56EF-4FF7-B68C-7E14592AD966}"/>
                </a:ext>
              </a:extLst>
            </p:cNvPr>
            <p:cNvPicPr>
              <a:picLocks noChangeAspect="1"/>
            </p:cNvPicPr>
            <p:nvPr/>
          </p:nvPicPr>
          <p:blipFill>
            <a:blip r:embed="rId6"/>
            <a:stretch>
              <a:fillRect/>
            </a:stretch>
          </p:blipFill>
          <p:spPr>
            <a:xfrm>
              <a:off x="10066942" y="5115350"/>
              <a:ext cx="354135" cy="343920"/>
            </a:xfrm>
            <a:prstGeom prst="rect">
              <a:avLst/>
            </a:prstGeom>
          </p:spPr>
        </p:pic>
        <p:pic>
          <p:nvPicPr>
            <p:cNvPr id="133" name="Picture 132">
              <a:extLst>
                <a:ext uri="{FF2B5EF4-FFF2-40B4-BE49-F238E27FC236}">
                  <a16:creationId xmlns:a16="http://schemas.microsoft.com/office/drawing/2014/main" id="{D17C739D-C673-4B04-9595-7EE4B465850F}"/>
                </a:ext>
              </a:extLst>
            </p:cNvPr>
            <p:cNvPicPr>
              <a:picLocks noChangeAspect="1"/>
            </p:cNvPicPr>
            <p:nvPr/>
          </p:nvPicPr>
          <p:blipFill>
            <a:blip r:embed="rId6"/>
            <a:stretch>
              <a:fillRect/>
            </a:stretch>
          </p:blipFill>
          <p:spPr>
            <a:xfrm>
              <a:off x="10066941" y="4683297"/>
              <a:ext cx="354135" cy="343920"/>
            </a:xfrm>
            <a:prstGeom prst="rect">
              <a:avLst/>
            </a:prstGeom>
          </p:spPr>
        </p:pic>
        <p:pic>
          <p:nvPicPr>
            <p:cNvPr id="134" name="Picture 133">
              <a:extLst>
                <a:ext uri="{FF2B5EF4-FFF2-40B4-BE49-F238E27FC236}">
                  <a16:creationId xmlns:a16="http://schemas.microsoft.com/office/drawing/2014/main" id="{9CCAC823-B588-460D-877D-3FFB9C1AB78C}"/>
                </a:ext>
              </a:extLst>
            </p:cNvPr>
            <p:cNvPicPr>
              <a:picLocks noChangeAspect="1"/>
            </p:cNvPicPr>
            <p:nvPr/>
          </p:nvPicPr>
          <p:blipFill>
            <a:blip r:embed="rId6"/>
            <a:stretch>
              <a:fillRect/>
            </a:stretch>
          </p:blipFill>
          <p:spPr>
            <a:xfrm>
              <a:off x="10502807" y="5547403"/>
              <a:ext cx="354135" cy="343920"/>
            </a:xfrm>
            <a:prstGeom prst="rect">
              <a:avLst/>
            </a:prstGeom>
          </p:spPr>
        </p:pic>
        <p:pic>
          <p:nvPicPr>
            <p:cNvPr id="135" name="Picture 134">
              <a:extLst>
                <a:ext uri="{FF2B5EF4-FFF2-40B4-BE49-F238E27FC236}">
                  <a16:creationId xmlns:a16="http://schemas.microsoft.com/office/drawing/2014/main" id="{4FF6DB55-2385-47E2-892A-250644DFB969}"/>
                </a:ext>
              </a:extLst>
            </p:cNvPr>
            <p:cNvPicPr>
              <a:picLocks noChangeAspect="1"/>
            </p:cNvPicPr>
            <p:nvPr/>
          </p:nvPicPr>
          <p:blipFill>
            <a:blip r:embed="rId6"/>
            <a:stretch>
              <a:fillRect/>
            </a:stretch>
          </p:blipFill>
          <p:spPr>
            <a:xfrm>
              <a:off x="10502806" y="5115350"/>
              <a:ext cx="354135" cy="343920"/>
            </a:xfrm>
            <a:prstGeom prst="rect">
              <a:avLst/>
            </a:prstGeom>
          </p:spPr>
        </p:pic>
        <p:pic>
          <p:nvPicPr>
            <p:cNvPr id="136" name="Picture 135">
              <a:extLst>
                <a:ext uri="{FF2B5EF4-FFF2-40B4-BE49-F238E27FC236}">
                  <a16:creationId xmlns:a16="http://schemas.microsoft.com/office/drawing/2014/main" id="{46A4E906-2B48-4FE0-BE70-C7B4A1949E48}"/>
                </a:ext>
              </a:extLst>
            </p:cNvPr>
            <p:cNvPicPr>
              <a:picLocks noChangeAspect="1"/>
            </p:cNvPicPr>
            <p:nvPr/>
          </p:nvPicPr>
          <p:blipFill>
            <a:blip r:embed="rId6"/>
            <a:stretch>
              <a:fillRect/>
            </a:stretch>
          </p:blipFill>
          <p:spPr>
            <a:xfrm>
              <a:off x="10502805" y="4683297"/>
              <a:ext cx="354135" cy="343920"/>
            </a:xfrm>
            <a:prstGeom prst="rect">
              <a:avLst/>
            </a:prstGeom>
          </p:spPr>
        </p:pic>
        <p:pic>
          <p:nvPicPr>
            <p:cNvPr id="137" name="Picture 136">
              <a:extLst>
                <a:ext uri="{FF2B5EF4-FFF2-40B4-BE49-F238E27FC236}">
                  <a16:creationId xmlns:a16="http://schemas.microsoft.com/office/drawing/2014/main" id="{ABBF6649-2E5E-4CDE-B90F-153E8E70A82D}"/>
                </a:ext>
              </a:extLst>
            </p:cNvPr>
            <p:cNvPicPr>
              <a:picLocks noChangeAspect="1"/>
            </p:cNvPicPr>
            <p:nvPr/>
          </p:nvPicPr>
          <p:blipFill>
            <a:blip r:embed="rId6"/>
            <a:stretch>
              <a:fillRect/>
            </a:stretch>
          </p:blipFill>
          <p:spPr>
            <a:xfrm>
              <a:off x="10938671" y="5547403"/>
              <a:ext cx="354135" cy="343920"/>
            </a:xfrm>
            <a:prstGeom prst="rect">
              <a:avLst/>
            </a:prstGeom>
          </p:spPr>
        </p:pic>
        <p:pic>
          <p:nvPicPr>
            <p:cNvPr id="138" name="Picture 137">
              <a:extLst>
                <a:ext uri="{FF2B5EF4-FFF2-40B4-BE49-F238E27FC236}">
                  <a16:creationId xmlns:a16="http://schemas.microsoft.com/office/drawing/2014/main" id="{9A0A3B09-C427-4914-BBA6-91BE69A10B2E}"/>
                </a:ext>
              </a:extLst>
            </p:cNvPr>
            <p:cNvPicPr>
              <a:picLocks noChangeAspect="1"/>
            </p:cNvPicPr>
            <p:nvPr/>
          </p:nvPicPr>
          <p:blipFill>
            <a:blip r:embed="rId6"/>
            <a:stretch>
              <a:fillRect/>
            </a:stretch>
          </p:blipFill>
          <p:spPr>
            <a:xfrm>
              <a:off x="10938670" y="5115350"/>
              <a:ext cx="354135" cy="343920"/>
            </a:xfrm>
            <a:prstGeom prst="rect">
              <a:avLst/>
            </a:prstGeom>
          </p:spPr>
        </p:pic>
        <p:pic>
          <p:nvPicPr>
            <p:cNvPr id="139" name="Picture 138">
              <a:extLst>
                <a:ext uri="{FF2B5EF4-FFF2-40B4-BE49-F238E27FC236}">
                  <a16:creationId xmlns:a16="http://schemas.microsoft.com/office/drawing/2014/main" id="{A3B3290C-EDB4-4698-BF5C-63391536297B}"/>
                </a:ext>
              </a:extLst>
            </p:cNvPr>
            <p:cNvPicPr>
              <a:picLocks noChangeAspect="1"/>
            </p:cNvPicPr>
            <p:nvPr/>
          </p:nvPicPr>
          <p:blipFill>
            <a:blip r:embed="rId6"/>
            <a:stretch>
              <a:fillRect/>
            </a:stretch>
          </p:blipFill>
          <p:spPr>
            <a:xfrm>
              <a:off x="10938669" y="4683297"/>
              <a:ext cx="354135" cy="343920"/>
            </a:xfrm>
            <a:prstGeom prst="rect">
              <a:avLst/>
            </a:prstGeom>
          </p:spPr>
        </p:pic>
        <p:sp>
          <p:nvSpPr>
            <p:cNvPr id="140" name="Rectangle 139">
              <a:extLst>
                <a:ext uri="{FF2B5EF4-FFF2-40B4-BE49-F238E27FC236}">
                  <a16:creationId xmlns:a16="http://schemas.microsoft.com/office/drawing/2014/main" id="{390E4A24-8629-4F35-9D57-E5FF116ACFE1}"/>
                </a:ext>
              </a:extLst>
            </p:cNvPr>
            <p:cNvSpPr/>
            <p:nvPr/>
          </p:nvSpPr>
          <p:spPr>
            <a:xfrm>
              <a:off x="9566076" y="4547170"/>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41" name="Straight Arrow Connector 140">
              <a:extLst>
                <a:ext uri="{FF2B5EF4-FFF2-40B4-BE49-F238E27FC236}">
                  <a16:creationId xmlns:a16="http://schemas.microsoft.com/office/drawing/2014/main" id="{24D7430D-DC3D-4A49-B335-6E111581EE80}"/>
                </a:ext>
              </a:extLst>
            </p:cNvPr>
            <p:cNvCxnSpPr>
              <a:stCxn id="127" idx="3"/>
              <a:endCxn id="140" idx="1"/>
            </p:cNvCxnSpPr>
            <p:nvPr/>
          </p:nvCxnSpPr>
          <p:spPr>
            <a:xfrm>
              <a:off x="8792246" y="5285346"/>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4" name="TextBox 143">
              <a:extLst>
                <a:ext uri="{FF2B5EF4-FFF2-40B4-BE49-F238E27FC236}">
                  <a16:creationId xmlns:a16="http://schemas.microsoft.com/office/drawing/2014/main" id="{2E1BFADE-EECB-4A31-AC72-E1E319EF7359}"/>
                </a:ext>
              </a:extLst>
            </p:cNvPr>
            <p:cNvSpPr txBox="1"/>
            <p:nvPr/>
          </p:nvSpPr>
          <p:spPr>
            <a:xfrm>
              <a:off x="7628563" y="4545087"/>
              <a:ext cx="1269899" cy="369332"/>
            </a:xfrm>
            <a:prstGeom prst="rect">
              <a:avLst/>
            </a:prstGeom>
            <a:noFill/>
          </p:spPr>
          <p:txBody>
            <a:bodyPr wrap="none" rtlCol="0">
              <a:spAutoFit/>
            </a:bodyPr>
            <a:lstStyle/>
            <a:p>
              <a:r>
                <a:rPr lang="sv-SE" dirty="0"/>
                <a:t>Customer C</a:t>
              </a:r>
              <a:endParaRPr lang="en-US" dirty="0"/>
            </a:p>
          </p:txBody>
        </p:sp>
        <p:pic>
          <p:nvPicPr>
            <p:cNvPr id="146" name="Picture 10" descr="Image result for ibm IOT logo">
              <a:extLst>
                <a:ext uri="{FF2B5EF4-FFF2-40B4-BE49-F238E27FC236}">
                  <a16:creationId xmlns:a16="http://schemas.microsoft.com/office/drawing/2014/main" id="{C3B0129C-EA2B-4878-9272-0AFDF8FC8E6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608637" y="5424829"/>
              <a:ext cx="570524" cy="55911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25" name="Group 1024">
            <a:extLst>
              <a:ext uri="{FF2B5EF4-FFF2-40B4-BE49-F238E27FC236}">
                <a16:creationId xmlns:a16="http://schemas.microsoft.com/office/drawing/2014/main" id="{33E4F68E-0296-4F20-B2B6-9C823641D452}"/>
              </a:ext>
            </a:extLst>
          </p:cNvPr>
          <p:cNvGrpSpPr/>
          <p:nvPr/>
        </p:nvGrpSpPr>
        <p:grpSpPr>
          <a:xfrm>
            <a:off x="7600037" y="1215589"/>
            <a:ext cx="3753763" cy="1512567"/>
            <a:chOff x="7600037" y="1215589"/>
            <a:chExt cx="3753763" cy="1512567"/>
          </a:xfrm>
        </p:grpSpPr>
        <p:sp>
          <p:nvSpPr>
            <p:cNvPr id="97" name="Rectangle 96">
              <a:extLst>
                <a:ext uri="{FF2B5EF4-FFF2-40B4-BE49-F238E27FC236}">
                  <a16:creationId xmlns:a16="http://schemas.microsoft.com/office/drawing/2014/main" id="{8DFB482E-E367-494E-9070-060F7F323E9D}"/>
                </a:ext>
              </a:extLst>
            </p:cNvPr>
            <p:cNvSpPr/>
            <p:nvPr/>
          </p:nvSpPr>
          <p:spPr>
            <a:xfrm>
              <a:off x="7687346" y="1632712"/>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98" name="Picture 97">
              <a:extLst>
                <a:ext uri="{FF2B5EF4-FFF2-40B4-BE49-F238E27FC236}">
                  <a16:creationId xmlns:a16="http://schemas.microsoft.com/office/drawing/2014/main" id="{9F8B69E9-BF8B-47AD-986E-FA3031CE06FF}"/>
                </a:ext>
              </a:extLst>
            </p:cNvPr>
            <p:cNvPicPr>
              <a:picLocks noChangeAspect="1"/>
            </p:cNvPicPr>
            <p:nvPr/>
          </p:nvPicPr>
          <p:blipFill>
            <a:blip r:embed="rId6"/>
            <a:stretch>
              <a:fillRect/>
            </a:stretch>
          </p:blipFill>
          <p:spPr>
            <a:xfrm>
              <a:off x="9631079" y="2244019"/>
              <a:ext cx="354135" cy="343920"/>
            </a:xfrm>
            <a:prstGeom prst="rect">
              <a:avLst/>
            </a:prstGeom>
          </p:spPr>
        </p:pic>
        <p:pic>
          <p:nvPicPr>
            <p:cNvPr id="99" name="Picture 98">
              <a:extLst>
                <a:ext uri="{FF2B5EF4-FFF2-40B4-BE49-F238E27FC236}">
                  <a16:creationId xmlns:a16="http://schemas.microsoft.com/office/drawing/2014/main" id="{25564854-60C0-47A2-849E-5BC647B7E764}"/>
                </a:ext>
              </a:extLst>
            </p:cNvPr>
            <p:cNvPicPr>
              <a:picLocks noChangeAspect="1"/>
            </p:cNvPicPr>
            <p:nvPr/>
          </p:nvPicPr>
          <p:blipFill>
            <a:blip r:embed="rId6"/>
            <a:stretch>
              <a:fillRect/>
            </a:stretch>
          </p:blipFill>
          <p:spPr>
            <a:xfrm>
              <a:off x="9631078" y="1811966"/>
              <a:ext cx="354135" cy="343920"/>
            </a:xfrm>
            <a:prstGeom prst="rect">
              <a:avLst/>
            </a:prstGeom>
          </p:spPr>
        </p:pic>
        <p:pic>
          <p:nvPicPr>
            <p:cNvPr id="100" name="Picture 99">
              <a:extLst>
                <a:ext uri="{FF2B5EF4-FFF2-40B4-BE49-F238E27FC236}">
                  <a16:creationId xmlns:a16="http://schemas.microsoft.com/office/drawing/2014/main" id="{C057CA5D-804B-4419-A1BC-08D1E7B8452D}"/>
                </a:ext>
              </a:extLst>
            </p:cNvPr>
            <p:cNvPicPr>
              <a:picLocks noChangeAspect="1"/>
            </p:cNvPicPr>
            <p:nvPr/>
          </p:nvPicPr>
          <p:blipFill>
            <a:blip r:embed="rId6"/>
            <a:stretch>
              <a:fillRect/>
            </a:stretch>
          </p:blipFill>
          <p:spPr>
            <a:xfrm>
              <a:off x="9631077" y="1379913"/>
              <a:ext cx="354135" cy="343920"/>
            </a:xfrm>
            <a:prstGeom prst="rect">
              <a:avLst/>
            </a:prstGeom>
          </p:spPr>
        </p:pic>
        <p:pic>
          <p:nvPicPr>
            <p:cNvPr id="101" name="Picture 100">
              <a:extLst>
                <a:ext uri="{FF2B5EF4-FFF2-40B4-BE49-F238E27FC236}">
                  <a16:creationId xmlns:a16="http://schemas.microsoft.com/office/drawing/2014/main" id="{08383796-F09D-41C0-90BE-66EA73B7CC6A}"/>
                </a:ext>
              </a:extLst>
            </p:cNvPr>
            <p:cNvPicPr>
              <a:picLocks noChangeAspect="1"/>
            </p:cNvPicPr>
            <p:nvPr/>
          </p:nvPicPr>
          <p:blipFill>
            <a:blip r:embed="rId6"/>
            <a:stretch>
              <a:fillRect/>
            </a:stretch>
          </p:blipFill>
          <p:spPr>
            <a:xfrm>
              <a:off x="10066943" y="2244019"/>
              <a:ext cx="354135" cy="343920"/>
            </a:xfrm>
            <a:prstGeom prst="rect">
              <a:avLst/>
            </a:prstGeom>
          </p:spPr>
        </p:pic>
        <p:pic>
          <p:nvPicPr>
            <p:cNvPr id="102" name="Picture 101">
              <a:extLst>
                <a:ext uri="{FF2B5EF4-FFF2-40B4-BE49-F238E27FC236}">
                  <a16:creationId xmlns:a16="http://schemas.microsoft.com/office/drawing/2014/main" id="{D88DB640-A60D-41D3-837D-FA359873969A}"/>
                </a:ext>
              </a:extLst>
            </p:cNvPr>
            <p:cNvPicPr>
              <a:picLocks noChangeAspect="1"/>
            </p:cNvPicPr>
            <p:nvPr/>
          </p:nvPicPr>
          <p:blipFill>
            <a:blip r:embed="rId6"/>
            <a:stretch>
              <a:fillRect/>
            </a:stretch>
          </p:blipFill>
          <p:spPr>
            <a:xfrm>
              <a:off x="10066942" y="1811966"/>
              <a:ext cx="354135" cy="343920"/>
            </a:xfrm>
            <a:prstGeom prst="rect">
              <a:avLst/>
            </a:prstGeom>
          </p:spPr>
        </p:pic>
        <p:pic>
          <p:nvPicPr>
            <p:cNvPr id="103" name="Picture 102">
              <a:extLst>
                <a:ext uri="{FF2B5EF4-FFF2-40B4-BE49-F238E27FC236}">
                  <a16:creationId xmlns:a16="http://schemas.microsoft.com/office/drawing/2014/main" id="{A7C5B9DC-4E4D-4409-BF42-29844A24E3AD}"/>
                </a:ext>
              </a:extLst>
            </p:cNvPr>
            <p:cNvPicPr>
              <a:picLocks noChangeAspect="1"/>
            </p:cNvPicPr>
            <p:nvPr/>
          </p:nvPicPr>
          <p:blipFill>
            <a:blip r:embed="rId6"/>
            <a:stretch>
              <a:fillRect/>
            </a:stretch>
          </p:blipFill>
          <p:spPr>
            <a:xfrm>
              <a:off x="10066941" y="1379913"/>
              <a:ext cx="354135" cy="343920"/>
            </a:xfrm>
            <a:prstGeom prst="rect">
              <a:avLst/>
            </a:prstGeom>
          </p:spPr>
        </p:pic>
        <p:pic>
          <p:nvPicPr>
            <p:cNvPr id="104" name="Picture 103">
              <a:extLst>
                <a:ext uri="{FF2B5EF4-FFF2-40B4-BE49-F238E27FC236}">
                  <a16:creationId xmlns:a16="http://schemas.microsoft.com/office/drawing/2014/main" id="{A02DF20A-4758-440D-BB21-024141B72EA7}"/>
                </a:ext>
              </a:extLst>
            </p:cNvPr>
            <p:cNvPicPr>
              <a:picLocks noChangeAspect="1"/>
            </p:cNvPicPr>
            <p:nvPr/>
          </p:nvPicPr>
          <p:blipFill>
            <a:blip r:embed="rId6"/>
            <a:stretch>
              <a:fillRect/>
            </a:stretch>
          </p:blipFill>
          <p:spPr>
            <a:xfrm>
              <a:off x="10502807" y="2244019"/>
              <a:ext cx="354135" cy="343920"/>
            </a:xfrm>
            <a:prstGeom prst="rect">
              <a:avLst/>
            </a:prstGeom>
          </p:spPr>
        </p:pic>
        <p:pic>
          <p:nvPicPr>
            <p:cNvPr id="105" name="Picture 104">
              <a:extLst>
                <a:ext uri="{FF2B5EF4-FFF2-40B4-BE49-F238E27FC236}">
                  <a16:creationId xmlns:a16="http://schemas.microsoft.com/office/drawing/2014/main" id="{876B1451-4416-4103-9517-D845CD46A637}"/>
                </a:ext>
              </a:extLst>
            </p:cNvPr>
            <p:cNvPicPr>
              <a:picLocks noChangeAspect="1"/>
            </p:cNvPicPr>
            <p:nvPr/>
          </p:nvPicPr>
          <p:blipFill>
            <a:blip r:embed="rId6"/>
            <a:stretch>
              <a:fillRect/>
            </a:stretch>
          </p:blipFill>
          <p:spPr>
            <a:xfrm>
              <a:off x="10502806" y="1811966"/>
              <a:ext cx="354135" cy="343920"/>
            </a:xfrm>
            <a:prstGeom prst="rect">
              <a:avLst/>
            </a:prstGeom>
          </p:spPr>
        </p:pic>
        <p:pic>
          <p:nvPicPr>
            <p:cNvPr id="106" name="Picture 105">
              <a:extLst>
                <a:ext uri="{FF2B5EF4-FFF2-40B4-BE49-F238E27FC236}">
                  <a16:creationId xmlns:a16="http://schemas.microsoft.com/office/drawing/2014/main" id="{ACDD1C4E-8943-4AE0-A19F-412DAD352190}"/>
                </a:ext>
              </a:extLst>
            </p:cNvPr>
            <p:cNvPicPr>
              <a:picLocks noChangeAspect="1"/>
            </p:cNvPicPr>
            <p:nvPr/>
          </p:nvPicPr>
          <p:blipFill>
            <a:blip r:embed="rId6"/>
            <a:stretch>
              <a:fillRect/>
            </a:stretch>
          </p:blipFill>
          <p:spPr>
            <a:xfrm>
              <a:off x="10502805" y="1379913"/>
              <a:ext cx="354135" cy="343920"/>
            </a:xfrm>
            <a:prstGeom prst="rect">
              <a:avLst/>
            </a:prstGeom>
          </p:spPr>
        </p:pic>
        <p:pic>
          <p:nvPicPr>
            <p:cNvPr id="107" name="Picture 106">
              <a:extLst>
                <a:ext uri="{FF2B5EF4-FFF2-40B4-BE49-F238E27FC236}">
                  <a16:creationId xmlns:a16="http://schemas.microsoft.com/office/drawing/2014/main" id="{8B6E931A-186D-4D59-8CDA-D496F8B08736}"/>
                </a:ext>
              </a:extLst>
            </p:cNvPr>
            <p:cNvPicPr>
              <a:picLocks noChangeAspect="1"/>
            </p:cNvPicPr>
            <p:nvPr/>
          </p:nvPicPr>
          <p:blipFill>
            <a:blip r:embed="rId6"/>
            <a:stretch>
              <a:fillRect/>
            </a:stretch>
          </p:blipFill>
          <p:spPr>
            <a:xfrm>
              <a:off x="10938671" y="2244019"/>
              <a:ext cx="354135" cy="343920"/>
            </a:xfrm>
            <a:prstGeom prst="rect">
              <a:avLst/>
            </a:prstGeom>
          </p:spPr>
        </p:pic>
        <p:pic>
          <p:nvPicPr>
            <p:cNvPr id="108" name="Picture 107">
              <a:extLst>
                <a:ext uri="{FF2B5EF4-FFF2-40B4-BE49-F238E27FC236}">
                  <a16:creationId xmlns:a16="http://schemas.microsoft.com/office/drawing/2014/main" id="{F3B04BD2-2FDF-48DD-8331-979A749E8BEA}"/>
                </a:ext>
              </a:extLst>
            </p:cNvPr>
            <p:cNvPicPr>
              <a:picLocks noChangeAspect="1"/>
            </p:cNvPicPr>
            <p:nvPr/>
          </p:nvPicPr>
          <p:blipFill>
            <a:blip r:embed="rId6"/>
            <a:stretch>
              <a:fillRect/>
            </a:stretch>
          </p:blipFill>
          <p:spPr>
            <a:xfrm>
              <a:off x="10938670" y="1811966"/>
              <a:ext cx="354135" cy="343920"/>
            </a:xfrm>
            <a:prstGeom prst="rect">
              <a:avLst/>
            </a:prstGeom>
          </p:spPr>
        </p:pic>
        <p:pic>
          <p:nvPicPr>
            <p:cNvPr id="109" name="Picture 108">
              <a:extLst>
                <a:ext uri="{FF2B5EF4-FFF2-40B4-BE49-F238E27FC236}">
                  <a16:creationId xmlns:a16="http://schemas.microsoft.com/office/drawing/2014/main" id="{408B9254-BD10-4446-8323-44104567FA60}"/>
                </a:ext>
              </a:extLst>
            </p:cNvPr>
            <p:cNvPicPr>
              <a:picLocks noChangeAspect="1"/>
            </p:cNvPicPr>
            <p:nvPr/>
          </p:nvPicPr>
          <p:blipFill>
            <a:blip r:embed="rId6"/>
            <a:stretch>
              <a:fillRect/>
            </a:stretch>
          </p:blipFill>
          <p:spPr>
            <a:xfrm>
              <a:off x="10938669" y="1379913"/>
              <a:ext cx="354135" cy="343920"/>
            </a:xfrm>
            <a:prstGeom prst="rect">
              <a:avLst/>
            </a:prstGeom>
          </p:spPr>
        </p:pic>
        <p:sp>
          <p:nvSpPr>
            <p:cNvPr id="110" name="Rectangle 109">
              <a:extLst>
                <a:ext uri="{FF2B5EF4-FFF2-40B4-BE49-F238E27FC236}">
                  <a16:creationId xmlns:a16="http://schemas.microsoft.com/office/drawing/2014/main" id="{4AD99BB6-AEFB-4791-ABBD-4064BB46C075}"/>
                </a:ext>
              </a:extLst>
            </p:cNvPr>
            <p:cNvSpPr/>
            <p:nvPr/>
          </p:nvSpPr>
          <p:spPr>
            <a:xfrm>
              <a:off x="9566076" y="1243786"/>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1" name="Straight Arrow Connector 110">
              <a:extLst>
                <a:ext uri="{FF2B5EF4-FFF2-40B4-BE49-F238E27FC236}">
                  <a16:creationId xmlns:a16="http://schemas.microsoft.com/office/drawing/2014/main" id="{8250AACA-D217-4156-BF99-A6FD7E8026E3}"/>
                </a:ext>
              </a:extLst>
            </p:cNvPr>
            <p:cNvCxnSpPr>
              <a:stCxn id="97" idx="3"/>
              <a:endCxn id="110" idx="1"/>
            </p:cNvCxnSpPr>
            <p:nvPr/>
          </p:nvCxnSpPr>
          <p:spPr>
            <a:xfrm>
              <a:off x="8792246" y="1981962"/>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2" name="TextBox 141">
              <a:extLst>
                <a:ext uri="{FF2B5EF4-FFF2-40B4-BE49-F238E27FC236}">
                  <a16:creationId xmlns:a16="http://schemas.microsoft.com/office/drawing/2014/main" id="{98163CC1-7F24-497D-AC8D-A1A1B66D362B}"/>
                </a:ext>
              </a:extLst>
            </p:cNvPr>
            <p:cNvSpPr txBox="1"/>
            <p:nvPr/>
          </p:nvSpPr>
          <p:spPr>
            <a:xfrm>
              <a:off x="7600037" y="1215589"/>
              <a:ext cx="1279517" cy="369332"/>
            </a:xfrm>
            <a:prstGeom prst="rect">
              <a:avLst/>
            </a:prstGeom>
            <a:noFill/>
          </p:spPr>
          <p:txBody>
            <a:bodyPr wrap="none" rtlCol="0">
              <a:spAutoFit/>
            </a:bodyPr>
            <a:lstStyle/>
            <a:p>
              <a:r>
                <a:rPr lang="sv-SE" dirty="0"/>
                <a:t>Customer A</a:t>
              </a:r>
              <a:endParaRPr lang="en-US" dirty="0"/>
            </a:p>
          </p:txBody>
        </p:sp>
        <p:grpSp>
          <p:nvGrpSpPr>
            <p:cNvPr id="147" name="Group 146">
              <a:extLst>
                <a:ext uri="{FF2B5EF4-FFF2-40B4-BE49-F238E27FC236}">
                  <a16:creationId xmlns:a16="http://schemas.microsoft.com/office/drawing/2014/main" id="{87B6A82F-1629-4584-9099-D0CC272D8CFF}"/>
                </a:ext>
              </a:extLst>
            </p:cNvPr>
            <p:cNvGrpSpPr/>
            <p:nvPr/>
          </p:nvGrpSpPr>
          <p:grpSpPr>
            <a:xfrm>
              <a:off x="8544765" y="2170874"/>
              <a:ext cx="576692" cy="509588"/>
              <a:chOff x="5498091" y="4114800"/>
              <a:chExt cx="576692" cy="509588"/>
            </a:xfrm>
          </p:grpSpPr>
          <p:sp>
            <p:nvSpPr>
              <p:cNvPr id="148" name="Oval 147">
                <a:extLst>
                  <a:ext uri="{FF2B5EF4-FFF2-40B4-BE49-F238E27FC236}">
                    <a16:creationId xmlns:a16="http://schemas.microsoft.com/office/drawing/2014/main" id="{6879CA68-485D-4F4F-98C8-538FB24974CD}"/>
                  </a:ext>
                </a:extLst>
              </p:cNvPr>
              <p:cNvSpPr/>
              <p:nvPr/>
            </p:nvSpPr>
            <p:spPr>
              <a:xfrm>
                <a:off x="5534025" y="4114800"/>
                <a:ext cx="504825" cy="50958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9" name="Picture 8" descr="Image result for AZURE IOT">
                <a:extLst>
                  <a:ext uri="{FF2B5EF4-FFF2-40B4-BE49-F238E27FC236}">
                    <a16:creationId xmlns:a16="http://schemas.microsoft.com/office/drawing/2014/main" id="{F4C859F1-50BC-44CE-8CE3-4C4A0FCD2A4C}"/>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498091" y="4218212"/>
                <a:ext cx="576692" cy="302763"/>
              </a:xfrm>
              <a:prstGeom prst="rect">
                <a:avLst/>
              </a:prstGeom>
              <a:noFill/>
              <a:extLst>
                <a:ext uri="{909E8E84-426E-40DD-AFC4-6F175D3DCCD1}">
                  <a14:hiddenFill xmlns:a14="http://schemas.microsoft.com/office/drawing/2010/main">
                    <a:solidFill>
                      <a:srgbClr val="FFFFFF"/>
                    </a:solidFill>
                  </a14:hiddenFill>
                </a:ext>
              </a:extLst>
            </p:spPr>
          </p:pic>
        </p:grpSp>
      </p:grpSp>
      <p:cxnSp>
        <p:nvCxnSpPr>
          <p:cNvPr id="150" name="Straight Arrow Connector 149">
            <a:extLst>
              <a:ext uri="{FF2B5EF4-FFF2-40B4-BE49-F238E27FC236}">
                <a16:creationId xmlns:a16="http://schemas.microsoft.com/office/drawing/2014/main" id="{7961FD4A-C074-4458-ACB9-954EE0E7BB5F}"/>
              </a:ext>
            </a:extLst>
          </p:cNvPr>
          <p:cNvCxnSpPr>
            <a:cxnSpLocks/>
          </p:cNvCxnSpPr>
          <p:nvPr/>
        </p:nvCxnSpPr>
        <p:spPr>
          <a:xfrm>
            <a:off x="6354196" y="1985971"/>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52" name="Straight Arrow Connector 151">
            <a:extLst>
              <a:ext uri="{FF2B5EF4-FFF2-40B4-BE49-F238E27FC236}">
                <a16:creationId xmlns:a16="http://schemas.microsoft.com/office/drawing/2014/main" id="{44593D00-CE4C-4A9F-9D8D-AFAE43F21DBE}"/>
              </a:ext>
            </a:extLst>
          </p:cNvPr>
          <p:cNvCxnSpPr>
            <a:cxnSpLocks/>
          </p:cNvCxnSpPr>
          <p:nvPr/>
        </p:nvCxnSpPr>
        <p:spPr>
          <a:xfrm>
            <a:off x="6354196" y="3629734"/>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53" name="Straight Arrow Connector 152">
            <a:extLst>
              <a:ext uri="{FF2B5EF4-FFF2-40B4-BE49-F238E27FC236}">
                <a16:creationId xmlns:a16="http://schemas.microsoft.com/office/drawing/2014/main" id="{2313CC88-3FC5-492C-811A-7AD63B120468}"/>
              </a:ext>
            </a:extLst>
          </p:cNvPr>
          <p:cNvCxnSpPr>
            <a:cxnSpLocks/>
          </p:cNvCxnSpPr>
          <p:nvPr/>
        </p:nvCxnSpPr>
        <p:spPr>
          <a:xfrm>
            <a:off x="6354196" y="5273497"/>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grpSp>
        <p:nvGrpSpPr>
          <p:cNvPr id="84" name="Group 83">
            <a:extLst>
              <a:ext uri="{FF2B5EF4-FFF2-40B4-BE49-F238E27FC236}">
                <a16:creationId xmlns:a16="http://schemas.microsoft.com/office/drawing/2014/main" id="{55A08CFD-DEB1-4A6D-B0AB-3629F94A0FCA}"/>
              </a:ext>
            </a:extLst>
          </p:cNvPr>
          <p:cNvGrpSpPr/>
          <p:nvPr/>
        </p:nvGrpSpPr>
        <p:grpSpPr>
          <a:xfrm>
            <a:off x="378558" y="1212586"/>
            <a:ext cx="3754579" cy="4971129"/>
            <a:chOff x="378558" y="1212586"/>
            <a:chExt cx="3754579" cy="4971129"/>
          </a:xfrm>
        </p:grpSpPr>
        <p:pic>
          <p:nvPicPr>
            <p:cNvPr id="85" name="Picture 84">
              <a:extLst>
                <a:ext uri="{FF2B5EF4-FFF2-40B4-BE49-F238E27FC236}">
                  <a16:creationId xmlns:a16="http://schemas.microsoft.com/office/drawing/2014/main" id="{B1A32144-ABFD-4B6F-8FCB-2D7E100ADDAF}"/>
                </a:ext>
              </a:extLst>
            </p:cNvPr>
            <p:cNvPicPr>
              <a:picLocks noChangeAspect="1"/>
            </p:cNvPicPr>
            <p:nvPr/>
          </p:nvPicPr>
          <p:blipFill>
            <a:blip r:embed="rId10"/>
            <a:stretch>
              <a:fillRect/>
            </a:stretch>
          </p:blipFill>
          <p:spPr>
            <a:xfrm>
              <a:off x="439679" y="1212586"/>
              <a:ext cx="3295238" cy="2514286"/>
            </a:xfrm>
            <a:prstGeom prst="rect">
              <a:avLst/>
            </a:prstGeom>
          </p:spPr>
        </p:pic>
        <p:pic>
          <p:nvPicPr>
            <p:cNvPr id="86" name="Picture 85">
              <a:extLst>
                <a:ext uri="{FF2B5EF4-FFF2-40B4-BE49-F238E27FC236}">
                  <a16:creationId xmlns:a16="http://schemas.microsoft.com/office/drawing/2014/main" id="{FFAA56B8-BF5D-406A-B77B-3400835F9178}"/>
                </a:ext>
              </a:extLst>
            </p:cNvPr>
            <p:cNvPicPr>
              <a:picLocks noChangeAspect="1"/>
            </p:cNvPicPr>
            <p:nvPr/>
          </p:nvPicPr>
          <p:blipFill>
            <a:blip r:embed="rId11"/>
            <a:stretch>
              <a:fillRect/>
            </a:stretch>
          </p:blipFill>
          <p:spPr>
            <a:xfrm>
              <a:off x="378558" y="3688477"/>
              <a:ext cx="3371429" cy="2495238"/>
            </a:xfrm>
            <a:prstGeom prst="rect">
              <a:avLst/>
            </a:prstGeom>
          </p:spPr>
        </p:pic>
        <p:sp>
          <p:nvSpPr>
            <p:cNvPr id="87" name="Right Brace 86">
              <a:extLst>
                <a:ext uri="{FF2B5EF4-FFF2-40B4-BE49-F238E27FC236}">
                  <a16:creationId xmlns:a16="http://schemas.microsoft.com/office/drawing/2014/main" id="{ABDE9FF6-68A5-46C3-9CD2-CCC8D0C3004D}"/>
                </a:ext>
              </a:extLst>
            </p:cNvPr>
            <p:cNvSpPr/>
            <p:nvPr/>
          </p:nvSpPr>
          <p:spPr>
            <a:xfrm>
              <a:off x="3924300" y="1243786"/>
              <a:ext cx="208837" cy="4787754"/>
            </a:xfrm>
            <a:prstGeom prst="righ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Tree>
    <p:extLst>
      <p:ext uri="{BB962C8B-B14F-4D97-AF65-F5344CB8AC3E}">
        <p14:creationId xmlns:p14="http://schemas.microsoft.com/office/powerpoint/2010/main" val="27146448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84"/>
                                        </p:tgtEl>
                                      </p:cBhvr>
                                    </p:animEffect>
                                    <p:set>
                                      <p:cBhvr>
                                        <p:cTn id="7" dur="1" fill="hold">
                                          <p:stCondLst>
                                            <p:cond delay="499"/>
                                          </p:stCondLst>
                                        </p:cTn>
                                        <p:tgtEl>
                                          <p:spTgt spid="84"/>
                                        </p:tgtEl>
                                        <p:attrNameLst>
                                          <p:attrName>style.visibility</p:attrName>
                                        </p:attrNameLst>
                                      </p:cBhvr>
                                      <p:to>
                                        <p:strVal val="hidden"/>
                                      </p:to>
                                    </p:se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6"/>
                                        </p:tgtEl>
                                        <p:attrNameLst>
                                          <p:attrName>style.visibility</p:attrName>
                                        </p:attrNameLst>
                                      </p:cBhvr>
                                      <p:to>
                                        <p:strVal val="visible"/>
                                      </p:to>
                                    </p:set>
                                    <p:animEffect transition="in" filter="fade">
                                      <p:cBhvr>
                                        <p:cTn id="11" dur="500"/>
                                        <p:tgtEl>
                                          <p:spTgt spid="36"/>
                                        </p:tgtEl>
                                      </p:cBhvr>
                                    </p:animEffect>
                                  </p:childTnLst>
                                </p:cTn>
                              </p:par>
                              <p:par>
                                <p:cTn id="12" presetID="10" presetClass="entr" presetSubtype="0" fill="hold" nodeType="withEffect">
                                  <p:stCondLst>
                                    <p:cond delay="0"/>
                                  </p:stCondLst>
                                  <p:childTnLst>
                                    <p:set>
                                      <p:cBhvr>
                                        <p:cTn id="13" dur="1" fill="hold">
                                          <p:stCondLst>
                                            <p:cond delay="0"/>
                                          </p:stCondLst>
                                        </p:cTn>
                                        <p:tgtEl>
                                          <p:spTgt spid="22"/>
                                        </p:tgtEl>
                                        <p:attrNameLst>
                                          <p:attrName>style.visibility</p:attrName>
                                        </p:attrNameLst>
                                      </p:cBhvr>
                                      <p:to>
                                        <p:strVal val="visible"/>
                                      </p:to>
                                    </p:set>
                                    <p:animEffect transition="in" filter="fade">
                                      <p:cBhvr>
                                        <p:cTn id="14"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a:t>Axians – </a:t>
            </a:r>
            <a:r>
              <a:rPr lang="sv-SE" b="1" dirty="0">
                <a:solidFill>
                  <a:srgbClr val="FF0000"/>
                </a:solidFill>
              </a:rPr>
              <a:t>IoT</a:t>
            </a:r>
            <a:r>
              <a:rPr lang="sv-SE" dirty="0"/>
              <a:t> Operation</a:t>
            </a:r>
            <a:endParaRPr lang="en-US" dirty="0"/>
          </a:p>
        </p:txBody>
      </p:sp>
      <p:grpSp>
        <p:nvGrpSpPr>
          <p:cNvPr id="22" name="Group 21"/>
          <p:cNvGrpSpPr/>
          <p:nvPr/>
        </p:nvGrpSpPr>
        <p:grpSpPr>
          <a:xfrm>
            <a:off x="3440367" y="1154018"/>
            <a:ext cx="1272556" cy="4831310"/>
            <a:chOff x="3271635" y="1154018"/>
            <a:chExt cx="1272556" cy="4831310"/>
          </a:xfrm>
        </p:grpSpPr>
        <p:pic>
          <p:nvPicPr>
            <p:cNvPr id="1026" name="Picture 2" descr="https://microservicebus.com/Images/ServiceNowLogo.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rot="16200000">
              <a:off x="2961948" y="3259489"/>
              <a:ext cx="1905000" cy="400050"/>
            </a:xfrm>
            <a:prstGeom prst="rect">
              <a:avLst/>
            </a:prstGeom>
            <a:noFill/>
            <a:extLst>
              <a:ext uri="{909E8E84-426E-40DD-AFC4-6F175D3DCCD1}">
                <a14:hiddenFill xmlns:a14="http://schemas.microsoft.com/office/drawing/2010/main">
                  <a:solidFill>
                    <a:srgbClr val="FFFFFF"/>
                  </a:solidFill>
                </a14:hiddenFill>
              </a:ext>
            </a:extLst>
          </p:spPr>
        </p:pic>
        <p:sp>
          <p:nvSpPr>
            <p:cNvPr id="59" name="Rectangle 58"/>
            <p:cNvSpPr/>
            <p:nvPr/>
          </p:nvSpPr>
          <p:spPr>
            <a:xfrm>
              <a:off x="3271635" y="1154018"/>
              <a:ext cx="1272556" cy="483131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029" name="Group 1028">
            <a:extLst>
              <a:ext uri="{FF2B5EF4-FFF2-40B4-BE49-F238E27FC236}">
                <a16:creationId xmlns:a16="http://schemas.microsoft.com/office/drawing/2014/main" id="{240BDCA2-26D6-4FD6-9AFA-BF2FF6B8B65F}"/>
              </a:ext>
            </a:extLst>
          </p:cNvPr>
          <p:cNvGrpSpPr/>
          <p:nvPr/>
        </p:nvGrpSpPr>
        <p:grpSpPr>
          <a:xfrm>
            <a:off x="4800751" y="1152632"/>
            <a:ext cx="1520944" cy="4831311"/>
            <a:chOff x="4800751" y="1152632"/>
            <a:chExt cx="1520944" cy="4831311"/>
          </a:xfrm>
        </p:grpSpPr>
        <p:sp>
          <p:nvSpPr>
            <p:cNvPr id="51" name="Rectangle 50"/>
            <p:cNvSpPr/>
            <p:nvPr/>
          </p:nvSpPr>
          <p:spPr>
            <a:xfrm>
              <a:off x="4800751" y="1152632"/>
              <a:ext cx="1520944" cy="4831311"/>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52" name="Picture 5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21389" y="3065004"/>
              <a:ext cx="879667" cy="721991"/>
            </a:xfrm>
            <a:prstGeom prst="rect">
              <a:avLst/>
            </a:prstGeom>
          </p:spPr>
        </p:pic>
        <p:sp>
          <p:nvSpPr>
            <p:cNvPr id="66" name="TextBox 65"/>
            <p:cNvSpPr txBox="1"/>
            <p:nvPr/>
          </p:nvSpPr>
          <p:spPr>
            <a:xfrm>
              <a:off x="4806507" y="1168072"/>
              <a:ext cx="1515188"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Device </a:t>
              </a:r>
              <a:r>
                <a:rPr kumimoji="0" lang="en-US" sz="1800" b="0" i="0" u="none" strike="noStrike" kern="1200" cap="none" spc="0" normalizeH="0" baseline="0" noProof="0" dirty="0" err="1">
                  <a:ln>
                    <a:noFill/>
                  </a:ln>
                  <a:solidFill>
                    <a:prstClr val="white"/>
                  </a:solidFill>
                  <a:effectLst/>
                  <a:uLnTx/>
                  <a:uFillTx/>
                  <a:latin typeface="Calibri" panose="020F0502020204030204"/>
                  <a:ea typeface="+mn-ea"/>
                  <a:cs typeface="+mn-cs"/>
                </a:rPr>
                <a:t>Mgmt</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027" name="Group 1026">
            <a:extLst>
              <a:ext uri="{FF2B5EF4-FFF2-40B4-BE49-F238E27FC236}">
                <a16:creationId xmlns:a16="http://schemas.microsoft.com/office/drawing/2014/main" id="{4247E955-95C6-4803-9CFE-53A8E9E77630}"/>
              </a:ext>
            </a:extLst>
          </p:cNvPr>
          <p:cNvGrpSpPr/>
          <p:nvPr/>
        </p:nvGrpSpPr>
        <p:grpSpPr>
          <a:xfrm>
            <a:off x="7614300" y="2880338"/>
            <a:ext cx="3739500" cy="1499510"/>
            <a:chOff x="7614300" y="2880338"/>
            <a:chExt cx="3739500" cy="1499510"/>
          </a:xfrm>
        </p:grpSpPr>
        <p:sp>
          <p:nvSpPr>
            <p:cNvPr id="112" name="Rectangle 111">
              <a:extLst>
                <a:ext uri="{FF2B5EF4-FFF2-40B4-BE49-F238E27FC236}">
                  <a16:creationId xmlns:a16="http://schemas.microsoft.com/office/drawing/2014/main" id="{45864581-913C-4B90-B531-FB2920590272}"/>
                </a:ext>
              </a:extLst>
            </p:cNvPr>
            <p:cNvSpPr/>
            <p:nvPr/>
          </p:nvSpPr>
          <p:spPr>
            <a:xfrm>
              <a:off x="7687346" y="3284404"/>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113" name="Picture 112">
              <a:extLst>
                <a:ext uri="{FF2B5EF4-FFF2-40B4-BE49-F238E27FC236}">
                  <a16:creationId xmlns:a16="http://schemas.microsoft.com/office/drawing/2014/main" id="{6DA0732B-EE61-4D1C-83C3-E5CBE8F99033}"/>
                </a:ext>
              </a:extLst>
            </p:cNvPr>
            <p:cNvPicPr>
              <a:picLocks noChangeAspect="1"/>
            </p:cNvPicPr>
            <p:nvPr/>
          </p:nvPicPr>
          <p:blipFill>
            <a:blip r:embed="rId4"/>
            <a:stretch>
              <a:fillRect/>
            </a:stretch>
          </p:blipFill>
          <p:spPr>
            <a:xfrm>
              <a:off x="9631079" y="3895711"/>
              <a:ext cx="354135" cy="343920"/>
            </a:xfrm>
            <a:prstGeom prst="rect">
              <a:avLst/>
            </a:prstGeom>
          </p:spPr>
        </p:pic>
        <p:pic>
          <p:nvPicPr>
            <p:cNvPr id="114" name="Picture 113">
              <a:extLst>
                <a:ext uri="{FF2B5EF4-FFF2-40B4-BE49-F238E27FC236}">
                  <a16:creationId xmlns:a16="http://schemas.microsoft.com/office/drawing/2014/main" id="{F361A9DB-A270-4B6A-9A3D-AD43731B9907}"/>
                </a:ext>
              </a:extLst>
            </p:cNvPr>
            <p:cNvPicPr>
              <a:picLocks noChangeAspect="1"/>
            </p:cNvPicPr>
            <p:nvPr/>
          </p:nvPicPr>
          <p:blipFill>
            <a:blip r:embed="rId4"/>
            <a:stretch>
              <a:fillRect/>
            </a:stretch>
          </p:blipFill>
          <p:spPr>
            <a:xfrm>
              <a:off x="9631078" y="3463658"/>
              <a:ext cx="354135" cy="343920"/>
            </a:xfrm>
            <a:prstGeom prst="rect">
              <a:avLst/>
            </a:prstGeom>
          </p:spPr>
        </p:pic>
        <p:pic>
          <p:nvPicPr>
            <p:cNvPr id="115" name="Picture 114">
              <a:extLst>
                <a:ext uri="{FF2B5EF4-FFF2-40B4-BE49-F238E27FC236}">
                  <a16:creationId xmlns:a16="http://schemas.microsoft.com/office/drawing/2014/main" id="{0C8E72F0-2700-4E86-83B1-543727E45984}"/>
                </a:ext>
              </a:extLst>
            </p:cNvPr>
            <p:cNvPicPr>
              <a:picLocks noChangeAspect="1"/>
            </p:cNvPicPr>
            <p:nvPr/>
          </p:nvPicPr>
          <p:blipFill>
            <a:blip r:embed="rId4"/>
            <a:stretch>
              <a:fillRect/>
            </a:stretch>
          </p:blipFill>
          <p:spPr>
            <a:xfrm>
              <a:off x="9631077" y="3031605"/>
              <a:ext cx="354135" cy="343920"/>
            </a:xfrm>
            <a:prstGeom prst="rect">
              <a:avLst/>
            </a:prstGeom>
          </p:spPr>
        </p:pic>
        <p:pic>
          <p:nvPicPr>
            <p:cNvPr id="116" name="Picture 115">
              <a:extLst>
                <a:ext uri="{FF2B5EF4-FFF2-40B4-BE49-F238E27FC236}">
                  <a16:creationId xmlns:a16="http://schemas.microsoft.com/office/drawing/2014/main" id="{CF1BB178-83FC-4BA2-B790-87B2D0E2210E}"/>
                </a:ext>
              </a:extLst>
            </p:cNvPr>
            <p:cNvPicPr>
              <a:picLocks noChangeAspect="1"/>
            </p:cNvPicPr>
            <p:nvPr/>
          </p:nvPicPr>
          <p:blipFill>
            <a:blip r:embed="rId4"/>
            <a:stretch>
              <a:fillRect/>
            </a:stretch>
          </p:blipFill>
          <p:spPr>
            <a:xfrm>
              <a:off x="10066943" y="3895711"/>
              <a:ext cx="354135" cy="343920"/>
            </a:xfrm>
            <a:prstGeom prst="rect">
              <a:avLst/>
            </a:prstGeom>
          </p:spPr>
        </p:pic>
        <p:pic>
          <p:nvPicPr>
            <p:cNvPr id="117" name="Picture 116">
              <a:extLst>
                <a:ext uri="{FF2B5EF4-FFF2-40B4-BE49-F238E27FC236}">
                  <a16:creationId xmlns:a16="http://schemas.microsoft.com/office/drawing/2014/main" id="{EF9D3BA8-FCB5-4480-BF86-22B6E2F1C11F}"/>
                </a:ext>
              </a:extLst>
            </p:cNvPr>
            <p:cNvPicPr>
              <a:picLocks noChangeAspect="1"/>
            </p:cNvPicPr>
            <p:nvPr/>
          </p:nvPicPr>
          <p:blipFill>
            <a:blip r:embed="rId4"/>
            <a:stretch>
              <a:fillRect/>
            </a:stretch>
          </p:blipFill>
          <p:spPr>
            <a:xfrm>
              <a:off x="10066942" y="3463658"/>
              <a:ext cx="354135" cy="343920"/>
            </a:xfrm>
            <a:prstGeom prst="rect">
              <a:avLst/>
            </a:prstGeom>
          </p:spPr>
        </p:pic>
        <p:pic>
          <p:nvPicPr>
            <p:cNvPr id="118" name="Picture 117">
              <a:extLst>
                <a:ext uri="{FF2B5EF4-FFF2-40B4-BE49-F238E27FC236}">
                  <a16:creationId xmlns:a16="http://schemas.microsoft.com/office/drawing/2014/main" id="{503B7343-3F1D-4C2F-AEA4-16B1078387D7}"/>
                </a:ext>
              </a:extLst>
            </p:cNvPr>
            <p:cNvPicPr>
              <a:picLocks noChangeAspect="1"/>
            </p:cNvPicPr>
            <p:nvPr/>
          </p:nvPicPr>
          <p:blipFill>
            <a:blip r:embed="rId4"/>
            <a:stretch>
              <a:fillRect/>
            </a:stretch>
          </p:blipFill>
          <p:spPr>
            <a:xfrm>
              <a:off x="10066941" y="3031605"/>
              <a:ext cx="354135" cy="343920"/>
            </a:xfrm>
            <a:prstGeom prst="rect">
              <a:avLst/>
            </a:prstGeom>
          </p:spPr>
        </p:pic>
        <p:pic>
          <p:nvPicPr>
            <p:cNvPr id="119" name="Picture 118">
              <a:extLst>
                <a:ext uri="{FF2B5EF4-FFF2-40B4-BE49-F238E27FC236}">
                  <a16:creationId xmlns:a16="http://schemas.microsoft.com/office/drawing/2014/main" id="{9BF859DD-F7A2-4C81-8790-00311632C23E}"/>
                </a:ext>
              </a:extLst>
            </p:cNvPr>
            <p:cNvPicPr>
              <a:picLocks noChangeAspect="1"/>
            </p:cNvPicPr>
            <p:nvPr/>
          </p:nvPicPr>
          <p:blipFill>
            <a:blip r:embed="rId4"/>
            <a:stretch>
              <a:fillRect/>
            </a:stretch>
          </p:blipFill>
          <p:spPr>
            <a:xfrm>
              <a:off x="10502807" y="3895711"/>
              <a:ext cx="354135" cy="343920"/>
            </a:xfrm>
            <a:prstGeom prst="rect">
              <a:avLst/>
            </a:prstGeom>
          </p:spPr>
        </p:pic>
        <p:pic>
          <p:nvPicPr>
            <p:cNvPr id="120" name="Picture 119">
              <a:extLst>
                <a:ext uri="{FF2B5EF4-FFF2-40B4-BE49-F238E27FC236}">
                  <a16:creationId xmlns:a16="http://schemas.microsoft.com/office/drawing/2014/main" id="{70B17A51-4B80-48C8-8B22-0FB0F3235360}"/>
                </a:ext>
              </a:extLst>
            </p:cNvPr>
            <p:cNvPicPr>
              <a:picLocks noChangeAspect="1"/>
            </p:cNvPicPr>
            <p:nvPr/>
          </p:nvPicPr>
          <p:blipFill>
            <a:blip r:embed="rId4"/>
            <a:stretch>
              <a:fillRect/>
            </a:stretch>
          </p:blipFill>
          <p:spPr>
            <a:xfrm>
              <a:off x="10502806" y="3463658"/>
              <a:ext cx="354135" cy="343920"/>
            </a:xfrm>
            <a:prstGeom prst="rect">
              <a:avLst/>
            </a:prstGeom>
          </p:spPr>
        </p:pic>
        <p:pic>
          <p:nvPicPr>
            <p:cNvPr id="121" name="Picture 120">
              <a:extLst>
                <a:ext uri="{FF2B5EF4-FFF2-40B4-BE49-F238E27FC236}">
                  <a16:creationId xmlns:a16="http://schemas.microsoft.com/office/drawing/2014/main" id="{B9E9895A-7AD0-41F0-9C4C-E6623BEB99EA}"/>
                </a:ext>
              </a:extLst>
            </p:cNvPr>
            <p:cNvPicPr>
              <a:picLocks noChangeAspect="1"/>
            </p:cNvPicPr>
            <p:nvPr/>
          </p:nvPicPr>
          <p:blipFill>
            <a:blip r:embed="rId4"/>
            <a:stretch>
              <a:fillRect/>
            </a:stretch>
          </p:blipFill>
          <p:spPr>
            <a:xfrm>
              <a:off x="10502805" y="3031605"/>
              <a:ext cx="354135" cy="343920"/>
            </a:xfrm>
            <a:prstGeom prst="rect">
              <a:avLst/>
            </a:prstGeom>
          </p:spPr>
        </p:pic>
        <p:pic>
          <p:nvPicPr>
            <p:cNvPr id="122" name="Picture 121">
              <a:extLst>
                <a:ext uri="{FF2B5EF4-FFF2-40B4-BE49-F238E27FC236}">
                  <a16:creationId xmlns:a16="http://schemas.microsoft.com/office/drawing/2014/main" id="{B6F70FE5-27CD-40F2-A50E-5229267A5376}"/>
                </a:ext>
              </a:extLst>
            </p:cNvPr>
            <p:cNvPicPr>
              <a:picLocks noChangeAspect="1"/>
            </p:cNvPicPr>
            <p:nvPr/>
          </p:nvPicPr>
          <p:blipFill>
            <a:blip r:embed="rId4"/>
            <a:stretch>
              <a:fillRect/>
            </a:stretch>
          </p:blipFill>
          <p:spPr>
            <a:xfrm>
              <a:off x="10938671" y="3895711"/>
              <a:ext cx="354135" cy="343920"/>
            </a:xfrm>
            <a:prstGeom prst="rect">
              <a:avLst/>
            </a:prstGeom>
          </p:spPr>
        </p:pic>
        <p:pic>
          <p:nvPicPr>
            <p:cNvPr id="123" name="Picture 122">
              <a:extLst>
                <a:ext uri="{FF2B5EF4-FFF2-40B4-BE49-F238E27FC236}">
                  <a16:creationId xmlns:a16="http://schemas.microsoft.com/office/drawing/2014/main" id="{968389B7-EE9C-4F32-B0FF-D1E2A848D42B}"/>
                </a:ext>
              </a:extLst>
            </p:cNvPr>
            <p:cNvPicPr>
              <a:picLocks noChangeAspect="1"/>
            </p:cNvPicPr>
            <p:nvPr/>
          </p:nvPicPr>
          <p:blipFill>
            <a:blip r:embed="rId4"/>
            <a:stretch>
              <a:fillRect/>
            </a:stretch>
          </p:blipFill>
          <p:spPr>
            <a:xfrm>
              <a:off x="10938670" y="3463658"/>
              <a:ext cx="354135" cy="343920"/>
            </a:xfrm>
            <a:prstGeom prst="rect">
              <a:avLst/>
            </a:prstGeom>
          </p:spPr>
        </p:pic>
        <p:pic>
          <p:nvPicPr>
            <p:cNvPr id="124" name="Picture 123">
              <a:extLst>
                <a:ext uri="{FF2B5EF4-FFF2-40B4-BE49-F238E27FC236}">
                  <a16:creationId xmlns:a16="http://schemas.microsoft.com/office/drawing/2014/main" id="{E01ECDA3-9BA6-47B9-83CE-340618F723BC}"/>
                </a:ext>
              </a:extLst>
            </p:cNvPr>
            <p:cNvPicPr>
              <a:picLocks noChangeAspect="1"/>
            </p:cNvPicPr>
            <p:nvPr/>
          </p:nvPicPr>
          <p:blipFill>
            <a:blip r:embed="rId4"/>
            <a:stretch>
              <a:fillRect/>
            </a:stretch>
          </p:blipFill>
          <p:spPr>
            <a:xfrm>
              <a:off x="10938669" y="3031605"/>
              <a:ext cx="354135" cy="343920"/>
            </a:xfrm>
            <a:prstGeom prst="rect">
              <a:avLst/>
            </a:prstGeom>
          </p:spPr>
        </p:pic>
        <p:sp>
          <p:nvSpPr>
            <p:cNvPr id="125" name="Rectangle 124">
              <a:extLst>
                <a:ext uri="{FF2B5EF4-FFF2-40B4-BE49-F238E27FC236}">
                  <a16:creationId xmlns:a16="http://schemas.microsoft.com/office/drawing/2014/main" id="{C7ECC834-E963-4038-BB6E-9924343554FD}"/>
                </a:ext>
              </a:extLst>
            </p:cNvPr>
            <p:cNvSpPr/>
            <p:nvPr/>
          </p:nvSpPr>
          <p:spPr>
            <a:xfrm>
              <a:off x="9566076" y="2895478"/>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6" name="Straight Arrow Connector 125">
              <a:extLst>
                <a:ext uri="{FF2B5EF4-FFF2-40B4-BE49-F238E27FC236}">
                  <a16:creationId xmlns:a16="http://schemas.microsoft.com/office/drawing/2014/main" id="{77177B09-C981-4444-96EA-9F85052E0FF8}"/>
                </a:ext>
              </a:extLst>
            </p:cNvPr>
            <p:cNvCxnSpPr>
              <a:stCxn id="112" idx="3"/>
              <a:endCxn id="125" idx="1"/>
            </p:cNvCxnSpPr>
            <p:nvPr/>
          </p:nvCxnSpPr>
          <p:spPr>
            <a:xfrm>
              <a:off x="8792246" y="3633654"/>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3" name="TextBox 142">
              <a:extLst>
                <a:ext uri="{FF2B5EF4-FFF2-40B4-BE49-F238E27FC236}">
                  <a16:creationId xmlns:a16="http://schemas.microsoft.com/office/drawing/2014/main" id="{C0EC3CDA-02A0-47C9-8C43-50F517E80E67}"/>
                </a:ext>
              </a:extLst>
            </p:cNvPr>
            <p:cNvSpPr txBox="1"/>
            <p:nvPr/>
          </p:nvSpPr>
          <p:spPr>
            <a:xfrm>
              <a:off x="7614300" y="2880338"/>
              <a:ext cx="1271502" cy="369332"/>
            </a:xfrm>
            <a:prstGeom prst="rect">
              <a:avLst/>
            </a:prstGeom>
            <a:noFill/>
          </p:spPr>
          <p:txBody>
            <a:bodyPr wrap="none" rtlCol="0">
              <a:spAutoFit/>
            </a:bodyPr>
            <a:lstStyle/>
            <a:p>
              <a:r>
                <a:rPr lang="sv-SE" dirty="0"/>
                <a:t>Customer B</a:t>
              </a:r>
              <a:endParaRPr lang="en-US" dirty="0"/>
            </a:p>
          </p:txBody>
        </p:sp>
        <p:pic>
          <p:nvPicPr>
            <p:cNvPr id="145" name="Picture 4" descr="Related image">
              <a:extLst>
                <a:ext uri="{FF2B5EF4-FFF2-40B4-BE49-F238E27FC236}">
                  <a16:creationId xmlns:a16="http://schemas.microsoft.com/office/drawing/2014/main" id="{2FBFACFD-2097-4971-817B-11CF759B7F6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623840" y="3797438"/>
              <a:ext cx="418541" cy="50647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28" name="Group 1027">
            <a:extLst>
              <a:ext uri="{FF2B5EF4-FFF2-40B4-BE49-F238E27FC236}">
                <a16:creationId xmlns:a16="http://schemas.microsoft.com/office/drawing/2014/main" id="{0CDE55AB-F524-4AFF-8F1E-304A555BFC43}"/>
              </a:ext>
            </a:extLst>
          </p:cNvPr>
          <p:cNvGrpSpPr/>
          <p:nvPr/>
        </p:nvGrpSpPr>
        <p:grpSpPr>
          <a:xfrm>
            <a:off x="7628563" y="4545087"/>
            <a:ext cx="3725237" cy="1486453"/>
            <a:chOff x="7628563" y="4545087"/>
            <a:chExt cx="3725237" cy="1486453"/>
          </a:xfrm>
        </p:grpSpPr>
        <p:sp>
          <p:nvSpPr>
            <p:cNvPr id="127" name="Rectangle 126">
              <a:extLst>
                <a:ext uri="{FF2B5EF4-FFF2-40B4-BE49-F238E27FC236}">
                  <a16:creationId xmlns:a16="http://schemas.microsoft.com/office/drawing/2014/main" id="{F580FFF3-D4BF-47F5-8541-D44196DE24B3}"/>
                </a:ext>
              </a:extLst>
            </p:cNvPr>
            <p:cNvSpPr/>
            <p:nvPr/>
          </p:nvSpPr>
          <p:spPr>
            <a:xfrm>
              <a:off x="7687346" y="4936096"/>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128" name="Picture 127">
              <a:extLst>
                <a:ext uri="{FF2B5EF4-FFF2-40B4-BE49-F238E27FC236}">
                  <a16:creationId xmlns:a16="http://schemas.microsoft.com/office/drawing/2014/main" id="{6BD708F8-E9BA-4F50-9698-6269D3F90311}"/>
                </a:ext>
              </a:extLst>
            </p:cNvPr>
            <p:cNvPicPr>
              <a:picLocks noChangeAspect="1"/>
            </p:cNvPicPr>
            <p:nvPr/>
          </p:nvPicPr>
          <p:blipFill>
            <a:blip r:embed="rId4"/>
            <a:stretch>
              <a:fillRect/>
            </a:stretch>
          </p:blipFill>
          <p:spPr>
            <a:xfrm>
              <a:off x="9631079" y="5547403"/>
              <a:ext cx="354135" cy="343920"/>
            </a:xfrm>
            <a:prstGeom prst="rect">
              <a:avLst/>
            </a:prstGeom>
          </p:spPr>
        </p:pic>
        <p:pic>
          <p:nvPicPr>
            <p:cNvPr id="129" name="Picture 128">
              <a:extLst>
                <a:ext uri="{FF2B5EF4-FFF2-40B4-BE49-F238E27FC236}">
                  <a16:creationId xmlns:a16="http://schemas.microsoft.com/office/drawing/2014/main" id="{61D82181-4B14-4798-AD32-5D0480EA8D7C}"/>
                </a:ext>
              </a:extLst>
            </p:cNvPr>
            <p:cNvPicPr>
              <a:picLocks noChangeAspect="1"/>
            </p:cNvPicPr>
            <p:nvPr/>
          </p:nvPicPr>
          <p:blipFill>
            <a:blip r:embed="rId4"/>
            <a:stretch>
              <a:fillRect/>
            </a:stretch>
          </p:blipFill>
          <p:spPr>
            <a:xfrm>
              <a:off x="9631078" y="5115350"/>
              <a:ext cx="354135" cy="343920"/>
            </a:xfrm>
            <a:prstGeom prst="rect">
              <a:avLst/>
            </a:prstGeom>
          </p:spPr>
        </p:pic>
        <p:pic>
          <p:nvPicPr>
            <p:cNvPr id="130" name="Picture 129">
              <a:extLst>
                <a:ext uri="{FF2B5EF4-FFF2-40B4-BE49-F238E27FC236}">
                  <a16:creationId xmlns:a16="http://schemas.microsoft.com/office/drawing/2014/main" id="{90101D1B-5CF1-4E87-900A-CBC0B60CD6FE}"/>
                </a:ext>
              </a:extLst>
            </p:cNvPr>
            <p:cNvPicPr>
              <a:picLocks noChangeAspect="1"/>
            </p:cNvPicPr>
            <p:nvPr/>
          </p:nvPicPr>
          <p:blipFill>
            <a:blip r:embed="rId4"/>
            <a:stretch>
              <a:fillRect/>
            </a:stretch>
          </p:blipFill>
          <p:spPr>
            <a:xfrm>
              <a:off x="9631077" y="4683297"/>
              <a:ext cx="354135" cy="343920"/>
            </a:xfrm>
            <a:prstGeom prst="rect">
              <a:avLst/>
            </a:prstGeom>
          </p:spPr>
        </p:pic>
        <p:pic>
          <p:nvPicPr>
            <p:cNvPr id="131" name="Picture 130">
              <a:extLst>
                <a:ext uri="{FF2B5EF4-FFF2-40B4-BE49-F238E27FC236}">
                  <a16:creationId xmlns:a16="http://schemas.microsoft.com/office/drawing/2014/main" id="{2BE62D41-4077-4EF2-B954-86AC1CA44CE7}"/>
                </a:ext>
              </a:extLst>
            </p:cNvPr>
            <p:cNvPicPr>
              <a:picLocks noChangeAspect="1"/>
            </p:cNvPicPr>
            <p:nvPr/>
          </p:nvPicPr>
          <p:blipFill>
            <a:blip r:embed="rId4"/>
            <a:stretch>
              <a:fillRect/>
            </a:stretch>
          </p:blipFill>
          <p:spPr>
            <a:xfrm>
              <a:off x="10066943" y="5547403"/>
              <a:ext cx="354135" cy="343920"/>
            </a:xfrm>
            <a:prstGeom prst="rect">
              <a:avLst/>
            </a:prstGeom>
          </p:spPr>
        </p:pic>
        <p:pic>
          <p:nvPicPr>
            <p:cNvPr id="132" name="Picture 131">
              <a:extLst>
                <a:ext uri="{FF2B5EF4-FFF2-40B4-BE49-F238E27FC236}">
                  <a16:creationId xmlns:a16="http://schemas.microsoft.com/office/drawing/2014/main" id="{ACE955F3-56EF-4FF7-B68C-7E14592AD966}"/>
                </a:ext>
              </a:extLst>
            </p:cNvPr>
            <p:cNvPicPr>
              <a:picLocks noChangeAspect="1"/>
            </p:cNvPicPr>
            <p:nvPr/>
          </p:nvPicPr>
          <p:blipFill>
            <a:blip r:embed="rId4"/>
            <a:stretch>
              <a:fillRect/>
            </a:stretch>
          </p:blipFill>
          <p:spPr>
            <a:xfrm>
              <a:off x="10066942" y="5115350"/>
              <a:ext cx="354135" cy="343920"/>
            </a:xfrm>
            <a:prstGeom prst="rect">
              <a:avLst/>
            </a:prstGeom>
          </p:spPr>
        </p:pic>
        <p:pic>
          <p:nvPicPr>
            <p:cNvPr id="133" name="Picture 132">
              <a:extLst>
                <a:ext uri="{FF2B5EF4-FFF2-40B4-BE49-F238E27FC236}">
                  <a16:creationId xmlns:a16="http://schemas.microsoft.com/office/drawing/2014/main" id="{D17C739D-C673-4B04-9595-7EE4B465850F}"/>
                </a:ext>
              </a:extLst>
            </p:cNvPr>
            <p:cNvPicPr>
              <a:picLocks noChangeAspect="1"/>
            </p:cNvPicPr>
            <p:nvPr/>
          </p:nvPicPr>
          <p:blipFill>
            <a:blip r:embed="rId4"/>
            <a:stretch>
              <a:fillRect/>
            </a:stretch>
          </p:blipFill>
          <p:spPr>
            <a:xfrm>
              <a:off x="10066941" y="4683297"/>
              <a:ext cx="354135" cy="343920"/>
            </a:xfrm>
            <a:prstGeom prst="rect">
              <a:avLst/>
            </a:prstGeom>
          </p:spPr>
        </p:pic>
        <p:pic>
          <p:nvPicPr>
            <p:cNvPr id="134" name="Picture 133">
              <a:extLst>
                <a:ext uri="{FF2B5EF4-FFF2-40B4-BE49-F238E27FC236}">
                  <a16:creationId xmlns:a16="http://schemas.microsoft.com/office/drawing/2014/main" id="{9CCAC823-B588-460D-877D-3FFB9C1AB78C}"/>
                </a:ext>
              </a:extLst>
            </p:cNvPr>
            <p:cNvPicPr>
              <a:picLocks noChangeAspect="1"/>
            </p:cNvPicPr>
            <p:nvPr/>
          </p:nvPicPr>
          <p:blipFill>
            <a:blip r:embed="rId4"/>
            <a:stretch>
              <a:fillRect/>
            </a:stretch>
          </p:blipFill>
          <p:spPr>
            <a:xfrm>
              <a:off x="10502807" y="5547403"/>
              <a:ext cx="354135" cy="343920"/>
            </a:xfrm>
            <a:prstGeom prst="rect">
              <a:avLst/>
            </a:prstGeom>
          </p:spPr>
        </p:pic>
        <p:pic>
          <p:nvPicPr>
            <p:cNvPr id="135" name="Picture 134">
              <a:extLst>
                <a:ext uri="{FF2B5EF4-FFF2-40B4-BE49-F238E27FC236}">
                  <a16:creationId xmlns:a16="http://schemas.microsoft.com/office/drawing/2014/main" id="{4FF6DB55-2385-47E2-892A-250644DFB969}"/>
                </a:ext>
              </a:extLst>
            </p:cNvPr>
            <p:cNvPicPr>
              <a:picLocks noChangeAspect="1"/>
            </p:cNvPicPr>
            <p:nvPr/>
          </p:nvPicPr>
          <p:blipFill>
            <a:blip r:embed="rId4"/>
            <a:stretch>
              <a:fillRect/>
            </a:stretch>
          </p:blipFill>
          <p:spPr>
            <a:xfrm>
              <a:off x="10502806" y="5115350"/>
              <a:ext cx="354135" cy="343920"/>
            </a:xfrm>
            <a:prstGeom prst="rect">
              <a:avLst/>
            </a:prstGeom>
          </p:spPr>
        </p:pic>
        <p:pic>
          <p:nvPicPr>
            <p:cNvPr id="136" name="Picture 135">
              <a:extLst>
                <a:ext uri="{FF2B5EF4-FFF2-40B4-BE49-F238E27FC236}">
                  <a16:creationId xmlns:a16="http://schemas.microsoft.com/office/drawing/2014/main" id="{46A4E906-2B48-4FE0-BE70-C7B4A1949E48}"/>
                </a:ext>
              </a:extLst>
            </p:cNvPr>
            <p:cNvPicPr>
              <a:picLocks noChangeAspect="1"/>
            </p:cNvPicPr>
            <p:nvPr/>
          </p:nvPicPr>
          <p:blipFill>
            <a:blip r:embed="rId4"/>
            <a:stretch>
              <a:fillRect/>
            </a:stretch>
          </p:blipFill>
          <p:spPr>
            <a:xfrm>
              <a:off x="10502805" y="4683297"/>
              <a:ext cx="354135" cy="343920"/>
            </a:xfrm>
            <a:prstGeom prst="rect">
              <a:avLst/>
            </a:prstGeom>
          </p:spPr>
        </p:pic>
        <p:pic>
          <p:nvPicPr>
            <p:cNvPr id="137" name="Picture 136">
              <a:extLst>
                <a:ext uri="{FF2B5EF4-FFF2-40B4-BE49-F238E27FC236}">
                  <a16:creationId xmlns:a16="http://schemas.microsoft.com/office/drawing/2014/main" id="{ABBF6649-2E5E-4CDE-B90F-153E8E70A82D}"/>
                </a:ext>
              </a:extLst>
            </p:cNvPr>
            <p:cNvPicPr>
              <a:picLocks noChangeAspect="1"/>
            </p:cNvPicPr>
            <p:nvPr/>
          </p:nvPicPr>
          <p:blipFill>
            <a:blip r:embed="rId4"/>
            <a:stretch>
              <a:fillRect/>
            </a:stretch>
          </p:blipFill>
          <p:spPr>
            <a:xfrm>
              <a:off x="10938671" y="5547403"/>
              <a:ext cx="354135" cy="343920"/>
            </a:xfrm>
            <a:prstGeom prst="rect">
              <a:avLst/>
            </a:prstGeom>
          </p:spPr>
        </p:pic>
        <p:pic>
          <p:nvPicPr>
            <p:cNvPr id="138" name="Picture 137">
              <a:extLst>
                <a:ext uri="{FF2B5EF4-FFF2-40B4-BE49-F238E27FC236}">
                  <a16:creationId xmlns:a16="http://schemas.microsoft.com/office/drawing/2014/main" id="{9A0A3B09-C427-4914-BBA6-91BE69A10B2E}"/>
                </a:ext>
              </a:extLst>
            </p:cNvPr>
            <p:cNvPicPr>
              <a:picLocks noChangeAspect="1"/>
            </p:cNvPicPr>
            <p:nvPr/>
          </p:nvPicPr>
          <p:blipFill>
            <a:blip r:embed="rId4"/>
            <a:stretch>
              <a:fillRect/>
            </a:stretch>
          </p:blipFill>
          <p:spPr>
            <a:xfrm>
              <a:off x="10938670" y="5115350"/>
              <a:ext cx="354135" cy="343920"/>
            </a:xfrm>
            <a:prstGeom prst="rect">
              <a:avLst/>
            </a:prstGeom>
          </p:spPr>
        </p:pic>
        <p:pic>
          <p:nvPicPr>
            <p:cNvPr id="139" name="Picture 138">
              <a:extLst>
                <a:ext uri="{FF2B5EF4-FFF2-40B4-BE49-F238E27FC236}">
                  <a16:creationId xmlns:a16="http://schemas.microsoft.com/office/drawing/2014/main" id="{A3B3290C-EDB4-4698-BF5C-63391536297B}"/>
                </a:ext>
              </a:extLst>
            </p:cNvPr>
            <p:cNvPicPr>
              <a:picLocks noChangeAspect="1"/>
            </p:cNvPicPr>
            <p:nvPr/>
          </p:nvPicPr>
          <p:blipFill>
            <a:blip r:embed="rId4"/>
            <a:stretch>
              <a:fillRect/>
            </a:stretch>
          </p:blipFill>
          <p:spPr>
            <a:xfrm>
              <a:off x="10938669" y="4683297"/>
              <a:ext cx="354135" cy="343920"/>
            </a:xfrm>
            <a:prstGeom prst="rect">
              <a:avLst/>
            </a:prstGeom>
          </p:spPr>
        </p:pic>
        <p:sp>
          <p:nvSpPr>
            <p:cNvPr id="140" name="Rectangle 139">
              <a:extLst>
                <a:ext uri="{FF2B5EF4-FFF2-40B4-BE49-F238E27FC236}">
                  <a16:creationId xmlns:a16="http://schemas.microsoft.com/office/drawing/2014/main" id="{390E4A24-8629-4F35-9D57-E5FF116ACFE1}"/>
                </a:ext>
              </a:extLst>
            </p:cNvPr>
            <p:cNvSpPr/>
            <p:nvPr/>
          </p:nvSpPr>
          <p:spPr>
            <a:xfrm>
              <a:off x="9566076" y="4547170"/>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41" name="Straight Arrow Connector 140">
              <a:extLst>
                <a:ext uri="{FF2B5EF4-FFF2-40B4-BE49-F238E27FC236}">
                  <a16:creationId xmlns:a16="http://schemas.microsoft.com/office/drawing/2014/main" id="{24D7430D-DC3D-4A49-B335-6E111581EE80}"/>
                </a:ext>
              </a:extLst>
            </p:cNvPr>
            <p:cNvCxnSpPr>
              <a:stCxn id="127" idx="3"/>
              <a:endCxn id="140" idx="1"/>
            </p:cNvCxnSpPr>
            <p:nvPr/>
          </p:nvCxnSpPr>
          <p:spPr>
            <a:xfrm>
              <a:off x="8792246" y="5285346"/>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4" name="TextBox 143">
              <a:extLst>
                <a:ext uri="{FF2B5EF4-FFF2-40B4-BE49-F238E27FC236}">
                  <a16:creationId xmlns:a16="http://schemas.microsoft.com/office/drawing/2014/main" id="{2E1BFADE-EECB-4A31-AC72-E1E319EF7359}"/>
                </a:ext>
              </a:extLst>
            </p:cNvPr>
            <p:cNvSpPr txBox="1"/>
            <p:nvPr/>
          </p:nvSpPr>
          <p:spPr>
            <a:xfrm>
              <a:off x="7628563" y="4545087"/>
              <a:ext cx="1269899" cy="369332"/>
            </a:xfrm>
            <a:prstGeom prst="rect">
              <a:avLst/>
            </a:prstGeom>
            <a:noFill/>
          </p:spPr>
          <p:txBody>
            <a:bodyPr wrap="none" rtlCol="0">
              <a:spAutoFit/>
            </a:bodyPr>
            <a:lstStyle/>
            <a:p>
              <a:r>
                <a:rPr lang="sv-SE" dirty="0"/>
                <a:t>Customer C</a:t>
              </a:r>
              <a:endParaRPr lang="en-US" dirty="0"/>
            </a:p>
          </p:txBody>
        </p:sp>
        <p:pic>
          <p:nvPicPr>
            <p:cNvPr id="146" name="Picture 10" descr="Image result for ibm IOT logo">
              <a:extLst>
                <a:ext uri="{FF2B5EF4-FFF2-40B4-BE49-F238E27FC236}">
                  <a16:creationId xmlns:a16="http://schemas.microsoft.com/office/drawing/2014/main" id="{C3B0129C-EA2B-4878-9272-0AFDF8FC8E6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608637" y="5424829"/>
              <a:ext cx="570524" cy="55911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25" name="Group 1024">
            <a:extLst>
              <a:ext uri="{FF2B5EF4-FFF2-40B4-BE49-F238E27FC236}">
                <a16:creationId xmlns:a16="http://schemas.microsoft.com/office/drawing/2014/main" id="{33E4F68E-0296-4F20-B2B6-9C823641D452}"/>
              </a:ext>
            </a:extLst>
          </p:cNvPr>
          <p:cNvGrpSpPr/>
          <p:nvPr/>
        </p:nvGrpSpPr>
        <p:grpSpPr>
          <a:xfrm>
            <a:off x="7600037" y="1215589"/>
            <a:ext cx="3753763" cy="1512567"/>
            <a:chOff x="7600037" y="1215589"/>
            <a:chExt cx="3753763" cy="1512567"/>
          </a:xfrm>
        </p:grpSpPr>
        <p:sp>
          <p:nvSpPr>
            <p:cNvPr id="97" name="Rectangle 96">
              <a:extLst>
                <a:ext uri="{FF2B5EF4-FFF2-40B4-BE49-F238E27FC236}">
                  <a16:creationId xmlns:a16="http://schemas.microsoft.com/office/drawing/2014/main" id="{8DFB482E-E367-494E-9070-060F7F323E9D}"/>
                </a:ext>
              </a:extLst>
            </p:cNvPr>
            <p:cNvSpPr/>
            <p:nvPr/>
          </p:nvSpPr>
          <p:spPr>
            <a:xfrm>
              <a:off x="7687346" y="1632712"/>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98" name="Picture 97">
              <a:extLst>
                <a:ext uri="{FF2B5EF4-FFF2-40B4-BE49-F238E27FC236}">
                  <a16:creationId xmlns:a16="http://schemas.microsoft.com/office/drawing/2014/main" id="{9F8B69E9-BF8B-47AD-986E-FA3031CE06FF}"/>
                </a:ext>
              </a:extLst>
            </p:cNvPr>
            <p:cNvPicPr>
              <a:picLocks noChangeAspect="1"/>
            </p:cNvPicPr>
            <p:nvPr/>
          </p:nvPicPr>
          <p:blipFill>
            <a:blip r:embed="rId4"/>
            <a:stretch>
              <a:fillRect/>
            </a:stretch>
          </p:blipFill>
          <p:spPr>
            <a:xfrm>
              <a:off x="9631079" y="2244019"/>
              <a:ext cx="354135" cy="343920"/>
            </a:xfrm>
            <a:prstGeom prst="rect">
              <a:avLst/>
            </a:prstGeom>
          </p:spPr>
        </p:pic>
        <p:pic>
          <p:nvPicPr>
            <p:cNvPr id="99" name="Picture 98">
              <a:extLst>
                <a:ext uri="{FF2B5EF4-FFF2-40B4-BE49-F238E27FC236}">
                  <a16:creationId xmlns:a16="http://schemas.microsoft.com/office/drawing/2014/main" id="{25564854-60C0-47A2-849E-5BC647B7E764}"/>
                </a:ext>
              </a:extLst>
            </p:cNvPr>
            <p:cNvPicPr>
              <a:picLocks noChangeAspect="1"/>
            </p:cNvPicPr>
            <p:nvPr/>
          </p:nvPicPr>
          <p:blipFill>
            <a:blip r:embed="rId4"/>
            <a:stretch>
              <a:fillRect/>
            </a:stretch>
          </p:blipFill>
          <p:spPr>
            <a:xfrm>
              <a:off x="9631078" y="1811966"/>
              <a:ext cx="354135" cy="343920"/>
            </a:xfrm>
            <a:prstGeom prst="rect">
              <a:avLst/>
            </a:prstGeom>
          </p:spPr>
        </p:pic>
        <p:pic>
          <p:nvPicPr>
            <p:cNvPr id="100" name="Picture 99">
              <a:extLst>
                <a:ext uri="{FF2B5EF4-FFF2-40B4-BE49-F238E27FC236}">
                  <a16:creationId xmlns:a16="http://schemas.microsoft.com/office/drawing/2014/main" id="{C057CA5D-804B-4419-A1BC-08D1E7B8452D}"/>
                </a:ext>
              </a:extLst>
            </p:cNvPr>
            <p:cNvPicPr>
              <a:picLocks noChangeAspect="1"/>
            </p:cNvPicPr>
            <p:nvPr/>
          </p:nvPicPr>
          <p:blipFill>
            <a:blip r:embed="rId4"/>
            <a:stretch>
              <a:fillRect/>
            </a:stretch>
          </p:blipFill>
          <p:spPr>
            <a:xfrm>
              <a:off x="9631077" y="1379913"/>
              <a:ext cx="354135" cy="343920"/>
            </a:xfrm>
            <a:prstGeom prst="rect">
              <a:avLst/>
            </a:prstGeom>
          </p:spPr>
        </p:pic>
        <p:pic>
          <p:nvPicPr>
            <p:cNvPr id="101" name="Picture 100">
              <a:extLst>
                <a:ext uri="{FF2B5EF4-FFF2-40B4-BE49-F238E27FC236}">
                  <a16:creationId xmlns:a16="http://schemas.microsoft.com/office/drawing/2014/main" id="{08383796-F09D-41C0-90BE-66EA73B7CC6A}"/>
                </a:ext>
              </a:extLst>
            </p:cNvPr>
            <p:cNvPicPr>
              <a:picLocks noChangeAspect="1"/>
            </p:cNvPicPr>
            <p:nvPr/>
          </p:nvPicPr>
          <p:blipFill>
            <a:blip r:embed="rId4"/>
            <a:stretch>
              <a:fillRect/>
            </a:stretch>
          </p:blipFill>
          <p:spPr>
            <a:xfrm>
              <a:off x="10066943" y="2244019"/>
              <a:ext cx="354135" cy="343920"/>
            </a:xfrm>
            <a:prstGeom prst="rect">
              <a:avLst/>
            </a:prstGeom>
          </p:spPr>
        </p:pic>
        <p:pic>
          <p:nvPicPr>
            <p:cNvPr id="102" name="Picture 101">
              <a:extLst>
                <a:ext uri="{FF2B5EF4-FFF2-40B4-BE49-F238E27FC236}">
                  <a16:creationId xmlns:a16="http://schemas.microsoft.com/office/drawing/2014/main" id="{D88DB640-A60D-41D3-837D-FA359873969A}"/>
                </a:ext>
              </a:extLst>
            </p:cNvPr>
            <p:cNvPicPr>
              <a:picLocks noChangeAspect="1"/>
            </p:cNvPicPr>
            <p:nvPr/>
          </p:nvPicPr>
          <p:blipFill>
            <a:blip r:embed="rId4"/>
            <a:stretch>
              <a:fillRect/>
            </a:stretch>
          </p:blipFill>
          <p:spPr>
            <a:xfrm>
              <a:off x="10066942" y="1811966"/>
              <a:ext cx="354135" cy="343920"/>
            </a:xfrm>
            <a:prstGeom prst="rect">
              <a:avLst/>
            </a:prstGeom>
          </p:spPr>
        </p:pic>
        <p:pic>
          <p:nvPicPr>
            <p:cNvPr id="103" name="Picture 102">
              <a:extLst>
                <a:ext uri="{FF2B5EF4-FFF2-40B4-BE49-F238E27FC236}">
                  <a16:creationId xmlns:a16="http://schemas.microsoft.com/office/drawing/2014/main" id="{A7C5B9DC-4E4D-4409-BF42-29844A24E3AD}"/>
                </a:ext>
              </a:extLst>
            </p:cNvPr>
            <p:cNvPicPr>
              <a:picLocks noChangeAspect="1"/>
            </p:cNvPicPr>
            <p:nvPr/>
          </p:nvPicPr>
          <p:blipFill>
            <a:blip r:embed="rId4"/>
            <a:stretch>
              <a:fillRect/>
            </a:stretch>
          </p:blipFill>
          <p:spPr>
            <a:xfrm>
              <a:off x="10066941" y="1379913"/>
              <a:ext cx="354135" cy="343920"/>
            </a:xfrm>
            <a:prstGeom prst="rect">
              <a:avLst/>
            </a:prstGeom>
          </p:spPr>
        </p:pic>
        <p:pic>
          <p:nvPicPr>
            <p:cNvPr id="104" name="Picture 103">
              <a:extLst>
                <a:ext uri="{FF2B5EF4-FFF2-40B4-BE49-F238E27FC236}">
                  <a16:creationId xmlns:a16="http://schemas.microsoft.com/office/drawing/2014/main" id="{A02DF20A-4758-440D-BB21-024141B72EA7}"/>
                </a:ext>
              </a:extLst>
            </p:cNvPr>
            <p:cNvPicPr>
              <a:picLocks noChangeAspect="1"/>
            </p:cNvPicPr>
            <p:nvPr/>
          </p:nvPicPr>
          <p:blipFill>
            <a:blip r:embed="rId4"/>
            <a:stretch>
              <a:fillRect/>
            </a:stretch>
          </p:blipFill>
          <p:spPr>
            <a:xfrm>
              <a:off x="10502807" y="2244019"/>
              <a:ext cx="354135" cy="343920"/>
            </a:xfrm>
            <a:prstGeom prst="rect">
              <a:avLst/>
            </a:prstGeom>
          </p:spPr>
        </p:pic>
        <p:pic>
          <p:nvPicPr>
            <p:cNvPr id="105" name="Picture 104">
              <a:extLst>
                <a:ext uri="{FF2B5EF4-FFF2-40B4-BE49-F238E27FC236}">
                  <a16:creationId xmlns:a16="http://schemas.microsoft.com/office/drawing/2014/main" id="{876B1451-4416-4103-9517-D845CD46A637}"/>
                </a:ext>
              </a:extLst>
            </p:cNvPr>
            <p:cNvPicPr>
              <a:picLocks noChangeAspect="1"/>
            </p:cNvPicPr>
            <p:nvPr/>
          </p:nvPicPr>
          <p:blipFill>
            <a:blip r:embed="rId4"/>
            <a:stretch>
              <a:fillRect/>
            </a:stretch>
          </p:blipFill>
          <p:spPr>
            <a:xfrm>
              <a:off x="10502806" y="1811966"/>
              <a:ext cx="354135" cy="343920"/>
            </a:xfrm>
            <a:prstGeom prst="rect">
              <a:avLst/>
            </a:prstGeom>
          </p:spPr>
        </p:pic>
        <p:pic>
          <p:nvPicPr>
            <p:cNvPr id="106" name="Picture 105">
              <a:extLst>
                <a:ext uri="{FF2B5EF4-FFF2-40B4-BE49-F238E27FC236}">
                  <a16:creationId xmlns:a16="http://schemas.microsoft.com/office/drawing/2014/main" id="{ACDD1C4E-8943-4AE0-A19F-412DAD352190}"/>
                </a:ext>
              </a:extLst>
            </p:cNvPr>
            <p:cNvPicPr>
              <a:picLocks noChangeAspect="1"/>
            </p:cNvPicPr>
            <p:nvPr/>
          </p:nvPicPr>
          <p:blipFill>
            <a:blip r:embed="rId4"/>
            <a:stretch>
              <a:fillRect/>
            </a:stretch>
          </p:blipFill>
          <p:spPr>
            <a:xfrm>
              <a:off x="10502805" y="1379913"/>
              <a:ext cx="354135" cy="343920"/>
            </a:xfrm>
            <a:prstGeom prst="rect">
              <a:avLst/>
            </a:prstGeom>
          </p:spPr>
        </p:pic>
        <p:pic>
          <p:nvPicPr>
            <p:cNvPr id="107" name="Picture 106">
              <a:extLst>
                <a:ext uri="{FF2B5EF4-FFF2-40B4-BE49-F238E27FC236}">
                  <a16:creationId xmlns:a16="http://schemas.microsoft.com/office/drawing/2014/main" id="{8B6E931A-186D-4D59-8CDA-D496F8B08736}"/>
                </a:ext>
              </a:extLst>
            </p:cNvPr>
            <p:cNvPicPr>
              <a:picLocks noChangeAspect="1"/>
            </p:cNvPicPr>
            <p:nvPr/>
          </p:nvPicPr>
          <p:blipFill>
            <a:blip r:embed="rId4"/>
            <a:stretch>
              <a:fillRect/>
            </a:stretch>
          </p:blipFill>
          <p:spPr>
            <a:xfrm>
              <a:off x="10938671" y="2244019"/>
              <a:ext cx="354135" cy="343920"/>
            </a:xfrm>
            <a:prstGeom prst="rect">
              <a:avLst/>
            </a:prstGeom>
          </p:spPr>
        </p:pic>
        <p:pic>
          <p:nvPicPr>
            <p:cNvPr id="108" name="Picture 107">
              <a:extLst>
                <a:ext uri="{FF2B5EF4-FFF2-40B4-BE49-F238E27FC236}">
                  <a16:creationId xmlns:a16="http://schemas.microsoft.com/office/drawing/2014/main" id="{F3B04BD2-2FDF-48DD-8331-979A749E8BEA}"/>
                </a:ext>
              </a:extLst>
            </p:cNvPr>
            <p:cNvPicPr>
              <a:picLocks noChangeAspect="1"/>
            </p:cNvPicPr>
            <p:nvPr/>
          </p:nvPicPr>
          <p:blipFill>
            <a:blip r:embed="rId4"/>
            <a:stretch>
              <a:fillRect/>
            </a:stretch>
          </p:blipFill>
          <p:spPr>
            <a:xfrm>
              <a:off x="10938670" y="1811966"/>
              <a:ext cx="354135" cy="343920"/>
            </a:xfrm>
            <a:prstGeom prst="rect">
              <a:avLst/>
            </a:prstGeom>
          </p:spPr>
        </p:pic>
        <p:pic>
          <p:nvPicPr>
            <p:cNvPr id="109" name="Picture 108">
              <a:extLst>
                <a:ext uri="{FF2B5EF4-FFF2-40B4-BE49-F238E27FC236}">
                  <a16:creationId xmlns:a16="http://schemas.microsoft.com/office/drawing/2014/main" id="{408B9254-BD10-4446-8323-44104567FA60}"/>
                </a:ext>
              </a:extLst>
            </p:cNvPr>
            <p:cNvPicPr>
              <a:picLocks noChangeAspect="1"/>
            </p:cNvPicPr>
            <p:nvPr/>
          </p:nvPicPr>
          <p:blipFill>
            <a:blip r:embed="rId4"/>
            <a:stretch>
              <a:fillRect/>
            </a:stretch>
          </p:blipFill>
          <p:spPr>
            <a:xfrm>
              <a:off x="10938669" y="1379913"/>
              <a:ext cx="354135" cy="343920"/>
            </a:xfrm>
            <a:prstGeom prst="rect">
              <a:avLst/>
            </a:prstGeom>
          </p:spPr>
        </p:pic>
        <p:sp>
          <p:nvSpPr>
            <p:cNvPr id="110" name="Rectangle 109">
              <a:extLst>
                <a:ext uri="{FF2B5EF4-FFF2-40B4-BE49-F238E27FC236}">
                  <a16:creationId xmlns:a16="http://schemas.microsoft.com/office/drawing/2014/main" id="{4AD99BB6-AEFB-4791-ABBD-4064BB46C075}"/>
                </a:ext>
              </a:extLst>
            </p:cNvPr>
            <p:cNvSpPr/>
            <p:nvPr/>
          </p:nvSpPr>
          <p:spPr>
            <a:xfrm>
              <a:off x="9566076" y="1243786"/>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1" name="Straight Arrow Connector 110">
              <a:extLst>
                <a:ext uri="{FF2B5EF4-FFF2-40B4-BE49-F238E27FC236}">
                  <a16:creationId xmlns:a16="http://schemas.microsoft.com/office/drawing/2014/main" id="{8250AACA-D217-4156-BF99-A6FD7E8026E3}"/>
                </a:ext>
              </a:extLst>
            </p:cNvPr>
            <p:cNvCxnSpPr>
              <a:stCxn id="97" idx="3"/>
              <a:endCxn id="110" idx="1"/>
            </p:cNvCxnSpPr>
            <p:nvPr/>
          </p:nvCxnSpPr>
          <p:spPr>
            <a:xfrm>
              <a:off x="8792246" y="1981962"/>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2" name="TextBox 141">
              <a:extLst>
                <a:ext uri="{FF2B5EF4-FFF2-40B4-BE49-F238E27FC236}">
                  <a16:creationId xmlns:a16="http://schemas.microsoft.com/office/drawing/2014/main" id="{98163CC1-7F24-497D-AC8D-A1A1B66D362B}"/>
                </a:ext>
              </a:extLst>
            </p:cNvPr>
            <p:cNvSpPr txBox="1"/>
            <p:nvPr/>
          </p:nvSpPr>
          <p:spPr>
            <a:xfrm>
              <a:off x="7600037" y="1215589"/>
              <a:ext cx="1279517" cy="369332"/>
            </a:xfrm>
            <a:prstGeom prst="rect">
              <a:avLst/>
            </a:prstGeom>
            <a:noFill/>
          </p:spPr>
          <p:txBody>
            <a:bodyPr wrap="none" rtlCol="0">
              <a:spAutoFit/>
            </a:bodyPr>
            <a:lstStyle/>
            <a:p>
              <a:r>
                <a:rPr lang="sv-SE" dirty="0"/>
                <a:t>Customer A</a:t>
              </a:r>
              <a:endParaRPr lang="en-US" dirty="0"/>
            </a:p>
          </p:txBody>
        </p:sp>
        <p:grpSp>
          <p:nvGrpSpPr>
            <p:cNvPr id="147" name="Group 146">
              <a:extLst>
                <a:ext uri="{FF2B5EF4-FFF2-40B4-BE49-F238E27FC236}">
                  <a16:creationId xmlns:a16="http://schemas.microsoft.com/office/drawing/2014/main" id="{87B6A82F-1629-4584-9099-D0CC272D8CFF}"/>
                </a:ext>
              </a:extLst>
            </p:cNvPr>
            <p:cNvGrpSpPr/>
            <p:nvPr/>
          </p:nvGrpSpPr>
          <p:grpSpPr>
            <a:xfrm>
              <a:off x="8544765" y="2170874"/>
              <a:ext cx="576692" cy="509588"/>
              <a:chOff x="5498091" y="4114800"/>
              <a:chExt cx="576692" cy="509588"/>
            </a:xfrm>
          </p:grpSpPr>
          <p:sp>
            <p:nvSpPr>
              <p:cNvPr id="148" name="Oval 147">
                <a:extLst>
                  <a:ext uri="{FF2B5EF4-FFF2-40B4-BE49-F238E27FC236}">
                    <a16:creationId xmlns:a16="http://schemas.microsoft.com/office/drawing/2014/main" id="{6879CA68-485D-4F4F-98C8-538FB24974CD}"/>
                  </a:ext>
                </a:extLst>
              </p:cNvPr>
              <p:cNvSpPr/>
              <p:nvPr/>
            </p:nvSpPr>
            <p:spPr>
              <a:xfrm>
                <a:off x="5534025" y="4114800"/>
                <a:ext cx="504825" cy="50958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9" name="Picture 8" descr="Image result for AZURE IOT">
                <a:extLst>
                  <a:ext uri="{FF2B5EF4-FFF2-40B4-BE49-F238E27FC236}">
                    <a16:creationId xmlns:a16="http://schemas.microsoft.com/office/drawing/2014/main" id="{F4C859F1-50BC-44CE-8CE3-4C4A0FCD2A4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98091" y="4218212"/>
                <a:ext cx="576692" cy="302763"/>
              </a:xfrm>
              <a:prstGeom prst="rect">
                <a:avLst/>
              </a:prstGeom>
              <a:noFill/>
              <a:extLst>
                <a:ext uri="{909E8E84-426E-40DD-AFC4-6F175D3DCCD1}">
                  <a14:hiddenFill xmlns:a14="http://schemas.microsoft.com/office/drawing/2010/main">
                    <a:solidFill>
                      <a:srgbClr val="FFFFFF"/>
                    </a:solidFill>
                  </a14:hiddenFill>
                </a:ext>
              </a:extLst>
            </p:spPr>
          </p:pic>
        </p:grpSp>
      </p:grpSp>
      <p:cxnSp>
        <p:nvCxnSpPr>
          <p:cNvPr id="150" name="Straight Arrow Connector 149">
            <a:extLst>
              <a:ext uri="{FF2B5EF4-FFF2-40B4-BE49-F238E27FC236}">
                <a16:creationId xmlns:a16="http://schemas.microsoft.com/office/drawing/2014/main" id="{7961FD4A-C074-4458-ACB9-954EE0E7BB5F}"/>
              </a:ext>
            </a:extLst>
          </p:cNvPr>
          <p:cNvCxnSpPr>
            <a:cxnSpLocks/>
          </p:cNvCxnSpPr>
          <p:nvPr/>
        </p:nvCxnSpPr>
        <p:spPr>
          <a:xfrm>
            <a:off x="6354196" y="1985971"/>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52" name="Straight Arrow Connector 151">
            <a:extLst>
              <a:ext uri="{FF2B5EF4-FFF2-40B4-BE49-F238E27FC236}">
                <a16:creationId xmlns:a16="http://schemas.microsoft.com/office/drawing/2014/main" id="{44593D00-CE4C-4A9F-9D8D-AFAE43F21DBE}"/>
              </a:ext>
            </a:extLst>
          </p:cNvPr>
          <p:cNvCxnSpPr>
            <a:cxnSpLocks/>
          </p:cNvCxnSpPr>
          <p:nvPr/>
        </p:nvCxnSpPr>
        <p:spPr>
          <a:xfrm>
            <a:off x="6354196" y="3629734"/>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53" name="Straight Arrow Connector 152">
            <a:extLst>
              <a:ext uri="{FF2B5EF4-FFF2-40B4-BE49-F238E27FC236}">
                <a16:creationId xmlns:a16="http://schemas.microsoft.com/office/drawing/2014/main" id="{2313CC88-3FC5-492C-811A-7AD63B120468}"/>
              </a:ext>
            </a:extLst>
          </p:cNvPr>
          <p:cNvCxnSpPr>
            <a:cxnSpLocks/>
          </p:cNvCxnSpPr>
          <p:nvPr/>
        </p:nvCxnSpPr>
        <p:spPr>
          <a:xfrm>
            <a:off x="6354196" y="5273497"/>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grpSp>
        <p:nvGrpSpPr>
          <p:cNvPr id="10" name="Group 9">
            <a:extLst>
              <a:ext uri="{FF2B5EF4-FFF2-40B4-BE49-F238E27FC236}">
                <a16:creationId xmlns:a16="http://schemas.microsoft.com/office/drawing/2014/main" id="{8ECA4793-8A3F-4E31-99D9-A4556AF2685B}"/>
              </a:ext>
            </a:extLst>
          </p:cNvPr>
          <p:cNvGrpSpPr/>
          <p:nvPr/>
        </p:nvGrpSpPr>
        <p:grpSpPr>
          <a:xfrm>
            <a:off x="316407" y="2513762"/>
            <a:ext cx="3028449" cy="1754326"/>
            <a:chOff x="316407" y="2513762"/>
            <a:chExt cx="3028449" cy="1754326"/>
          </a:xfrm>
        </p:grpSpPr>
        <p:sp>
          <p:nvSpPr>
            <p:cNvPr id="4" name="TextBox 3">
              <a:extLst>
                <a:ext uri="{FF2B5EF4-FFF2-40B4-BE49-F238E27FC236}">
                  <a16:creationId xmlns:a16="http://schemas.microsoft.com/office/drawing/2014/main" id="{62749ABA-999D-4704-8FE8-5282F4AB2630}"/>
                </a:ext>
              </a:extLst>
            </p:cNvPr>
            <p:cNvSpPr txBox="1"/>
            <p:nvPr/>
          </p:nvSpPr>
          <p:spPr>
            <a:xfrm>
              <a:off x="1056794" y="2513762"/>
              <a:ext cx="2288062" cy="1754326"/>
            </a:xfrm>
            <a:prstGeom prst="rect">
              <a:avLst/>
            </a:prstGeom>
            <a:noFill/>
          </p:spPr>
          <p:txBody>
            <a:bodyPr wrap="none" rtlCol="0">
              <a:spAutoFit/>
            </a:bodyPr>
            <a:lstStyle/>
            <a:p>
              <a:r>
                <a:rPr lang="en-US" dirty="0"/>
                <a:t>Incidents </a:t>
              </a:r>
            </a:p>
            <a:p>
              <a:r>
                <a:rPr lang="en-US" dirty="0"/>
                <a:t>Issue tracking</a:t>
              </a:r>
            </a:p>
            <a:p>
              <a:r>
                <a:rPr lang="en-US" dirty="0"/>
                <a:t>Problem Management</a:t>
              </a:r>
            </a:p>
            <a:p>
              <a:r>
                <a:rPr lang="en-US" dirty="0"/>
                <a:t>Change Management</a:t>
              </a:r>
            </a:p>
            <a:p>
              <a:r>
                <a:rPr lang="en-US" dirty="0"/>
                <a:t>Release Management</a:t>
              </a:r>
            </a:p>
            <a:p>
              <a:r>
                <a:rPr lang="en-US" dirty="0"/>
                <a:t>Knowledge base</a:t>
              </a:r>
            </a:p>
          </p:txBody>
        </p:sp>
        <p:sp>
          <p:nvSpPr>
            <p:cNvPr id="6" name="TextBox 5">
              <a:extLst>
                <a:ext uri="{FF2B5EF4-FFF2-40B4-BE49-F238E27FC236}">
                  <a16:creationId xmlns:a16="http://schemas.microsoft.com/office/drawing/2014/main" id="{47E1BC8B-654C-49E8-A9C3-D520924CFE59}"/>
                </a:ext>
              </a:extLst>
            </p:cNvPr>
            <p:cNvSpPr txBox="1"/>
            <p:nvPr/>
          </p:nvSpPr>
          <p:spPr>
            <a:xfrm rot="16200000">
              <a:off x="206921" y="2930461"/>
              <a:ext cx="926857" cy="707886"/>
            </a:xfrm>
            <a:prstGeom prst="rect">
              <a:avLst/>
            </a:prstGeom>
            <a:noFill/>
          </p:spPr>
          <p:txBody>
            <a:bodyPr wrap="none" rtlCol="0">
              <a:spAutoFit/>
            </a:bodyPr>
            <a:lstStyle/>
            <a:p>
              <a:r>
                <a:rPr lang="sv-SE" sz="4000" b="1" dirty="0"/>
                <a:t>ITIL</a:t>
              </a:r>
              <a:endParaRPr lang="en-US" b="1" dirty="0"/>
            </a:p>
          </p:txBody>
        </p:sp>
        <p:cxnSp>
          <p:nvCxnSpPr>
            <p:cNvPr id="8" name="Straight Connector 7">
              <a:extLst>
                <a:ext uri="{FF2B5EF4-FFF2-40B4-BE49-F238E27FC236}">
                  <a16:creationId xmlns:a16="http://schemas.microsoft.com/office/drawing/2014/main" id="{DC99CEF7-C514-4D3C-97DF-DFF9D73FDAAF}"/>
                </a:ext>
              </a:extLst>
            </p:cNvPr>
            <p:cNvCxnSpPr/>
            <p:nvPr/>
          </p:nvCxnSpPr>
          <p:spPr>
            <a:xfrm>
              <a:off x="1041648" y="2577049"/>
              <a:ext cx="0" cy="166258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88" name="Group 87">
            <a:extLst>
              <a:ext uri="{FF2B5EF4-FFF2-40B4-BE49-F238E27FC236}">
                <a16:creationId xmlns:a16="http://schemas.microsoft.com/office/drawing/2014/main" id="{06CF5CD8-91C2-41FE-B524-0D1837D08D0C}"/>
              </a:ext>
            </a:extLst>
          </p:cNvPr>
          <p:cNvGrpSpPr/>
          <p:nvPr/>
        </p:nvGrpSpPr>
        <p:grpSpPr>
          <a:xfrm>
            <a:off x="812771" y="1453632"/>
            <a:ext cx="2034945" cy="4011761"/>
            <a:chOff x="704534" y="1467601"/>
            <a:chExt cx="2267904" cy="4471024"/>
          </a:xfrm>
        </p:grpSpPr>
        <p:pic>
          <p:nvPicPr>
            <p:cNvPr id="89" name="Picture 88">
              <a:extLst>
                <a:ext uri="{FF2B5EF4-FFF2-40B4-BE49-F238E27FC236}">
                  <a16:creationId xmlns:a16="http://schemas.microsoft.com/office/drawing/2014/main" id="{8DB23809-3F02-4397-A226-CA91558916A6}"/>
                </a:ext>
              </a:extLst>
            </p:cNvPr>
            <p:cNvPicPr>
              <a:picLocks noChangeAspect="1"/>
            </p:cNvPicPr>
            <p:nvPr/>
          </p:nvPicPr>
          <p:blipFill>
            <a:blip r:embed="rId8"/>
            <a:stretch>
              <a:fillRect/>
            </a:stretch>
          </p:blipFill>
          <p:spPr>
            <a:xfrm>
              <a:off x="1101057" y="1467601"/>
              <a:ext cx="1691366" cy="1629208"/>
            </a:xfrm>
            <a:prstGeom prst="rect">
              <a:avLst/>
            </a:prstGeom>
          </p:spPr>
        </p:pic>
        <p:pic>
          <p:nvPicPr>
            <p:cNvPr id="90" name="Picture 89">
              <a:extLst>
                <a:ext uri="{FF2B5EF4-FFF2-40B4-BE49-F238E27FC236}">
                  <a16:creationId xmlns:a16="http://schemas.microsoft.com/office/drawing/2014/main" id="{C3FB2450-421E-4AC2-9A5C-A2E71A11BCF4}"/>
                </a:ext>
              </a:extLst>
            </p:cNvPr>
            <p:cNvPicPr>
              <a:picLocks noChangeAspect="1"/>
            </p:cNvPicPr>
            <p:nvPr/>
          </p:nvPicPr>
          <p:blipFill>
            <a:blip r:embed="rId9"/>
            <a:stretch>
              <a:fillRect/>
            </a:stretch>
          </p:blipFill>
          <p:spPr>
            <a:xfrm>
              <a:off x="704534" y="4273447"/>
              <a:ext cx="751106" cy="679824"/>
            </a:xfrm>
            <a:prstGeom prst="rect">
              <a:avLst/>
            </a:prstGeom>
          </p:spPr>
        </p:pic>
        <p:pic>
          <p:nvPicPr>
            <p:cNvPr id="91" name="Picture 90">
              <a:extLst>
                <a:ext uri="{FF2B5EF4-FFF2-40B4-BE49-F238E27FC236}">
                  <a16:creationId xmlns:a16="http://schemas.microsoft.com/office/drawing/2014/main" id="{CBF02CB7-06C4-45F9-BDC0-680FCEB573F5}"/>
                </a:ext>
              </a:extLst>
            </p:cNvPr>
            <p:cNvPicPr>
              <a:picLocks noChangeAspect="1"/>
            </p:cNvPicPr>
            <p:nvPr/>
          </p:nvPicPr>
          <p:blipFill>
            <a:blip r:embed="rId9"/>
            <a:stretch>
              <a:fillRect/>
            </a:stretch>
          </p:blipFill>
          <p:spPr>
            <a:xfrm>
              <a:off x="1462938" y="4273446"/>
              <a:ext cx="751106" cy="679824"/>
            </a:xfrm>
            <a:prstGeom prst="rect">
              <a:avLst/>
            </a:prstGeom>
          </p:spPr>
        </p:pic>
        <p:pic>
          <p:nvPicPr>
            <p:cNvPr id="92" name="Picture 91">
              <a:extLst>
                <a:ext uri="{FF2B5EF4-FFF2-40B4-BE49-F238E27FC236}">
                  <a16:creationId xmlns:a16="http://schemas.microsoft.com/office/drawing/2014/main" id="{4E7EC6FE-85ED-4415-8AF4-D35E5127C0DA}"/>
                </a:ext>
              </a:extLst>
            </p:cNvPr>
            <p:cNvPicPr>
              <a:picLocks noChangeAspect="1"/>
            </p:cNvPicPr>
            <p:nvPr/>
          </p:nvPicPr>
          <p:blipFill>
            <a:blip r:embed="rId9"/>
            <a:stretch>
              <a:fillRect/>
            </a:stretch>
          </p:blipFill>
          <p:spPr>
            <a:xfrm>
              <a:off x="2221332" y="4273445"/>
              <a:ext cx="751106" cy="679824"/>
            </a:xfrm>
            <a:prstGeom prst="rect">
              <a:avLst/>
            </a:prstGeom>
          </p:spPr>
        </p:pic>
        <p:sp>
          <p:nvSpPr>
            <p:cNvPr id="93" name="TextBox 92">
              <a:extLst>
                <a:ext uri="{FF2B5EF4-FFF2-40B4-BE49-F238E27FC236}">
                  <a16:creationId xmlns:a16="http://schemas.microsoft.com/office/drawing/2014/main" id="{7E9049B8-4945-4ADC-8C15-FBDC5D368D4E}"/>
                </a:ext>
              </a:extLst>
            </p:cNvPr>
            <p:cNvSpPr txBox="1"/>
            <p:nvPr/>
          </p:nvSpPr>
          <p:spPr>
            <a:xfrm>
              <a:off x="1019328" y="3013535"/>
              <a:ext cx="148091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SERVICE DESK</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4" name="TextBox 93">
              <a:extLst>
                <a:ext uri="{FF2B5EF4-FFF2-40B4-BE49-F238E27FC236}">
                  <a16:creationId xmlns:a16="http://schemas.microsoft.com/office/drawing/2014/main" id="{79295A03-68A1-4F1A-A1E1-BAE365169DDC}"/>
                </a:ext>
              </a:extLst>
            </p:cNvPr>
            <p:cNvSpPr txBox="1"/>
            <p:nvPr/>
          </p:nvSpPr>
          <p:spPr>
            <a:xfrm>
              <a:off x="991369" y="5015295"/>
              <a:ext cx="1694244" cy="9233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NETWORK OPERATIONS CENTER</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31621543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88"/>
                                        </p:tgtEl>
                                      </p:cBhvr>
                                    </p:animEffect>
                                    <p:set>
                                      <p:cBhvr>
                                        <p:cTn id="7" dur="1" fill="hold">
                                          <p:stCondLst>
                                            <p:cond delay="499"/>
                                          </p:stCondLst>
                                        </p:cTn>
                                        <p:tgtEl>
                                          <p:spTgt spid="88"/>
                                        </p:tgtEl>
                                        <p:attrNameLst>
                                          <p:attrName>style.visibility</p:attrName>
                                        </p:attrNameLst>
                                      </p:cBhvr>
                                      <p:to>
                                        <p:strVal val="hidden"/>
                                      </p:to>
                                    </p:se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oT platforms</a:t>
            </a:r>
          </a:p>
        </p:txBody>
      </p:sp>
      <p:grpSp>
        <p:nvGrpSpPr>
          <p:cNvPr id="10" name="Group 9"/>
          <p:cNvGrpSpPr/>
          <p:nvPr/>
        </p:nvGrpSpPr>
        <p:grpSpPr>
          <a:xfrm>
            <a:off x="4110813" y="2916611"/>
            <a:ext cx="1941718" cy="2155768"/>
            <a:chOff x="4110813" y="2916611"/>
            <a:chExt cx="1941718" cy="2155768"/>
          </a:xfrm>
        </p:grpSpPr>
        <p:sp>
          <p:nvSpPr>
            <p:cNvPr id="35" name="Rektangel 13"/>
            <p:cNvSpPr/>
            <p:nvPr/>
          </p:nvSpPr>
          <p:spPr bwMode="auto">
            <a:xfrm>
              <a:off x="4110813" y="2916611"/>
              <a:ext cx="1941718" cy="2155768"/>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Transport</a:t>
              </a:r>
              <a:endParaRPr kumimoji="0" lang="en-US" sz="11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37" name="Likbent triangel 10"/>
            <p:cNvSpPr/>
            <p:nvPr/>
          </p:nvSpPr>
          <p:spPr bwMode="auto">
            <a:xfrm rot="5400000">
              <a:off x="4042234" y="3932978"/>
              <a:ext cx="399011" cy="261852"/>
            </a:xfrm>
            <a:prstGeom prst="triangle">
              <a:avLst/>
            </a:prstGeom>
            <a:solidFill>
              <a:schemeClr val="accent1">
                <a:lumMod val="75000"/>
              </a:schemeClr>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91440" tIns="91440" rIns="34294" bIns="34294" numCol="1" spcCol="0" rtlCol="0" fromWordArt="0" anchor="ctr" anchorCtr="0" forceAA="0" compatLnSpc="1">
              <a:prstTxWarp prst="textNoShape">
                <a:avLst/>
              </a:prstTxWarp>
              <a:noAutofit/>
            </a:bodyPr>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grpSp>
        <p:nvGrpSpPr>
          <p:cNvPr id="15" name="Group 14"/>
          <p:cNvGrpSpPr/>
          <p:nvPr/>
        </p:nvGrpSpPr>
        <p:grpSpPr>
          <a:xfrm>
            <a:off x="10006619" y="2917302"/>
            <a:ext cx="2012374" cy="2149269"/>
            <a:chOff x="10006619" y="2917302"/>
            <a:chExt cx="2012374" cy="2149269"/>
          </a:xfrm>
        </p:grpSpPr>
        <p:sp>
          <p:nvSpPr>
            <p:cNvPr id="40" name="Rektangel 23"/>
            <p:cNvSpPr/>
            <p:nvPr/>
          </p:nvSpPr>
          <p:spPr bwMode="auto">
            <a:xfrm>
              <a:off x="10006621" y="2917302"/>
              <a:ext cx="2012372" cy="720000"/>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REPORTS</a:t>
              </a:r>
            </a:p>
          </p:txBody>
        </p:sp>
        <p:sp>
          <p:nvSpPr>
            <p:cNvPr id="41" name="Rektangel 26"/>
            <p:cNvSpPr/>
            <p:nvPr/>
          </p:nvSpPr>
          <p:spPr bwMode="auto">
            <a:xfrm>
              <a:off x="10006621" y="3637912"/>
              <a:ext cx="2012372" cy="720000"/>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SQL</a:t>
              </a:r>
              <a:r>
                <a:rPr lang="en-US" sz="2000" kern="0" dirty="0">
                  <a:gradFill>
                    <a:gsLst>
                      <a:gs pos="0">
                        <a:srgbClr val="FFFFFF"/>
                      </a:gs>
                      <a:gs pos="100000">
                        <a:srgbClr val="FFFFFF"/>
                      </a:gs>
                    </a:gsLst>
                    <a:lin ang="5400000" scaled="0"/>
                  </a:gradFill>
                  <a:latin typeface="Segoe UI Light"/>
                  <a:ea typeface="Segoe UI" pitchFamily="34" charset="0"/>
                  <a:cs typeface="Segoe UI" pitchFamily="34" charset="0"/>
                </a:rPr>
                <a:t> / NOSQL</a:t>
              </a: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42" name="Rektangel 27"/>
            <p:cNvSpPr/>
            <p:nvPr/>
          </p:nvSpPr>
          <p:spPr bwMode="auto">
            <a:xfrm>
              <a:off x="10006621" y="4346571"/>
              <a:ext cx="2012372" cy="720000"/>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ERP / LOB</a:t>
              </a:r>
            </a:p>
          </p:txBody>
        </p:sp>
        <p:sp>
          <p:nvSpPr>
            <p:cNvPr id="43" name="Likbent triangel 28"/>
            <p:cNvSpPr/>
            <p:nvPr/>
          </p:nvSpPr>
          <p:spPr bwMode="auto">
            <a:xfrm rot="5400000">
              <a:off x="9938041" y="3183955"/>
              <a:ext cx="399011" cy="261852"/>
            </a:xfrm>
            <a:prstGeom prst="triangle">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b" anchorCtr="0"/>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 name="Likbent triangel 29"/>
            <p:cNvSpPr/>
            <p:nvPr/>
          </p:nvSpPr>
          <p:spPr bwMode="auto">
            <a:xfrm rot="5400000">
              <a:off x="9938040" y="3866986"/>
              <a:ext cx="399011" cy="261852"/>
            </a:xfrm>
            <a:prstGeom prst="triangle">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b" anchorCtr="0"/>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 name="Likbent triangel 30"/>
            <p:cNvSpPr/>
            <p:nvPr/>
          </p:nvSpPr>
          <p:spPr bwMode="auto">
            <a:xfrm rot="5400000">
              <a:off x="9938039" y="4550017"/>
              <a:ext cx="399011" cy="261852"/>
            </a:xfrm>
            <a:prstGeom prst="triangle">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b" anchorCtr="0"/>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6" name="Rektangel 9"/>
          <p:cNvSpPr/>
          <p:nvPr/>
        </p:nvSpPr>
        <p:spPr bwMode="auto">
          <a:xfrm>
            <a:off x="1750119" y="2914706"/>
            <a:ext cx="2360696" cy="2157673"/>
          </a:xfrm>
          <a:prstGeom prst="rect">
            <a:avLst/>
          </a:prstGeom>
          <a:solidFill>
            <a:schemeClr val="accent1">
              <a:lumMod val="75000"/>
            </a:schemeClr>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GATEWAY/ DEVICE</a:t>
            </a:r>
          </a:p>
        </p:txBody>
      </p:sp>
      <p:sp>
        <p:nvSpPr>
          <p:cNvPr id="52" name="Rektangel 34"/>
          <p:cNvSpPr/>
          <p:nvPr/>
        </p:nvSpPr>
        <p:spPr bwMode="auto">
          <a:xfrm>
            <a:off x="86072" y="2914707"/>
            <a:ext cx="1664046" cy="2159392"/>
          </a:xfrm>
          <a:prstGeom prst="rect">
            <a:avLst/>
          </a:prstGeom>
          <a:solidFill>
            <a:schemeClr val="accent1">
              <a:lumMod val="60000"/>
              <a:lumOff val="40000"/>
            </a:schemeClr>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Sensor</a:t>
            </a:r>
          </a:p>
          <a:p>
            <a:pPr marL="0" marR="0" lvl="0" indent="0" algn="ctr" defTabSz="932406" eaLnBrk="1" fontAlgn="auto" latinLnBrk="0" hangingPunct="1">
              <a:lnSpc>
                <a:spcPct val="100000"/>
              </a:lnSpc>
              <a:spcBef>
                <a:spcPts val="0"/>
              </a:spcBef>
              <a:spcAft>
                <a:spcPts val="0"/>
              </a:spcAft>
              <a:buClrTx/>
              <a:buSzTx/>
              <a:buFontTx/>
              <a:buNone/>
              <a:tabLst/>
              <a:defRPr/>
            </a:pPr>
            <a:r>
              <a:rPr lang="en-US" sz="2400" kern="0" dirty="0">
                <a:gradFill>
                  <a:gsLst>
                    <a:gs pos="0">
                      <a:srgbClr val="FFFFFF"/>
                    </a:gs>
                    <a:gs pos="100000">
                      <a:srgbClr val="FFFFFF"/>
                    </a:gs>
                  </a:gsLst>
                  <a:lin ang="5400000" scaled="0"/>
                </a:gradFill>
                <a:latin typeface="Segoe UI Light"/>
                <a:ea typeface="Segoe UI" pitchFamily="34" charset="0"/>
                <a:cs typeface="Segoe UI" pitchFamily="34" charset="0"/>
              </a:rPr>
              <a:t>Data</a:t>
            </a:r>
            <a:endParaRPr kumimoji="0" lang="en-US" sz="8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nvGrpSpPr>
          <p:cNvPr id="14" name="Group 13"/>
          <p:cNvGrpSpPr/>
          <p:nvPr/>
        </p:nvGrpSpPr>
        <p:grpSpPr>
          <a:xfrm>
            <a:off x="8064895" y="2918331"/>
            <a:ext cx="1941721" cy="2155768"/>
            <a:chOff x="8064900" y="2914706"/>
            <a:chExt cx="1941721" cy="2155768"/>
          </a:xfrm>
        </p:grpSpPr>
        <p:sp>
          <p:nvSpPr>
            <p:cNvPr id="30" name="Rektangel 22"/>
            <p:cNvSpPr/>
            <p:nvPr/>
          </p:nvSpPr>
          <p:spPr bwMode="auto">
            <a:xfrm>
              <a:off x="8064903" y="2914706"/>
              <a:ext cx="1941718" cy="2155768"/>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lvl="0" algn="ctr" defTabSz="932406">
                <a:defRPr/>
              </a:pPr>
              <a:r>
                <a:rPr lang="en-US" sz="2400" kern="0" dirty="0">
                  <a:gradFill>
                    <a:gsLst>
                      <a:gs pos="0">
                        <a:srgbClr val="FFFFFF"/>
                      </a:gs>
                      <a:gs pos="100000">
                        <a:srgbClr val="FFFFFF"/>
                      </a:gs>
                    </a:gsLst>
                    <a:lin ang="5400000" scaled="0"/>
                  </a:gradFill>
                  <a:latin typeface="Segoe UI Light"/>
                  <a:ea typeface="Segoe UI" pitchFamily="34" charset="0"/>
                  <a:cs typeface="Segoe UI" pitchFamily="34" charset="0"/>
                </a:rPr>
                <a:t>RULES &amp; ROUTING</a:t>
              </a:r>
              <a:endParaRPr lang="en-US" sz="800"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34" name="Likbent triangel 18"/>
            <p:cNvSpPr/>
            <p:nvPr/>
          </p:nvSpPr>
          <p:spPr bwMode="auto">
            <a:xfrm rot="5400000">
              <a:off x="7996322" y="3326532"/>
              <a:ext cx="399011" cy="261852"/>
            </a:xfrm>
            <a:prstGeom prst="triangle">
              <a:avLst/>
            </a:prstGeom>
            <a:solidFill>
              <a:srgbClr val="00188F"/>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91440" tIns="91440" rIns="34294" bIns="34294" numCol="1" spcCol="0" rtlCol="0" fromWordArt="0" anchor="ctr" anchorCtr="0" forceAA="0" compatLnSpc="1">
              <a:prstTxWarp prst="textNoShape">
                <a:avLst/>
              </a:prstTxWarp>
              <a:noAutofit/>
            </a:bodyPr>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67" name="Likbent triangel 20"/>
            <p:cNvSpPr/>
            <p:nvPr/>
          </p:nvSpPr>
          <p:spPr bwMode="auto">
            <a:xfrm rot="5400000">
              <a:off x="7996320" y="4396796"/>
              <a:ext cx="399011" cy="261852"/>
            </a:xfrm>
            <a:prstGeom prst="triangle">
              <a:avLst/>
            </a:prstGeom>
            <a:solidFill>
              <a:schemeClr val="accent1">
                <a:lumMod val="50000"/>
              </a:schemeClr>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91440" tIns="91440" rIns="34294" bIns="34294" numCol="1" spcCol="0" rtlCol="0" fromWordArt="0" anchor="ctr" anchorCtr="0" forceAA="0" compatLnSpc="1">
              <a:prstTxWarp prst="textNoShape">
                <a:avLst/>
              </a:prstTxWarp>
              <a:noAutofit/>
            </a:bodyPr>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grpSp>
        <p:nvGrpSpPr>
          <p:cNvPr id="11" name="Group 10"/>
          <p:cNvGrpSpPr/>
          <p:nvPr/>
        </p:nvGrpSpPr>
        <p:grpSpPr>
          <a:xfrm>
            <a:off x="6052527" y="2918841"/>
            <a:ext cx="2012372" cy="1085505"/>
            <a:chOff x="6052531" y="2916610"/>
            <a:chExt cx="2012372" cy="1085505"/>
          </a:xfrm>
        </p:grpSpPr>
        <p:sp>
          <p:nvSpPr>
            <p:cNvPr id="60" name="Rektangel 17"/>
            <p:cNvSpPr/>
            <p:nvPr/>
          </p:nvSpPr>
          <p:spPr bwMode="auto">
            <a:xfrm>
              <a:off x="6052531" y="2916610"/>
              <a:ext cx="2012372" cy="1085505"/>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SECURITY</a:t>
              </a:r>
            </a:p>
          </p:txBody>
        </p:sp>
        <p:sp>
          <p:nvSpPr>
            <p:cNvPr id="68" name="Likbent triangel 14"/>
            <p:cNvSpPr/>
            <p:nvPr/>
          </p:nvSpPr>
          <p:spPr bwMode="auto">
            <a:xfrm rot="5400000">
              <a:off x="5983951" y="3387319"/>
              <a:ext cx="399011" cy="261852"/>
            </a:xfrm>
            <a:prstGeom prst="triangle">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b" anchorCtr="0"/>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3" name="Group 12"/>
          <p:cNvGrpSpPr/>
          <p:nvPr/>
        </p:nvGrpSpPr>
        <p:grpSpPr>
          <a:xfrm>
            <a:off x="6052929" y="4002425"/>
            <a:ext cx="2012372" cy="1070264"/>
            <a:chOff x="6233504" y="5927004"/>
            <a:chExt cx="2012372" cy="1070264"/>
          </a:xfrm>
        </p:grpSpPr>
        <p:sp>
          <p:nvSpPr>
            <p:cNvPr id="59" name="Rektangel 19"/>
            <p:cNvSpPr/>
            <p:nvPr/>
          </p:nvSpPr>
          <p:spPr bwMode="auto">
            <a:xfrm>
              <a:off x="6233504" y="5927004"/>
              <a:ext cx="2012372" cy="1070264"/>
            </a:xfrm>
            <a:prstGeom prst="rect">
              <a:avLst/>
            </a:prstGeom>
            <a:solidFill>
              <a:schemeClr val="accent1">
                <a:lumMod val="50000"/>
              </a:schemeClr>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DEVICE MGMT</a:t>
              </a:r>
            </a:p>
          </p:txBody>
        </p:sp>
        <p:sp>
          <p:nvSpPr>
            <p:cNvPr id="69" name="Likbent triangel 21"/>
            <p:cNvSpPr/>
            <p:nvPr/>
          </p:nvSpPr>
          <p:spPr bwMode="auto">
            <a:xfrm rot="5400000">
              <a:off x="6164926" y="6331210"/>
              <a:ext cx="399011" cy="261852"/>
            </a:xfrm>
            <a:prstGeom prst="triangle">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b" anchorCtr="0"/>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8" name="Group 17"/>
          <p:cNvGrpSpPr/>
          <p:nvPr/>
        </p:nvGrpSpPr>
        <p:grpSpPr>
          <a:xfrm>
            <a:off x="1757361" y="4513500"/>
            <a:ext cx="839802" cy="544765"/>
            <a:chOff x="1757361" y="4513500"/>
            <a:chExt cx="839802" cy="544765"/>
          </a:xfrm>
        </p:grpSpPr>
        <p:sp>
          <p:nvSpPr>
            <p:cNvPr id="57" name="Rektangel 36"/>
            <p:cNvSpPr/>
            <p:nvPr/>
          </p:nvSpPr>
          <p:spPr bwMode="auto">
            <a:xfrm>
              <a:off x="1757362" y="4573523"/>
              <a:ext cx="813609" cy="409922"/>
            </a:xfrm>
            <a:prstGeom prst="rect">
              <a:avLst/>
            </a:prstGeom>
            <a:solidFill>
              <a:schemeClr val="accent1">
                <a:lumMod val="60000"/>
                <a:lumOff val="40000"/>
              </a:schemeClr>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algn="ctr" defTabSz="932406"/>
              <a:endParaRPr lang="en-US" sz="2400" kern="0" dirty="0">
                <a:gradFill>
                  <a:gsLst>
                    <a:gs pos="0">
                      <a:srgbClr val="FFFFFF"/>
                    </a:gs>
                    <a:gs pos="100000">
                      <a:srgbClr val="FFFFFF"/>
                    </a:gs>
                  </a:gsLst>
                  <a:lin ang="5400000" scaled="0"/>
                </a:gradFill>
                <a:latin typeface="Segoe UI Light"/>
                <a:cs typeface="Segoe UI" pitchFamily="34" charset="0"/>
              </a:endParaRPr>
            </a:p>
          </p:txBody>
        </p:sp>
        <p:sp>
          <p:nvSpPr>
            <p:cNvPr id="58" name="textruta 37"/>
            <p:cNvSpPr txBox="1"/>
            <p:nvPr/>
          </p:nvSpPr>
          <p:spPr>
            <a:xfrm>
              <a:off x="1757361" y="4513500"/>
              <a:ext cx="839802" cy="544765"/>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Segoe UI"/>
                </a:rPr>
                <a:t>API</a:t>
              </a:r>
            </a:p>
          </p:txBody>
        </p:sp>
      </p:grpSp>
      <p:grpSp>
        <p:nvGrpSpPr>
          <p:cNvPr id="19" name="Group 18"/>
          <p:cNvGrpSpPr/>
          <p:nvPr/>
        </p:nvGrpSpPr>
        <p:grpSpPr>
          <a:xfrm>
            <a:off x="3297201" y="4499349"/>
            <a:ext cx="813611" cy="544765"/>
            <a:chOff x="3297201" y="4499349"/>
            <a:chExt cx="813611" cy="544765"/>
          </a:xfrm>
        </p:grpSpPr>
        <p:sp>
          <p:nvSpPr>
            <p:cNvPr id="49" name="Rektangel 36"/>
            <p:cNvSpPr/>
            <p:nvPr/>
          </p:nvSpPr>
          <p:spPr bwMode="auto">
            <a:xfrm>
              <a:off x="3297203" y="4559372"/>
              <a:ext cx="813609" cy="409922"/>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algn="ctr" defTabSz="932406"/>
              <a:endParaRPr lang="en-US" sz="2400" kern="0" dirty="0">
                <a:gradFill>
                  <a:gsLst>
                    <a:gs pos="0">
                      <a:srgbClr val="FFFFFF"/>
                    </a:gs>
                    <a:gs pos="100000">
                      <a:srgbClr val="FFFFFF"/>
                    </a:gs>
                  </a:gsLst>
                  <a:lin ang="5400000" scaled="0"/>
                </a:gradFill>
                <a:latin typeface="Segoe UI Light"/>
                <a:cs typeface="Segoe UI" pitchFamily="34" charset="0"/>
              </a:endParaRPr>
            </a:p>
          </p:txBody>
        </p:sp>
        <p:sp>
          <p:nvSpPr>
            <p:cNvPr id="50" name="textruta 37"/>
            <p:cNvSpPr txBox="1"/>
            <p:nvPr/>
          </p:nvSpPr>
          <p:spPr>
            <a:xfrm>
              <a:off x="3297201" y="4499349"/>
              <a:ext cx="813607" cy="544765"/>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Segoe UI"/>
                </a:rPr>
                <a:t>API</a:t>
              </a:r>
            </a:p>
          </p:txBody>
        </p:sp>
      </p:grpSp>
      <p:sp>
        <p:nvSpPr>
          <p:cNvPr id="70" name="Likbent triangel 10"/>
          <p:cNvSpPr/>
          <p:nvPr/>
        </p:nvSpPr>
        <p:spPr bwMode="auto">
          <a:xfrm rot="5400000">
            <a:off x="1685524" y="3895988"/>
            <a:ext cx="399011" cy="261852"/>
          </a:xfrm>
          <a:prstGeom prst="triangle">
            <a:avLst/>
          </a:prstGeom>
          <a:solidFill>
            <a:schemeClr val="accent1">
              <a:lumMod val="60000"/>
              <a:lumOff val="40000"/>
            </a:schemeClr>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algn="ctr" defTabSz="932406"/>
            <a:endParaRPr lang="en-US" sz="2400" kern="0" dirty="0">
              <a:gradFill>
                <a:gsLst>
                  <a:gs pos="0">
                    <a:srgbClr val="FFFFFF"/>
                  </a:gs>
                  <a:gs pos="100000">
                    <a:srgbClr val="FFFFFF"/>
                  </a:gs>
                </a:gsLst>
                <a:lin ang="5400000" scaled="0"/>
              </a:gradFill>
              <a:latin typeface="Segoe UI Light"/>
              <a:cs typeface="Segoe UI" pitchFamily="34" charset="0"/>
            </a:endParaRPr>
          </a:p>
        </p:txBody>
      </p:sp>
      <p:sp>
        <p:nvSpPr>
          <p:cNvPr id="9" name="TextBox 8"/>
          <p:cNvSpPr txBox="1"/>
          <p:nvPr/>
        </p:nvSpPr>
        <p:spPr>
          <a:xfrm>
            <a:off x="1786532" y="5250937"/>
            <a:ext cx="1524776" cy="1477328"/>
          </a:xfrm>
          <a:prstGeom prst="rect">
            <a:avLst/>
          </a:prstGeom>
          <a:noFill/>
        </p:spPr>
        <p:txBody>
          <a:bodyPr wrap="none" rtlCol="0">
            <a:spAutoFit/>
          </a:bodyPr>
          <a:lstStyle/>
          <a:p>
            <a:pPr marL="285750" indent="-285750">
              <a:buFont typeface="Arial" panose="020B0604020202020204" pitchFamily="34" charset="0"/>
              <a:buChar char="•"/>
            </a:pPr>
            <a:r>
              <a:rPr lang="en-US" dirty="0"/>
              <a:t>Node.js</a:t>
            </a:r>
          </a:p>
          <a:p>
            <a:pPr marL="285750" indent="-285750">
              <a:buFont typeface="Arial" panose="020B0604020202020204" pitchFamily="34" charset="0"/>
              <a:buChar char="•"/>
            </a:pPr>
            <a:r>
              <a:rPr lang="en-US" dirty="0"/>
              <a:t>ARM </a:t>
            </a:r>
            <a:r>
              <a:rPr lang="en-US" dirty="0" err="1"/>
              <a:t>mbed</a:t>
            </a:r>
            <a:endParaRPr lang="en-US" dirty="0"/>
          </a:p>
          <a:p>
            <a:pPr marL="285750" indent="-285750">
              <a:buFont typeface="Arial" panose="020B0604020202020204" pitchFamily="34" charset="0"/>
              <a:buChar char="•"/>
            </a:pPr>
            <a:r>
              <a:rPr lang="en-US" dirty="0">
                <a:solidFill>
                  <a:schemeClr val="tx1">
                    <a:lumMod val="75000"/>
                  </a:schemeClr>
                </a:solidFill>
              </a:rPr>
              <a:t>Java</a:t>
            </a:r>
          </a:p>
          <a:p>
            <a:pPr marL="285750" indent="-285750">
              <a:buFont typeface="Arial" panose="020B0604020202020204" pitchFamily="34" charset="0"/>
              <a:buChar char="•"/>
            </a:pPr>
            <a:r>
              <a:rPr lang="en-US" dirty="0" err="1">
                <a:solidFill>
                  <a:schemeClr val="tx1">
                    <a:lumMod val="75000"/>
                  </a:schemeClr>
                </a:solidFill>
              </a:rPr>
              <a:t>.Net</a:t>
            </a:r>
            <a:endParaRPr lang="en-US" dirty="0">
              <a:solidFill>
                <a:schemeClr val="tx1">
                  <a:lumMod val="75000"/>
                </a:schemeClr>
              </a:solidFill>
            </a:endParaRPr>
          </a:p>
          <a:p>
            <a:pPr marL="285750" indent="-285750">
              <a:buFont typeface="Arial" panose="020B0604020202020204" pitchFamily="34" charset="0"/>
              <a:buChar char="•"/>
            </a:pPr>
            <a:r>
              <a:rPr lang="en-US" dirty="0">
                <a:solidFill>
                  <a:schemeClr val="tx1">
                    <a:lumMod val="75000"/>
                  </a:schemeClr>
                </a:solidFill>
              </a:rPr>
              <a:t>Python</a:t>
            </a:r>
          </a:p>
        </p:txBody>
      </p:sp>
      <p:sp>
        <p:nvSpPr>
          <p:cNvPr id="71" name="TextBox 70"/>
          <p:cNvSpPr txBox="1"/>
          <p:nvPr/>
        </p:nvSpPr>
        <p:spPr>
          <a:xfrm>
            <a:off x="4110808" y="5261807"/>
            <a:ext cx="1610249" cy="1200329"/>
          </a:xfrm>
          <a:prstGeom prst="rect">
            <a:avLst/>
          </a:prstGeom>
          <a:noFill/>
        </p:spPr>
        <p:txBody>
          <a:bodyPr wrap="none" rtlCol="0">
            <a:spAutoFit/>
          </a:bodyPr>
          <a:lstStyle/>
          <a:p>
            <a:pPr marL="285750" indent="-285750">
              <a:buFont typeface="Arial" panose="020B0604020202020204" pitchFamily="34" charset="0"/>
              <a:buChar char="•"/>
            </a:pPr>
            <a:r>
              <a:rPr lang="en-US" dirty="0"/>
              <a:t>MQTT</a:t>
            </a:r>
          </a:p>
          <a:p>
            <a:pPr marL="285750" indent="-285750">
              <a:buFont typeface="Arial" panose="020B0604020202020204" pitchFamily="34" charset="0"/>
              <a:buChar char="•"/>
            </a:pPr>
            <a:r>
              <a:rPr lang="en-US" dirty="0"/>
              <a:t>AMQP</a:t>
            </a:r>
          </a:p>
          <a:p>
            <a:pPr marL="285750" indent="-285750">
              <a:buFont typeface="Arial" panose="020B0604020202020204" pitchFamily="34" charset="0"/>
              <a:buChar char="•"/>
            </a:pPr>
            <a:r>
              <a:rPr lang="en-US" dirty="0" err="1"/>
              <a:t>WebSockets</a:t>
            </a:r>
            <a:endParaRPr lang="en-US" dirty="0"/>
          </a:p>
          <a:p>
            <a:pPr marL="285750" indent="-285750">
              <a:buFont typeface="Arial" panose="020B0604020202020204" pitchFamily="34" charset="0"/>
              <a:buChar char="•"/>
            </a:pPr>
            <a:r>
              <a:rPr lang="en-US" dirty="0"/>
              <a:t>HTTP</a:t>
            </a:r>
          </a:p>
        </p:txBody>
      </p:sp>
      <p:sp>
        <p:nvSpPr>
          <p:cNvPr id="72" name="TextBox 71"/>
          <p:cNvSpPr txBox="1"/>
          <p:nvPr/>
        </p:nvSpPr>
        <p:spPr>
          <a:xfrm>
            <a:off x="6096000" y="1933589"/>
            <a:ext cx="1529458" cy="923330"/>
          </a:xfrm>
          <a:prstGeom prst="rect">
            <a:avLst/>
          </a:prstGeom>
          <a:noFill/>
        </p:spPr>
        <p:txBody>
          <a:bodyPr wrap="none" rtlCol="0">
            <a:spAutoFit/>
          </a:bodyPr>
          <a:lstStyle/>
          <a:p>
            <a:pPr marL="285750" indent="-285750">
              <a:buFont typeface="Arial" panose="020B0604020202020204" pitchFamily="34" charset="0"/>
              <a:buChar char="•"/>
            </a:pPr>
            <a:r>
              <a:rPr lang="en-US" dirty="0"/>
              <a:t>Certificates</a:t>
            </a:r>
          </a:p>
          <a:p>
            <a:pPr marL="285750" indent="-285750">
              <a:buFont typeface="Arial" panose="020B0604020202020204" pitchFamily="34" charset="0"/>
              <a:buChar char="•"/>
            </a:pPr>
            <a:r>
              <a:rPr lang="en-US" dirty="0"/>
              <a:t>SAS</a:t>
            </a:r>
          </a:p>
          <a:p>
            <a:pPr marL="285750" indent="-285750">
              <a:buFont typeface="Arial" panose="020B0604020202020204" pitchFamily="34" charset="0"/>
              <a:buChar char="•"/>
            </a:pPr>
            <a:r>
              <a:rPr lang="sv-SE" dirty="0"/>
              <a:t>R</a:t>
            </a:r>
            <a:r>
              <a:rPr lang="en-US" dirty="0"/>
              <a:t>evoke</a:t>
            </a:r>
          </a:p>
        </p:txBody>
      </p:sp>
      <p:sp>
        <p:nvSpPr>
          <p:cNvPr id="73" name="TextBox 72"/>
          <p:cNvSpPr txBox="1"/>
          <p:nvPr/>
        </p:nvSpPr>
        <p:spPr>
          <a:xfrm>
            <a:off x="6096000" y="5261806"/>
            <a:ext cx="1883849" cy="1200329"/>
          </a:xfrm>
          <a:prstGeom prst="rect">
            <a:avLst/>
          </a:prstGeom>
          <a:noFill/>
        </p:spPr>
        <p:txBody>
          <a:bodyPr wrap="none" rtlCol="0">
            <a:spAutoFit/>
          </a:bodyPr>
          <a:lstStyle/>
          <a:p>
            <a:pPr marL="285750" indent="-285750">
              <a:buFont typeface="Arial" panose="020B0604020202020204" pitchFamily="34" charset="0"/>
              <a:buChar char="•"/>
            </a:pPr>
            <a:r>
              <a:rPr lang="en-US" dirty="0"/>
              <a:t>Add/Remove</a:t>
            </a:r>
          </a:p>
          <a:p>
            <a:pPr marL="285750" indent="-285750">
              <a:buFont typeface="Arial" panose="020B0604020202020204" pitchFamily="34" charset="0"/>
              <a:buChar char="•"/>
            </a:pPr>
            <a:r>
              <a:rPr lang="sv-SE" dirty="0"/>
              <a:t>E</a:t>
            </a:r>
            <a:r>
              <a:rPr lang="en-US" dirty="0" err="1"/>
              <a:t>nable</a:t>
            </a:r>
            <a:r>
              <a:rPr lang="en-US" dirty="0"/>
              <a:t>/Disable</a:t>
            </a:r>
          </a:p>
          <a:p>
            <a:pPr marL="285750" indent="-285750">
              <a:buFont typeface="Arial" panose="020B0604020202020204" pitchFamily="34" charset="0"/>
              <a:buChar char="•"/>
            </a:pPr>
            <a:r>
              <a:rPr lang="sv-SE" dirty="0"/>
              <a:t>M</a:t>
            </a:r>
            <a:r>
              <a:rPr lang="en-US" dirty="0" err="1"/>
              <a:t>etadata</a:t>
            </a:r>
            <a:endParaRPr lang="en-US" dirty="0"/>
          </a:p>
          <a:p>
            <a:pPr marL="285750" indent="-285750">
              <a:buFont typeface="Arial" panose="020B0604020202020204" pitchFamily="34" charset="0"/>
              <a:buChar char="•"/>
            </a:pPr>
            <a:r>
              <a:rPr lang="sv-SE" dirty="0"/>
              <a:t>S</a:t>
            </a:r>
            <a:r>
              <a:rPr lang="en-US" dirty="0" err="1"/>
              <a:t>tate</a:t>
            </a:r>
            <a:endParaRPr lang="en-US" dirty="0"/>
          </a:p>
        </p:txBody>
      </p:sp>
      <p:grpSp>
        <p:nvGrpSpPr>
          <p:cNvPr id="17" name="Group 16"/>
          <p:cNvGrpSpPr/>
          <p:nvPr/>
        </p:nvGrpSpPr>
        <p:grpSpPr>
          <a:xfrm>
            <a:off x="-5949" y="2856919"/>
            <a:ext cx="12024942" cy="2315123"/>
            <a:chOff x="-5949" y="2886798"/>
            <a:chExt cx="12024942" cy="2315123"/>
          </a:xfrm>
        </p:grpSpPr>
        <p:sp>
          <p:nvSpPr>
            <p:cNvPr id="16" name="Rectangle 15"/>
            <p:cNvSpPr/>
            <p:nvPr/>
          </p:nvSpPr>
          <p:spPr>
            <a:xfrm>
              <a:off x="8064503" y="2921690"/>
              <a:ext cx="3954490" cy="2280231"/>
            </a:xfrm>
            <a:prstGeom prst="rect">
              <a:avLst/>
            </a:prstGeom>
            <a:solidFill>
              <a:schemeClr val="bg1">
                <a:alpha val="6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Rectangle 76"/>
            <p:cNvSpPr/>
            <p:nvPr/>
          </p:nvSpPr>
          <p:spPr>
            <a:xfrm>
              <a:off x="-5949" y="2886798"/>
              <a:ext cx="1759037" cy="2280231"/>
            </a:xfrm>
            <a:prstGeom prst="rect">
              <a:avLst/>
            </a:prstGeom>
            <a:solidFill>
              <a:schemeClr val="bg1">
                <a:alpha val="6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4509667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up)">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fade">
                                      <p:cBhvr>
                                        <p:cTn id="12" dur="750"/>
                                        <p:tgtEl>
                                          <p:spTgt spid="1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childTnLst>
                          </p:cTn>
                        </p:par>
                        <p:par>
                          <p:cTn id="18" fill="hold">
                            <p:stCondLst>
                              <p:cond delay="500"/>
                            </p:stCondLst>
                            <p:childTnLst>
                              <p:par>
                                <p:cTn id="19" presetID="10" presetClass="entr" presetSubtype="0" fill="hold" nodeType="afterEffect">
                                  <p:stCondLst>
                                    <p:cond delay="0"/>
                                  </p:stCondLst>
                                  <p:childTnLst>
                                    <p:set>
                                      <p:cBhvr>
                                        <p:cTn id="20" dur="1" fill="hold">
                                          <p:stCondLst>
                                            <p:cond delay="0"/>
                                          </p:stCondLst>
                                        </p:cTn>
                                        <p:tgtEl>
                                          <p:spTgt spid="19"/>
                                        </p:tgtEl>
                                        <p:attrNameLst>
                                          <p:attrName>style.visibility</p:attrName>
                                        </p:attrNameLst>
                                      </p:cBhvr>
                                      <p:to>
                                        <p:strVal val="visible"/>
                                      </p:to>
                                    </p:set>
                                    <p:animEffect transition="in" filter="fade">
                                      <p:cBhvr>
                                        <p:cTn id="21" dur="500"/>
                                        <p:tgtEl>
                                          <p:spTgt spid="19"/>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1" fill="hold" grpId="0" nodeType="clickEffect">
                                  <p:stCondLst>
                                    <p:cond delay="0"/>
                                  </p:stCondLst>
                                  <p:childTnLst>
                                    <p:set>
                                      <p:cBhvr>
                                        <p:cTn id="25" dur="1" fill="hold">
                                          <p:stCondLst>
                                            <p:cond delay="0"/>
                                          </p:stCondLst>
                                        </p:cTn>
                                        <p:tgtEl>
                                          <p:spTgt spid="71"/>
                                        </p:tgtEl>
                                        <p:attrNameLst>
                                          <p:attrName>style.visibility</p:attrName>
                                        </p:attrNameLst>
                                      </p:cBhvr>
                                      <p:to>
                                        <p:strVal val="visible"/>
                                      </p:to>
                                    </p:set>
                                    <p:animEffect transition="in" filter="wipe(up)">
                                      <p:cBhvr>
                                        <p:cTn id="26" dur="500"/>
                                        <p:tgtEl>
                                          <p:spTgt spid="7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13"/>
                                        </p:tgtEl>
                                        <p:attrNameLst>
                                          <p:attrName>style.visibility</p:attrName>
                                        </p:attrNameLst>
                                      </p:cBhvr>
                                      <p:to>
                                        <p:strVal val="visible"/>
                                      </p:to>
                                    </p:set>
                                    <p:animEffect transition="in" filter="fade">
                                      <p:cBhvr>
                                        <p:cTn id="31" dur="500"/>
                                        <p:tgtEl>
                                          <p:spTgt spid="13"/>
                                        </p:tgtEl>
                                      </p:cBhvr>
                                    </p:animEffect>
                                  </p:childTnLst>
                                </p:cTn>
                              </p:par>
                            </p:childTnLst>
                          </p:cTn>
                        </p:par>
                      </p:childTnLst>
                    </p:cTn>
                  </p:par>
                  <p:par>
                    <p:cTn id="32" fill="hold">
                      <p:stCondLst>
                        <p:cond delay="indefinite"/>
                      </p:stCondLst>
                      <p:childTnLst>
                        <p:par>
                          <p:cTn id="33" fill="hold">
                            <p:stCondLst>
                              <p:cond delay="0"/>
                            </p:stCondLst>
                            <p:childTnLst>
                              <p:par>
                                <p:cTn id="34" presetID="22" presetClass="entr" presetSubtype="1" fill="hold" grpId="0" nodeType="clickEffect">
                                  <p:stCondLst>
                                    <p:cond delay="0"/>
                                  </p:stCondLst>
                                  <p:childTnLst>
                                    <p:set>
                                      <p:cBhvr>
                                        <p:cTn id="35" dur="1" fill="hold">
                                          <p:stCondLst>
                                            <p:cond delay="0"/>
                                          </p:stCondLst>
                                        </p:cTn>
                                        <p:tgtEl>
                                          <p:spTgt spid="73"/>
                                        </p:tgtEl>
                                        <p:attrNameLst>
                                          <p:attrName>style.visibility</p:attrName>
                                        </p:attrNameLst>
                                      </p:cBhvr>
                                      <p:to>
                                        <p:strVal val="visible"/>
                                      </p:to>
                                    </p:set>
                                    <p:animEffect transition="in" filter="wipe(up)">
                                      <p:cBhvr>
                                        <p:cTn id="36" dur="500"/>
                                        <p:tgtEl>
                                          <p:spTgt spid="73"/>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11"/>
                                        </p:tgtEl>
                                        <p:attrNameLst>
                                          <p:attrName>style.visibility</p:attrName>
                                        </p:attrNameLst>
                                      </p:cBhvr>
                                      <p:to>
                                        <p:strVal val="visible"/>
                                      </p:to>
                                    </p:set>
                                    <p:animEffect transition="in" filter="fade">
                                      <p:cBhvr>
                                        <p:cTn id="41" dur="500"/>
                                        <p:tgtEl>
                                          <p:spTgt spid="11"/>
                                        </p:tgtEl>
                                      </p:cBhvr>
                                    </p:animEffect>
                                  </p:childTnLst>
                                </p:cTn>
                              </p:par>
                            </p:childTnLst>
                          </p:cTn>
                        </p:par>
                      </p:childTnLst>
                    </p:cTn>
                  </p:par>
                  <p:par>
                    <p:cTn id="42" fill="hold">
                      <p:stCondLst>
                        <p:cond delay="indefinite"/>
                      </p:stCondLst>
                      <p:childTnLst>
                        <p:par>
                          <p:cTn id="43" fill="hold">
                            <p:stCondLst>
                              <p:cond delay="0"/>
                            </p:stCondLst>
                            <p:childTnLst>
                              <p:par>
                                <p:cTn id="44" presetID="22" presetClass="entr" presetSubtype="4" fill="hold" grpId="0" nodeType="clickEffect">
                                  <p:stCondLst>
                                    <p:cond delay="0"/>
                                  </p:stCondLst>
                                  <p:childTnLst>
                                    <p:set>
                                      <p:cBhvr>
                                        <p:cTn id="45" dur="1" fill="hold">
                                          <p:stCondLst>
                                            <p:cond delay="0"/>
                                          </p:stCondLst>
                                        </p:cTn>
                                        <p:tgtEl>
                                          <p:spTgt spid="72"/>
                                        </p:tgtEl>
                                        <p:attrNameLst>
                                          <p:attrName>style.visibility</p:attrName>
                                        </p:attrNameLst>
                                      </p:cBhvr>
                                      <p:to>
                                        <p:strVal val="visible"/>
                                      </p:to>
                                    </p:set>
                                    <p:animEffect transition="in" filter="wipe(down)">
                                      <p:cBhvr>
                                        <p:cTn id="46" dur="500"/>
                                        <p:tgtEl>
                                          <p:spTgt spid="72"/>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nodeType="clickEffect">
                                  <p:stCondLst>
                                    <p:cond delay="0"/>
                                  </p:stCondLst>
                                  <p:childTnLst>
                                    <p:set>
                                      <p:cBhvr>
                                        <p:cTn id="50" dur="1" fill="hold">
                                          <p:stCondLst>
                                            <p:cond delay="0"/>
                                          </p:stCondLst>
                                        </p:cTn>
                                        <p:tgtEl>
                                          <p:spTgt spid="14"/>
                                        </p:tgtEl>
                                        <p:attrNameLst>
                                          <p:attrName>style.visibility</p:attrName>
                                        </p:attrNameLst>
                                      </p:cBhvr>
                                      <p:to>
                                        <p:strVal val="visible"/>
                                      </p:to>
                                    </p:set>
                                    <p:animEffect transition="in" filter="fade">
                                      <p:cBhvr>
                                        <p:cTn id="51" dur="500"/>
                                        <p:tgtEl>
                                          <p:spTgt spid="14"/>
                                        </p:tgtEl>
                                      </p:cBhvr>
                                    </p:animEffect>
                                  </p:childTnLst>
                                </p:cTn>
                              </p:par>
                            </p:childTnLst>
                          </p:cTn>
                        </p:par>
                      </p:childTnLst>
                    </p:cTn>
                  </p:par>
                  <p:par>
                    <p:cTn id="52" fill="hold">
                      <p:stCondLst>
                        <p:cond delay="indefinite"/>
                      </p:stCondLst>
                      <p:childTnLst>
                        <p:par>
                          <p:cTn id="53" fill="hold">
                            <p:stCondLst>
                              <p:cond delay="0"/>
                            </p:stCondLst>
                            <p:childTnLst>
                              <p:par>
                                <p:cTn id="54" presetID="10" presetClass="entr" presetSubtype="0" fill="hold" nodeType="clickEffect">
                                  <p:stCondLst>
                                    <p:cond delay="0"/>
                                  </p:stCondLst>
                                  <p:childTnLst>
                                    <p:set>
                                      <p:cBhvr>
                                        <p:cTn id="55" dur="1" fill="hold">
                                          <p:stCondLst>
                                            <p:cond delay="0"/>
                                          </p:stCondLst>
                                        </p:cTn>
                                        <p:tgtEl>
                                          <p:spTgt spid="15"/>
                                        </p:tgtEl>
                                        <p:attrNameLst>
                                          <p:attrName>style.visibility</p:attrName>
                                        </p:attrNameLst>
                                      </p:cBhvr>
                                      <p:to>
                                        <p:strVal val="visible"/>
                                      </p:to>
                                    </p:set>
                                    <p:animEffect transition="in" filter="fade">
                                      <p:cBhvr>
                                        <p:cTn id="56" dur="500"/>
                                        <p:tgtEl>
                                          <p:spTgt spid="15"/>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nodeType="clickEffect">
                                  <p:stCondLst>
                                    <p:cond delay="0"/>
                                  </p:stCondLst>
                                  <p:childTnLst>
                                    <p:set>
                                      <p:cBhvr>
                                        <p:cTn id="60" dur="1" fill="hold">
                                          <p:stCondLst>
                                            <p:cond delay="0"/>
                                          </p:stCondLst>
                                        </p:cTn>
                                        <p:tgtEl>
                                          <p:spTgt spid="17"/>
                                        </p:tgtEl>
                                        <p:attrNameLst>
                                          <p:attrName>style.visibility</p:attrName>
                                        </p:attrNameLst>
                                      </p:cBhvr>
                                      <p:to>
                                        <p:strVal val="visible"/>
                                      </p:to>
                                    </p:set>
                                    <p:animEffect transition="in" filter="fade">
                                      <p:cBhvr>
                                        <p:cTn id="61"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71" grpId="0"/>
      <p:bldP spid="72" grpId="0"/>
      <p:bldP spid="73"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8834EB-0F72-4CF7-AAF6-26CA5113B694}"/>
              </a:ext>
            </a:extLst>
          </p:cNvPr>
          <p:cNvSpPr>
            <a:spLocks noGrp="1"/>
          </p:cNvSpPr>
          <p:nvPr>
            <p:ph type="title"/>
          </p:nvPr>
        </p:nvSpPr>
        <p:spPr/>
        <p:txBody>
          <a:bodyPr/>
          <a:lstStyle/>
          <a:p>
            <a:r>
              <a:rPr lang="en-US" dirty="0"/>
              <a:t>microServiceBus Architecture (node.js)</a:t>
            </a:r>
            <a:endParaRPr lang="sv-SE" dirty="0"/>
          </a:p>
        </p:txBody>
      </p:sp>
      <p:sp>
        <p:nvSpPr>
          <p:cNvPr id="44" name="Field gateway">
            <a:extLst>
              <a:ext uri="{FF2B5EF4-FFF2-40B4-BE49-F238E27FC236}">
                <a16:creationId xmlns:a16="http://schemas.microsoft.com/office/drawing/2014/main" id="{EB90192F-E37F-4499-B764-8A14B80208BC}"/>
              </a:ext>
            </a:extLst>
          </p:cNvPr>
          <p:cNvSpPr/>
          <p:nvPr/>
        </p:nvSpPr>
        <p:spPr>
          <a:xfrm>
            <a:off x="5607700" y="1218966"/>
            <a:ext cx="4533900" cy="5273909"/>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Field Gateway</a:t>
            </a:r>
          </a:p>
        </p:txBody>
      </p:sp>
      <p:pic>
        <p:nvPicPr>
          <p:cNvPr id="45" name="Picture 44">
            <a:extLst>
              <a:ext uri="{FF2B5EF4-FFF2-40B4-BE49-F238E27FC236}">
                <a16:creationId xmlns:a16="http://schemas.microsoft.com/office/drawing/2014/main" id="{392A5AE6-8CEF-4832-A6C2-5CB3813E6424}"/>
              </a:ext>
            </a:extLst>
          </p:cNvPr>
          <p:cNvPicPr>
            <a:picLocks noChangeAspect="1"/>
          </p:cNvPicPr>
          <p:nvPr/>
        </p:nvPicPr>
        <p:blipFill>
          <a:blip r:embed="rId2"/>
          <a:stretch>
            <a:fillRect/>
          </a:stretch>
        </p:blipFill>
        <p:spPr>
          <a:xfrm>
            <a:off x="9292228" y="1374057"/>
            <a:ext cx="707143" cy="507536"/>
          </a:xfrm>
          <a:prstGeom prst="rect">
            <a:avLst/>
          </a:prstGeom>
        </p:spPr>
      </p:pic>
      <p:sp>
        <p:nvSpPr>
          <p:cNvPr id="46" name="Field gateway">
            <a:extLst>
              <a:ext uri="{FF2B5EF4-FFF2-40B4-BE49-F238E27FC236}">
                <a16:creationId xmlns:a16="http://schemas.microsoft.com/office/drawing/2014/main" id="{4CCE312E-FAE6-460C-867A-8F73C6F93D1A}"/>
              </a:ext>
            </a:extLst>
          </p:cNvPr>
          <p:cNvSpPr/>
          <p:nvPr/>
        </p:nvSpPr>
        <p:spPr>
          <a:xfrm>
            <a:off x="5760100" y="5317431"/>
            <a:ext cx="4223493" cy="717457"/>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7" name="Field gateway">
            <a:extLst>
              <a:ext uri="{FF2B5EF4-FFF2-40B4-BE49-F238E27FC236}">
                <a16:creationId xmlns:a16="http://schemas.microsoft.com/office/drawing/2014/main" id="{1707BF4A-5AD2-46AA-9A33-5B5DAB0D0957}"/>
              </a:ext>
            </a:extLst>
          </p:cNvPr>
          <p:cNvSpPr/>
          <p:nvPr/>
        </p:nvSpPr>
        <p:spPr>
          <a:xfrm>
            <a:off x="5760099" y="4531030"/>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8" name="Field gateway">
            <a:extLst>
              <a:ext uri="{FF2B5EF4-FFF2-40B4-BE49-F238E27FC236}">
                <a16:creationId xmlns:a16="http://schemas.microsoft.com/office/drawing/2014/main" id="{6907133F-0BE3-4B2D-BC56-FB0E33FE992F}"/>
              </a:ext>
            </a:extLst>
          </p:cNvPr>
          <p:cNvSpPr/>
          <p:nvPr/>
        </p:nvSpPr>
        <p:spPr>
          <a:xfrm>
            <a:off x="5760098" y="3744266"/>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9" name="Field gateway">
            <a:extLst>
              <a:ext uri="{FF2B5EF4-FFF2-40B4-BE49-F238E27FC236}">
                <a16:creationId xmlns:a16="http://schemas.microsoft.com/office/drawing/2014/main" id="{6750EFBE-EDB2-44FD-926D-C4B1BC177089}"/>
              </a:ext>
            </a:extLst>
          </p:cNvPr>
          <p:cNvSpPr/>
          <p:nvPr/>
        </p:nvSpPr>
        <p:spPr>
          <a:xfrm>
            <a:off x="5760097" y="2278313"/>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50" name="Field gateway">
            <a:extLst>
              <a:ext uri="{FF2B5EF4-FFF2-40B4-BE49-F238E27FC236}">
                <a16:creationId xmlns:a16="http://schemas.microsoft.com/office/drawing/2014/main" id="{CED4D467-9598-4B17-8D74-6C7A6E71B798}"/>
              </a:ext>
            </a:extLst>
          </p:cNvPr>
          <p:cNvSpPr/>
          <p:nvPr/>
        </p:nvSpPr>
        <p:spPr>
          <a:xfrm>
            <a:off x="7193609" y="2270334"/>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51" name="Field gateway">
            <a:extLst>
              <a:ext uri="{FF2B5EF4-FFF2-40B4-BE49-F238E27FC236}">
                <a16:creationId xmlns:a16="http://schemas.microsoft.com/office/drawing/2014/main" id="{91A1BC6C-67A2-45BD-8F94-BA00D826D1C7}"/>
              </a:ext>
            </a:extLst>
          </p:cNvPr>
          <p:cNvSpPr/>
          <p:nvPr/>
        </p:nvSpPr>
        <p:spPr>
          <a:xfrm>
            <a:off x="8617596" y="2262355"/>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grpSp>
        <p:nvGrpSpPr>
          <p:cNvPr id="52" name="Group 51">
            <a:extLst>
              <a:ext uri="{FF2B5EF4-FFF2-40B4-BE49-F238E27FC236}">
                <a16:creationId xmlns:a16="http://schemas.microsoft.com/office/drawing/2014/main" id="{EA72C5B9-3397-4F89-B7D4-327A6385D0D9}"/>
              </a:ext>
            </a:extLst>
          </p:cNvPr>
          <p:cNvGrpSpPr/>
          <p:nvPr/>
        </p:nvGrpSpPr>
        <p:grpSpPr>
          <a:xfrm>
            <a:off x="5758454" y="5321591"/>
            <a:ext cx="4223494" cy="717457"/>
            <a:chOff x="3952874" y="5097567"/>
            <a:chExt cx="4223494" cy="892872"/>
          </a:xfrm>
        </p:grpSpPr>
        <p:sp>
          <p:nvSpPr>
            <p:cNvPr id="53" name="Field gateway">
              <a:extLst>
                <a:ext uri="{FF2B5EF4-FFF2-40B4-BE49-F238E27FC236}">
                  <a16:creationId xmlns:a16="http://schemas.microsoft.com/office/drawing/2014/main" id="{8427E38C-0598-4C11-A85F-3E427A94BD26}"/>
                </a:ext>
              </a:extLst>
            </p:cNvPr>
            <p:cNvSpPr/>
            <p:nvPr/>
          </p:nvSpPr>
          <p:spPr>
            <a:xfrm>
              <a:off x="3952875" y="5097567"/>
              <a:ext cx="4223493" cy="892872"/>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Operating system</a:t>
              </a:r>
            </a:p>
          </p:txBody>
        </p:sp>
        <p:sp>
          <p:nvSpPr>
            <p:cNvPr id="54" name="TextBox 53">
              <a:extLst>
                <a:ext uri="{FF2B5EF4-FFF2-40B4-BE49-F238E27FC236}">
                  <a16:creationId xmlns:a16="http://schemas.microsoft.com/office/drawing/2014/main" id="{B936DE14-3482-4AC7-A33E-B40FAAC99F7E}"/>
                </a:ext>
              </a:extLst>
            </p:cNvPr>
            <p:cNvSpPr txBox="1"/>
            <p:nvPr/>
          </p:nvSpPr>
          <p:spPr>
            <a:xfrm>
              <a:off x="3952874" y="5199865"/>
              <a:ext cx="4223493" cy="677958"/>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Linux</a:t>
              </a:r>
            </a:p>
          </p:txBody>
        </p:sp>
      </p:grpSp>
      <p:grpSp>
        <p:nvGrpSpPr>
          <p:cNvPr id="55" name="Group 54">
            <a:extLst>
              <a:ext uri="{FF2B5EF4-FFF2-40B4-BE49-F238E27FC236}">
                <a16:creationId xmlns:a16="http://schemas.microsoft.com/office/drawing/2014/main" id="{FBF61404-7B6B-4655-8B41-EE2DAED4AEEC}"/>
              </a:ext>
            </a:extLst>
          </p:cNvPr>
          <p:cNvGrpSpPr/>
          <p:nvPr/>
        </p:nvGrpSpPr>
        <p:grpSpPr>
          <a:xfrm>
            <a:off x="5758453" y="4535190"/>
            <a:ext cx="4223494" cy="718936"/>
            <a:chOff x="3952873" y="4097443"/>
            <a:chExt cx="4223494" cy="894713"/>
          </a:xfrm>
        </p:grpSpPr>
        <p:sp>
          <p:nvSpPr>
            <p:cNvPr id="56" name="Field gateway">
              <a:extLst>
                <a:ext uri="{FF2B5EF4-FFF2-40B4-BE49-F238E27FC236}">
                  <a16:creationId xmlns:a16="http://schemas.microsoft.com/office/drawing/2014/main" id="{164D67F3-DEA0-4265-8231-625FA27188F0}"/>
                </a:ext>
              </a:extLst>
            </p:cNvPr>
            <p:cNvSpPr/>
            <p:nvPr/>
          </p:nvSpPr>
          <p:spPr>
            <a:xfrm>
              <a:off x="3952874" y="4097443"/>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Platform</a:t>
              </a:r>
            </a:p>
          </p:txBody>
        </p:sp>
        <p:sp>
          <p:nvSpPr>
            <p:cNvPr id="57" name="TextBox 56">
              <a:extLst>
                <a:ext uri="{FF2B5EF4-FFF2-40B4-BE49-F238E27FC236}">
                  <a16:creationId xmlns:a16="http://schemas.microsoft.com/office/drawing/2014/main" id="{4736028D-75AA-4A2E-BDC8-5F5F59B0AF38}"/>
                </a:ext>
              </a:extLst>
            </p:cNvPr>
            <p:cNvSpPr txBox="1"/>
            <p:nvPr/>
          </p:nvSpPr>
          <p:spPr>
            <a:xfrm>
              <a:off x="3952873" y="4201582"/>
              <a:ext cx="4223493" cy="677958"/>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Node.js</a:t>
              </a:r>
            </a:p>
          </p:txBody>
        </p:sp>
      </p:grpSp>
      <p:grpSp>
        <p:nvGrpSpPr>
          <p:cNvPr id="58" name="Group 57">
            <a:extLst>
              <a:ext uri="{FF2B5EF4-FFF2-40B4-BE49-F238E27FC236}">
                <a16:creationId xmlns:a16="http://schemas.microsoft.com/office/drawing/2014/main" id="{E26284AE-2A6A-4C2E-9645-1E50ADA82A7E}"/>
              </a:ext>
            </a:extLst>
          </p:cNvPr>
          <p:cNvGrpSpPr/>
          <p:nvPr/>
        </p:nvGrpSpPr>
        <p:grpSpPr>
          <a:xfrm>
            <a:off x="5758452" y="3748426"/>
            <a:ext cx="4223494" cy="718936"/>
            <a:chOff x="3952872" y="3097319"/>
            <a:chExt cx="4223494" cy="894713"/>
          </a:xfrm>
        </p:grpSpPr>
        <p:sp>
          <p:nvSpPr>
            <p:cNvPr id="59" name="Field gateway">
              <a:extLst>
                <a:ext uri="{FF2B5EF4-FFF2-40B4-BE49-F238E27FC236}">
                  <a16:creationId xmlns:a16="http://schemas.microsoft.com/office/drawing/2014/main" id="{482EDFF9-DD0D-4491-B175-2EC6A60EC332}"/>
                </a:ext>
              </a:extLst>
            </p:cNvPr>
            <p:cNvSpPr/>
            <p:nvPr/>
          </p:nvSpPr>
          <p:spPr>
            <a:xfrm>
              <a:off x="3952873" y="3097319"/>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Agent</a:t>
              </a:r>
            </a:p>
          </p:txBody>
        </p:sp>
        <p:sp>
          <p:nvSpPr>
            <p:cNvPr id="60" name="TextBox 59">
              <a:extLst>
                <a:ext uri="{FF2B5EF4-FFF2-40B4-BE49-F238E27FC236}">
                  <a16:creationId xmlns:a16="http://schemas.microsoft.com/office/drawing/2014/main" id="{165A4525-CC6E-4D85-8E3C-FE1B0E69BDF2}"/>
                </a:ext>
              </a:extLst>
            </p:cNvPr>
            <p:cNvSpPr txBox="1"/>
            <p:nvPr/>
          </p:nvSpPr>
          <p:spPr>
            <a:xfrm>
              <a:off x="3952872" y="3251152"/>
              <a:ext cx="4223493" cy="677958"/>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microServiceBus-</a:t>
              </a:r>
              <a:r>
                <a:rPr kumimoji="0" lang="sv-SE" sz="1800" b="0" i="0" u="none" strike="noStrike" kern="0" cap="none" spc="0" normalizeH="0" baseline="0" noProof="0" dirty="0" err="1">
                  <a:ln>
                    <a:noFill/>
                  </a:ln>
                  <a:gradFill>
                    <a:gsLst>
                      <a:gs pos="2917">
                        <a:prstClr val="white"/>
                      </a:gs>
                      <a:gs pos="30000">
                        <a:prstClr val="white"/>
                      </a:gs>
                    </a:gsLst>
                    <a:lin ang="5400000" scaled="0"/>
                  </a:gradFill>
                  <a:effectLst/>
                  <a:uLnTx/>
                  <a:uFillTx/>
                  <a:latin typeface="Segoe UI"/>
                  <a:ea typeface="+mn-ea"/>
                  <a:cs typeface="+mn-cs"/>
                </a:rPr>
                <a:t>node</a:t>
              </a:r>
              <a:endPar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endParaRPr>
            </a:p>
          </p:txBody>
        </p:sp>
      </p:grpSp>
      <p:sp>
        <p:nvSpPr>
          <p:cNvPr id="61" name="Field gateway">
            <a:extLst>
              <a:ext uri="{FF2B5EF4-FFF2-40B4-BE49-F238E27FC236}">
                <a16:creationId xmlns:a16="http://schemas.microsoft.com/office/drawing/2014/main" id="{CF208683-6239-46AC-9F4D-B101F1D713D2}"/>
              </a:ext>
            </a:extLst>
          </p:cNvPr>
          <p:cNvSpPr/>
          <p:nvPr/>
        </p:nvSpPr>
        <p:spPr>
          <a:xfrm>
            <a:off x="5758452" y="2282473"/>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Service</a:t>
            </a:r>
          </a:p>
        </p:txBody>
      </p:sp>
      <p:sp>
        <p:nvSpPr>
          <p:cNvPr id="62" name="Field gateway">
            <a:extLst>
              <a:ext uri="{FF2B5EF4-FFF2-40B4-BE49-F238E27FC236}">
                <a16:creationId xmlns:a16="http://schemas.microsoft.com/office/drawing/2014/main" id="{485D8DD9-F5D3-4C91-81AC-ACDBCF7143B2}"/>
              </a:ext>
            </a:extLst>
          </p:cNvPr>
          <p:cNvSpPr/>
          <p:nvPr/>
        </p:nvSpPr>
        <p:spPr>
          <a:xfrm>
            <a:off x="7191964" y="2274494"/>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lvl="0" defTabSz="895747" fontAlgn="base">
              <a:lnSpc>
                <a:spcPct val="90000"/>
              </a:lnSpc>
              <a:spcBef>
                <a:spcPct val="0"/>
              </a:spcBef>
              <a:defRPr/>
            </a:pPr>
            <a:r>
              <a:rPr lang="en-US" sz="1078" kern="0" dirty="0">
                <a:solidFill>
                  <a:prstClr val="white"/>
                </a:solidFill>
                <a:latin typeface="Segoe UI Semibold" panose="020B0702040204020203" pitchFamily="34" charset="0"/>
                <a:ea typeface="Segoe UI" pitchFamily="34" charset="0"/>
                <a:cs typeface="Segoe UI" pitchFamily="34" charset="0"/>
              </a:rPr>
              <a:t>Service</a:t>
            </a: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63" name="Field gateway">
            <a:extLst>
              <a:ext uri="{FF2B5EF4-FFF2-40B4-BE49-F238E27FC236}">
                <a16:creationId xmlns:a16="http://schemas.microsoft.com/office/drawing/2014/main" id="{27AA2FE7-DED7-4192-9BA1-81C9D87713A9}"/>
              </a:ext>
            </a:extLst>
          </p:cNvPr>
          <p:cNvSpPr/>
          <p:nvPr/>
        </p:nvSpPr>
        <p:spPr>
          <a:xfrm>
            <a:off x="8615951" y="2266515"/>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lvl="0" defTabSz="895747" fontAlgn="base">
              <a:lnSpc>
                <a:spcPct val="90000"/>
              </a:lnSpc>
              <a:spcBef>
                <a:spcPct val="0"/>
              </a:spcBef>
              <a:defRPr/>
            </a:pPr>
            <a:r>
              <a:rPr lang="en-US" sz="1078" kern="0" dirty="0">
                <a:solidFill>
                  <a:prstClr val="white"/>
                </a:solidFill>
                <a:latin typeface="Segoe UI Semibold" panose="020B0702040204020203" pitchFamily="34" charset="0"/>
                <a:ea typeface="Segoe UI" pitchFamily="34" charset="0"/>
                <a:cs typeface="Segoe UI" pitchFamily="34" charset="0"/>
              </a:rPr>
              <a:t>Service</a:t>
            </a: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28" name="Field gateway">
            <a:extLst>
              <a:ext uri="{FF2B5EF4-FFF2-40B4-BE49-F238E27FC236}">
                <a16:creationId xmlns:a16="http://schemas.microsoft.com/office/drawing/2014/main" id="{12972ACF-C06F-4DF1-84F2-80CC4DA4F34F}"/>
              </a:ext>
            </a:extLst>
          </p:cNvPr>
          <p:cNvSpPr/>
          <p:nvPr/>
        </p:nvSpPr>
        <p:spPr>
          <a:xfrm>
            <a:off x="5758452" y="2957439"/>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grpSp>
        <p:nvGrpSpPr>
          <p:cNvPr id="29" name="Group 28">
            <a:extLst>
              <a:ext uri="{FF2B5EF4-FFF2-40B4-BE49-F238E27FC236}">
                <a16:creationId xmlns:a16="http://schemas.microsoft.com/office/drawing/2014/main" id="{69DCCDF6-67FB-4DAD-BFBA-E809604C9CD6}"/>
              </a:ext>
            </a:extLst>
          </p:cNvPr>
          <p:cNvGrpSpPr/>
          <p:nvPr/>
        </p:nvGrpSpPr>
        <p:grpSpPr>
          <a:xfrm>
            <a:off x="5756806" y="2961599"/>
            <a:ext cx="4223494" cy="718936"/>
            <a:chOff x="3952872" y="3097319"/>
            <a:chExt cx="4223494" cy="894713"/>
          </a:xfrm>
        </p:grpSpPr>
        <p:sp>
          <p:nvSpPr>
            <p:cNvPr id="30" name="Field gateway">
              <a:extLst>
                <a:ext uri="{FF2B5EF4-FFF2-40B4-BE49-F238E27FC236}">
                  <a16:creationId xmlns:a16="http://schemas.microsoft.com/office/drawing/2014/main" id="{6707631C-ADD7-4AFC-8D5F-49091366BF9F}"/>
                </a:ext>
              </a:extLst>
            </p:cNvPr>
            <p:cNvSpPr/>
            <p:nvPr/>
          </p:nvSpPr>
          <p:spPr>
            <a:xfrm>
              <a:off x="3952873" y="3097319"/>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Agent</a:t>
              </a:r>
            </a:p>
          </p:txBody>
        </p:sp>
        <p:sp>
          <p:nvSpPr>
            <p:cNvPr id="31" name="TextBox 30">
              <a:extLst>
                <a:ext uri="{FF2B5EF4-FFF2-40B4-BE49-F238E27FC236}">
                  <a16:creationId xmlns:a16="http://schemas.microsoft.com/office/drawing/2014/main" id="{ABE185E2-6A6A-4937-B17A-D881D232E79E}"/>
                </a:ext>
              </a:extLst>
            </p:cNvPr>
            <p:cNvSpPr txBox="1"/>
            <p:nvPr/>
          </p:nvSpPr>
          <p:spPr>
            <a:xfrm>
              <a:off x="3952872" y="3251152"/>
              <a:ext cx="4223493" cy="677958"/>
            </a:xfrm>
            <a:prstGeom prst="rect">
              <a:avLst/>
            </a:prstGeom>
            <a:noFill/>
          </p:spPr>
          <p:txBody>
            <a:bodyPr wrap="square" lIns="182880" tIns="146304" rIns="182880" bIns="146304" rtlCol="0">
              <a:spAutoFit/>
            </a:bodyPr>
            <a:lstStyle/>
            <a:p>
              <a:pPr lvl="0" algn="ctr">
                <a:lnSpc>
                  <a:spcPct val="90000"/>
                </a:lnSpc>
                <a:spcAft>
                  <a:spcPts val="600"/>
                </a:spcAft>
                <a:defRPr/>
              </a:pPr>
              <a:r>
                <a:rPr lang="sv-SE" kern="0" dirty="0">
                  <a:gradFill>
                    <a:gsLst>
                      <a:gs pos="2917">
                        <a:prstClr val="white"/>
                      </a:gs>
                      <a:gs pos="30000">
                        <a:prstClr val="white"/>
                      </a:gs>
                    </a:gsLst>
                    <a:lin ang="5400000" scaled="0"/>
                  </a:gradFill>
                  <a:latin typeface="Segoe UI"/>
                </a:rPr>
                <a:t>microServiceBus-</a:t>
              </a:r>
              <a:r>
                <a:rPr lang="sv-SE" kern="0" dirty="0" err="1">
                  <a:gradFill>
                    <a:gsLst>
                      <a:gs pos="2917">
                        <a:prstClr val="white"/>
                      </a:gs>
                      <a:gs pos="30000">
                        <a:prstClr val="white"/>
                      </a:gs>
                    </a:gsLst>
                    <a:lin ang="5400000" scaled="0"/>
                  </a:gradFill>
                  <a:latin typeface="Segoe UI"/>
                </a:rPr>
                <a:t>core</a:t>
              </a:r>
              <a:endParaRPr lang="sv-SE" kern="0" dirty="0">
                <a:gradFill>
                  <a:gsLst>
                    <a:gs pos="2917">
                      <a:prstClr val="white"/>
                    </a:gs>
                    <a:gs pos="30000">
                      <a:prstClr val="white"/>
                    </a:gs>
                  </a:gsLst>
                  <a:lin ang="5400000" scaled="0"/>
                </a:gradFill>
                <a:latin typeface="Segoe UI"/>
              </a:endParaRPr>
            </a:p>
          </p:txBody>
        </p:sp>
      </p:grpSp>
      <p:sp>
        <p:nvSpPr>
          <p:cNvPr id="3" name="TextBox 2">
            <a:extLst>
              <a:ext uri="{FF2B5EF4-FFF2-40B4-BE49-F238E27FC236}">
                <a16:creationId xmlns:a16="http://schemas.microsoft.com/office/drawing/2014/main" id="{B5F6362F-0508-45CB-B506-1F99032E8890}"/>
              </a:ext>
            </a:extLst>
          </p:cNvPr>
          <p:cNvSpPr txBox="1"/>
          <p:nvPr/>
        </p:nvSpPr>
        <p:spPr>
          <a:xfrm>
            <a:off x="314325" y="3780568"/>
            <a:ext cx="4647426" cy="646331"/>
          </a:xfrm>
          <a:prstGeom prst="rect">
            <a:avLst/>
          </a:prstGeom>
          <a:noFill/>
        </p:spPr>
        <p:txBody>
          <a:bodyPr wrap="none" rtlCol="0">
            <a:spAutoFit/>
          </a:bodyPr>
          <a:lstStyle/>
          <a:p>
            <a:r>
              <a:rPr lang="en-US" dirty="0">
                <a:solidFill>
                  <a:schemeClr val="bg1"/>
                </a:solidFill>
                <a:latin typeface="Segoe UI Light" panose="020B0502040204020203" pitchFamily="34" charset="0"/>
                <a:cs typeface="Segoe UI Light" panose="020B0502040204020203" pitchFamily="34" charset="0"/>
              </a:rPr>
              <a:t>Responsible</a:t>
            </a:r>
            <a:r>
              <a:rPr lang="sv-SE" dirty="0">
                <a:solidFill>
                  <a:schemeClr val="bg1"/>
                </a:solidFill>
                <a:latin typeface="Segoe UI Light" panose="020B0502040204020203" pitchFamily="34" charset="0"/>
                <a:cs typeface="Segoe UI Light" panose="020B0502040204020203" pitchFamily="34" charset="0"/>
              </a:rPr>
              <a:t> for </a:t>
            </a:r>
            <a:r>
              <a:rPr lang="en-US" dirty="0">
                <a:solidFill>
                  <a:schemeClr val="bg1"/>
                </a:solidFill>
                <a:latin typeface="Segoe UI Light" panose="020B0502040204020203" pitchFamily="34" charset="0"/>
                <a:cs typeface="Segoe UI Light" panose="020B0502040204020203" pitchFamily="34" charset="0"/>
              </a:rPr>
              <a:t>communication with </a:t>
            </a:r>
            <a:r>
              <a:rPr lang="sv-SE" dirty="0">
                <a:solidFill>
                  <a:schemeClr val="bg1"/>
                </a:solidFill>
                <a:latin typeface="Segoe UI Light" panose="020B0502040204020203" pitchFamily="34" charset="0"/>
                <a:cs typeface="Segoe UI Light" panose="020B0502040204020203" pitchFamily="34" charset="0"/>
              </a:rPr>
              <a:t>mSB.com</a:t>
            </a:r>
            <a:endParaRPr lang="en-US" dirty="0">
              <a:solidFill>
                <a:schemeClr val="bg1"/>
              </a:solidFill>
              <a:latin typeface="Segoe UI Light" panose="020B0502040204020203" pitchFamily="34" charset="0"/>
              <a:cs typeface="Segoe UI Light" panose="020B0502040204020203" pitchFamily="34" charset="0"/>
            </a:endParaRPr>
          </a:p>
          <a:p>
            <a:r>
              <a:rPr lang="en-US" b="1" dirty="0">
                <a:solidFill>
                  <a:srgbClr val="00B050"/>
                </a:solidFill>
                <a:latin typeface="Segoe UI Light" panose="020B0502040204020203" pitchFamily="34" charset="0"/>
                <a:cs typeface="Segoe UI Light" panose="020B0502040204020203" pitchFamily="34" charset="0"/>
              </a:rPr>
              <a:t>Rarely updates </a:t>
            </a:r>
            <a:r>
              <a:rPr lang="en-US" dirty="0">
                <a:solidFill>
                  <a:schemeClr val="bg1"/>
                </a:solidFill>
                <a:latin typeface="Segoe UI Light" panose="020B0502040204020203" pitchFamily="34" charset="0"/>
                <a:cs typeface="Segoe UI Light" panose="020B0502040204020203" pitchFamily="34" charset="0"/>
              </a:rPr>
              <a:t>(once or twice a year)</a:t>
            </a:r>
          </a:p>
        </p:txBody>
      </p:sp>
      <p:sp>
        <p:nvSpPr>
          <p:cNvPr id="34" name="TextBox 33">
            <a:extLst>
              <a:ext uri="{FF2B5EF4-FFF2-40B4-BE49-F238E27FC236}">
                <a16:creationId xmlns:a16="http://schemas.microsoft.com/office/drawing/2014/main" id="{4FDB1F98-D83E-4707-89B6-9A3CEF536A4C}"/>
              </a:ext>
            </a:extLst>
          </p:cNvPr>
          <p:cNvSpPr txBox="1"/>
          <p:nvPr/>
        </p:nvSpPr>
        <p:spPr>
          <a:xfrm>
            <a:off x="307817" y="2259071"/>
            <a:ext cx="4067780" cy="646331"/>
          </a:xfrm>
          <a:prstGeom prst="rect">
            <a:avLst/>
          </a:prstGeom>
          <a:noFill/>
        </p:spPr>
        <p:txBody>
          <a:bodyPr wrap="none" rtlCol="0">
            <a:spAutoFit/>
          </a:bodyPr>
          <a:lstStyle/>
          <a:p>
            <a:r>
              <a:rPr lang="en-US" dirty="0">
                <a:solidFill>
                  <a:schemeClr val="bg1"/>
                </a:solidFill>
                <a:latin typeface="Segoe UI Light" panose="020B0502040204020203" pitchFamily="34" charset="0"/>
                <a:cs typeface="Segoe UI Light" panose="020B0502040204020203" pitchFamily="34" charset="0"/>
              </a:rPr>
              <a:t>Interacting with </a:t>
            </a:r>
            <a:r>
              <a:rPr lang="sv-SE" dirty="0">
                <a:solidFill>
                  <a:schemeClr val="bg1"/>
                </a:solidFill>
                <a:latin typeface="Segoe UI Light" panose="020B0502040204020203" pitchFamily="34" charset="0"/>
                <a:cs typeface="Segoe UI Light" panose="020B0502040204020203" pitchFamily="34" charset="0"/>
              </a:rPr>
              <a:t>sensors &amp; business </a:t>
            </a:r>
            <a:r>
              <a:rPr lang="sv-SE" dirty="0" err="1">
                <a:solidFill>
                  <a:schemeClr val="bg1"/>
                </a:solidFill>
                <a:latin typeface="Segoe UI Light" panose="020B0502040204020203" pitchFamily="34" charset="0"/>
                <a:cs typeface="Segoe UI Light" panose="020B0502040204020203" pitchFamily="34" charset="0"/>
              </a:rPr>
              <a:t>logic</a:t>
            </a:r>
            <a:endParaRPr lang="en-US" dirty="0">
              <a:solidFill>
                <a:schemeClr val="bg1"/>
              </a:solidFill>
              <a:latin typeface="Segoe UI Light" panose="020B0502040204020203" pitchFamily="34" charset="0"/>
              <a:cs typeface="Segoe UI Light" panose="020B0502040204020203" pitchFamily="34" charset="0"/>
            </a:endParaRPr>
          </a:p>
          <a:p>
            <a:r>
              <a:rPr lang="en-US" b="1" dirty="0">
                <a:solidFill>
                  <a:srgbClr val="FF0000"/>
                </a:solidFill>
                <a:latin typeface="Segoe UI Light" panose="020B0502040204020203" pitchFamily="34" charset="0"/>
                <a:cs typeface="Segoe UI Light" panose="020B0502040204020203" pitchFamily="34" charset="0"/>
              </a:rPr>
              <a:t>Frequently</a:t>
            </a:r>
            <a:r>
              <a:rPr lang="en-US" dirty="0">
                <a:solidFill>
                  <a:schemeClr val="bg1"/>
                </a:solidFill>
                <a:latin typeface="Segoe UI Light" panose="020B0502040204020203" pitchFamily="34" charset="0"/>
                <a:cs typeface="Segoe UI Light" panose="020B0502040204020203" pitchFamily="34" charset="0"/>
              </a:rPr>
              <a:t> </a:t>
            </a:r>
            <a:r>
              <a:rPr lang="en-US" dirty="0">
                <a:solidFill>
                  <a:srgbClr val="FF0000"/>
                </a:solidFill>
                <a:latin typeface="Segoe UI Light" panose="020B0502040204020203" pitchFamily="34" charset="0"/>
                <a:cs typeface="Segoe UI Light" panose="020B0502040204020203" pitchFamily="34" charset="0"/>
              </a:rPr>
              <a:t>updates</a:t>
            </a:r>
            <a:r>
              <a:rPr lang="en-US" dirty="0">
                <a:solidFill>
                  <a:schemeClr val="bg1"/>
                </a:solidFill>
                <a:latin typeface="Segoe UI Light" panose="020B0502040204020203" pitchFamily="34" charset="0"/>
                <a:cs typeface="Segoe UI Light" panose="020B0502040204020203" pitchFamily="34" charset="0"/>
              </a:rPr>
              <a:t> (weekly)</a:t>
            </a:r>
          </a:p>
        </p:txBody>
      </p:sp>
      <p:grpSp>
        <p:nvGrpSpPr>
          <p:cNvPr id="7" name="Group 6">
            <a:extLst>
              <a:ext uri="{FF2B5EF4-FFF2-40B4-BE49-F238E27FC236}">
                <a16:creationId xmlns:a16="http://schemas.microsoft.com/office/drawing/2014/main" id="{3922FF47-691D-4CA1-8D81-A9CA5C2C2325}"/>
              </a:ext>
            </a:extLst>
          </p:cNvPr>
          <p:cNvGrpSpPr/>
          <p:nvPr/>
        </p:nvGrpSpPr>
        <p:grpSpPr>
          <a:xfrm>
            <a:off x="307817" y="2942287"/>
            <a:ext cx="5133296" cy="785886"/>
            <a:chOff x="307817" y="2942287"/>
            <a:chExt cx="5133296" cy="785886"/>
          </a:xfrm>
        </p:grpSpPr>
        <p:sp>
          <p:nvSpPr>
            <p:cNvPr id="33" name="TextBox 32">
              <a:extLst>
                <a:ext uri="{FF2B5EF4-FFF2-40B4-BE49-F238E27FC236}">
                  <a16:creationId xmlns:a16="http://schemas.microsoft.com/office/drawing/2014/main" id="{BB791236-12DD-4802-8B3E-D7CE84EFDC33}"/>
                </a:ext>
              </a:extLst>
            </p:cNvPr>
            <p:cNvSpPr txBox="1"/>
            <p:nvPr/>
          </p:nvSpPr>
          <p:spPr>
            <a:xfrm>
              <a:off x="314325" y="3002694"/>
              <a:ext cx="5126788" cy="646331"/>
            </a:xfrm>
            <a:prstGeom prst="rect">
              <a:avLst/>
            </a:prstGeom>
            <a:noFill/>
          </p:spPr>
          <p:txBody>
            <a:bodyPr wrap="none" rtlCol="0">
              <a:spAutoFit/>
            </a:bodyPr>
            <a:lstStyle/>
            <a:p>
              <a:r>
                <a:rPr lang="en-US" dirty="0">
                  <a:solidFill>
                    <a:schemeClr val="bg1"/>
                  </a:solidFill>
                  <a:latin typeface="Segoe UI Light" panose="020B0502040204020203" pitchFamily="34" charset="0"/>
                  <a:cs typeface="Segoe UI Light" panose="020B0502040204020203" pitchFamily="34" charset="0"/>
                </a:rPr>
                <a:t>Responsible</a:t>
              </a:r>
              <a:r>
                <a:rPr lang="sv-SE" dirty="0">
                  <a:solidFill>
                    <a:schemeClr val="bg1"/>
                  </a:solidFill>
                  <a:latin typeface="Segoe UI Light" panose="020B0502040204020203" pitchFamily="34" charset="0"/>
                  <a:cs typeface="Segoe UI Light" panose="020B0502040204020203" pitchFamily="34" charset="0"/>
                </a:rPr>
                <a:t> for IoT </a:t>
              </a:r>
              <a:r>
                <a:rPr lang="sv-SE" dirty="0" err="1">
                  <a:solidFill>
                    <a:schemeClr val="bg1"/>
                  </a:solidFill>
                  <a:latin typeface="Segoe UI Light" panose="020B0502040204020203" pitchFamily="34" charset="0"/>
                  <a:cs typeface="Segoe UI Light" panose="020B0502040204020203" pitchFamily="34" charset="0"/>
                </a:rPr>
                <a:t>Hub</a:t>
              </a:r>
              <a:r>
                <a:rPr lang="sv-SE" dirty="0">
                  <a:solidFill>
                    <a:schemeClr val="bg1"/>
                  </a:solidFill>
                  <a:latin typeface="Segoe UI Light" panose="020B0502040204020203" pitchFamily="34" charset="0"/>
                  <a:cs typeface="Segoe UI Light" panose="020B0502040204020203" pitchFamily="34" charset="0"/>
                </a:rPr>
                <a:t> &amp; </a:t>
              </a:r>
              <a:r>
                <a:rPr lang="en-US" dirty="0">
                  <a:solidFill>
                    <a:schemeClr val="bg1"/>
                  </a:solidFill>
                  <a:latin typeface="Segoe UI Light" panose="020B0502040204020203" pitchFamily="34" charset="0"/>
                  <a:cs typeface="Segoe UI Light" panose="020B0502040204020203" pitchFamily="34" charset="0"/>
                </a:rPr>
                <a:t>orchestration</a:t>
              </a:r>
              <a:r>
                <a:rPr lang="sv-SE" dirty="0">
                  <a:solidFill>
                    <a:schemeClr val="bg1"/>
                  </a:solidFill>
                  <a:latin typeface="Segoe UI Light" panose="020B0502040204020203" pitchFamily="34" charset="0"/>
                  <a:cs typeface="Segoe UI Light" panose="020B0502040204020203" pitchFamily="34" charset="0"/>
                </a:rPr>
                <a:t> </a:t>
              </a:r>
              <a:r>
                <a:rPr lang="sv-SE" dirty="0" err="1">
                  <a:solidFill>
                    <a:schemeClr val="bg1"/>
                  </a:solidFill>
                  <a:latin typeface="Segoe UI Light" panose="020B0502040204020203" pitchFamily="34" charset="0"/>
                  <a:cs typeface="Segoe UI Light" panose="020B0502040204020203" pitchFamily="34" charset="0"/>
                </a:rPr>
                <a:t>of</a:t>
              </a:r>
              <a:r>
                <a:rPr lang="sv-SE" dirty="0">
                  <a:solidFill>
                    <a:schemeClr val="bg1"/>
                  </a:solidFill>
                  <a:latin typeface="Segoe UI Light" panose="020B0502040204020203" pitchFamily="34" charset="0"/>
                  <a:cs typeface="Segoe UI Light" panose="020B0502040204020203" pitchFamily="34" charset="0"/>
                </a:rPr>
                <a:t> services</a:t>
              </a:r>
              <a:endParaRPr lang="en-US" dirty="0">
                <a:solidFill>
                  <a:schemeClr val="bg1"/>
                </a:solidFill>
                <a:latin typeface="Segoe UI Light" panose="020B0502040204020203" pitchFamily="34" charset="0"/>
                <a:cs typeface="Segoe UI Light" panose="020B0502040204020203" pitchFamily="34" charset="0"/>
              </a:endParaRPr>
            </a:p>
            <a:p>
              <a:r>
                <a:rPr lang="en-US" b="1" dirty="0">
                  <a:solidFill>
                    <a:srgbClr val="FFFF00"/>
                  </a:solidFill>
                  <a:latin typeface="Segoe UI Light" panose="020B0502040204020203" pitchFamily="34" charset="0"/>
                  <a:cs typeface="Segoe UI Light" panose="020B0502040204020203" pitchFamily="34" charset="0"/>
                </a:rPr>
                <a:t>Often updates </a:t>
              </a:r>
              <a:r>
                <a:rPr lang="en-US" dirty="0">
                  <a:solidFill>
                    <a:schemeClr val="bg1"/>
                  </a:solidFill>
                  <a:latin typeface="Segoe UI Light" panose="020B0502040204020203" pitchFamily="34" charset="0"/>
                  <a:cs typeface="Segoe UI Light" panose="020B0502040204020203" pitchFamily="34" charset="0"/>
                </a:rPr>
                <a:t>(once or twice a month)</a:t>
              </a:r>
            </a:p>
          </p:txBody>
        </p:sp>
        <p:cxnSp>
          <p:nvCxnSpPr>
            <p:cNvPr id="5" name="Straight Connector 4">
              <a:extLst>
                <a:ext uri="{FF2B5EF4-FFF2-40B4-BE49-F238E27FC236}">
                  <a16:creationId xmlns:a16="http://schemas.microsoft.com/office/drawing/2014/main" id="{472803F0-9D1C-4DAF-8BA8-1462350070E1}"/>
                </a:ext>
              </a:extLst>
            </p:cNvPr>
            <p:cNvCxnSpPr/>
            <p:nvPr/>
          </p:nvCxnSpPr>
          <p:spPr>
            <a:xfrm>
              <a:off x="314325" y="3728173"/>
              <a:ext cx="512678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C123616A-C839-4950-A27F-CD874A2C41B2}"/>
                </a:ext>
              </a:extLst>
            </p:cNvPr>
            <p:cNvCxnSpPr/>
            <p:nvPr/>
          </p:nvCxnSpPr>
          <p:spPr>
            <a:xfrm>
              <a:off x="307817" y="2942287"/>
              <a:ext cx="512678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7853114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2"/>
                                        </p:tgtEl>
                                        <p:attrNameLst>
                                          <p:attrName>style.visibility</p:attrName>
                                        </p:attrNameLst>
                                      </p:cBhvr>
                                      <p:to>
                                        <p:strVal val="visible"/>
                                      </p:to>
                                    </p:set>
                                    <p:animEffect transition="in" filter="fade">
                                      <p:cBhvr>
                                        <p:cTn id="7" dur="500"/>
                                        <p:tgtEl>
                                          <p:spTgt spid="5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5"/>
                                        </p:tgtEl>
                                        <p:attrNameLst>
                                          <p:attrName>style.visibility</p:attrName>
                                        </p:attrNameLst>
                                      </p:cBhvr>
                                      <p:to>
                                        <p:strVal val="visible"/>
                                      </p:to>
                                    </p:set>
                                    <p:animEffect transition="in" filter="fade">
                                      <p:cBhvr>
                                        <p:cTn id="12" dur="500"/>
                                        <p:tgtEl>
                                          <p:spTgt spid="5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8"/>
                                        </p:tgtEl>
                                        <p:attrNameLst>
                                          <p:attrName>style.visibility</p:attrName>
                                        </p:attrNameLst>
                                      </p:cBhvr>
                                      <p:to>
                                        <p:strVal val="visible"/>
                                      </p:to>
                                    </p:set>
                                    <p:animEffect transition="in" filter="fade">
                                      <p:cBhvr>
                                        <p:cTn id="17" dur="500"/>
                                        <p:tgtEl>
                                          <p:spTgt spid="5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9"/>
                                        </p:tgtEl>
                                        <p:attrNameLst>
                                          <p:attrName>style.visibility</p:attrName>
                                        </p:attrNameLst>
                                      </p:cBhvr>
                                      <p:to>
                                        <p:strVal val="visible"/>
                                      </p:to>
                                    </p:set>
                                    <p:animEffect transition="in" filter="fade">
                                      <p:cBhvr>
                                        <p:cTn id="22" dur="500"/>
                                        <p:tgtEl>
                                          <p:spTgt spid="29"/>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61"/>
                                        </p:tgtEl>
                                        <p:attrNameLst>
                                          <p:attrName>style.visibility</p:attrName>
                                        </p:attrNameLst>
                                      </p:cBhvr>
                                      <p:to>
                                        <p:strVal val="visible"/>
                                      </p:to>
                                    </p:set>
                                    <p:animEffect transition="in" filter="fade">
                                      <p:cBhvr>
                                        <p:cTn id="27" dur="500"/>
                                        <p:tgtEl>
                                          <p:spTgt spid="61"/>
                                        </p:tgtEl>
                                      </p:cBhvr>
                                    </p:animEffect>
                                  </p:childTnLst>
                                </p:cTn>
                              </p:par>
                            </p:childTnLst>
                          </p:cTn>
                        </p:par>
                        <p:par>
                          <p:cTn id="28" fill="hold">
                            <p:stCondLst>
                              <p:cond delay="500"/>
                            </p:stCondLst>
                            <p:childTnLst>
                              <p:par>
                                <p:cTn id="29" presetID="10" presetClass="entr" presetSubtype="0" fill="hold" grpId="0" nodeType="afterEffect">
                                  <p:stCondLst>
                                    <p:cond delay="0"/>
                                  </p:stCondLst>
                                  <p:childTnLst>
                                    <p:set>
                                      <p:cBhvr>
                                        <p:cTn id="30" dur="1" fill="hold">
                                          <p:stCondLst>
                                            <p:cond delay="0"/>
                                          </p:stCondLst>
                                        </p:cTn>
                                        <p:tgtEl>
                                          <p:spTgt spid="62"/>
                                        </p:tgtEl>
                                        <p:attrNameLst>
                                          <p:attrName>style.visibility</p:attrName>
                                        </p:attrNameLst>
                                      </p:cBhvr>
                                      <p:to>
                                        <p:strVal val="visible"/>
                                      </p:to>
                                    </p:set>
                                    <p:animEffect transition="in" filter="fade">
                                      <p:cBhvr>
                                        <p:cTn id="31" dur="500"/>
                                        <p:tgtEl>
                                          <p:spTgt spid="62"/>
                                        </p:tgtEl>
                                      </p:cBhvr>
                                    </p:animEffect>
                                  </p:childTnLst>
                                </p:cTn>
                              </p:par>
                            </p:childTnLst>
                          </p:cTn>
                        </p:par>
                        <p:par>
                          <p:cTn id="32" fill="hold">
                            <p:stCondLst>
                              <p:cond delay="1000"/>
                            </p:stCondLst>
                            <p:childTnLst>
                              <p:par>
                                <p:cTn id="33" presetID="10" presetClass="entr" presetSubtype="0" fill="hold" grpId="0" nodeType="afterEffect">
                                  <p:stCondLst>
                                    <p:cond delay="0"/>
                                  </p:stCondLst>
                                  <p:childTnLst>
                                    <p:set>
                                      <p:cBhvr>
                                        <p:cTn id="34" dur="1" fill="hold">
                                          <p:stCondLst>
                                            <p:cond delay="0"/>
                                          </p:stCondLst>
                                        </p:cTn>
                                        <p:tgtEl>
                                          <p:spTgt spid="63"/>
                                        </p:tgtEl>
                                        <p:attrNameLst>
                                          <p:attrName>style.visibility</p:attrName>
                                        </p:attrNameLst>
                                      </p:cBhvr>
                                      <p:to>
                                        <p:strVal val="visible"/>
                                      </p:to>
                                    </p:set>
                                    <p:animEffect transition="in" filter="fade">
                                      <p:cBhvr>
                                        <p:cTn id="35" dur="500"/>
                                        <p:tgtEl>
                                          <p:spTgt spid="63"/>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3"/>
                                        </p:tgtEl>
                                        <p:attrNameLst>
                                          <p:attrName>style.visibility</p:attrName>
                                        </p:attrNameLst>
                                      </p:cBhvr>
                                      <p:to>
                                        <p:strVal val="visible"/>
                                      </p:to>
                                    </p:set>
                                    <p:animEffect transition="in" filter="fade">
                                      <p:cBhvr>
                                        <p:cTn id="40" dur="500"/>
                                        <p:tgtEl>
                                          <p:spTgt spid="3"/>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nodeType="clickEffect">
                                  <p:stCondLst>
                                    <p:cond delay="0"/>
                                  </p:stCondLst>
                                  <p:childTnLst>
                                    <p:set>
                                      <p:cBhvr>
                                        <p:cTn id="44" dur="1" fill="hold">
                                          <p:stCondLst>
                                            <p:cond delay="0"/>
                                          </p:stCondLst>
                                        </p:cTn>
                                        <p:tgtEl>
                                          <p:spTgt spid="7"/>
                                        </p:tgtEl>
                                        <p:attrNameLst>
                                          <p:attrName>style.visibility</p:attrName>
                                        </p:attrNameLst>
                                      </p:cBhvr>
                                      <p:to>
                                        <p:strVal val="visible"/>
                                      </p:to>
                                    </p:set>
                                    <p:animEffect transition="in" filter="fade">
                                      <p:cBhvr>
                                        <p:cTn id="45" dur="500"/>
                                        <p:tgtEl>
                                          <p:spTgt spid="7"/>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grpId="0" nodeType="clickEffect">
                                  <p:stCondLst>
                                    <p:cond delay="0"/>
                                  </p:stCondLst>
                                  <p:childTnLst>
                                    <p:set>
                                      <p:cBhvr>
                                        <p:cTn id="49" dur="1" fill="hold">
                                          <p:stCondLst>
                                            <p:cond delay="0"/>
                                          </p:stCondLst>
                                        </p:cTn>
                                        <p:tgtEl>
                                          <p:spTgt spid="34"/>
                                        </p:tgtEl>
                                        <p:attrNameLst>
                                          <p:attrName>style.visibility</p:attrName>
                                        </p:attrNameLst>
                                      </p:cBhvr>
                                      <p:to>
                                        <p:strVal val="visible"/>
                                      </p:to>
                                    </p:set>
                                    <p:animEffect transition="in" filter="fade">
                                      <p:cBhvr>
                                        <p:cTn id="50"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animBg="1"/>
      <p:bldP spid="62" grpId="0" animBg="1"/>
      <p:bldP spid="63" grpId="0" animBg="1"/>
      <p:bldP spid="3" grpId="0"/>
      <p:bldP spid="34" grpId="0"/>
    </p:bldLst>
  </p:timing>
</p:sld>
</file>

<file path=ppt/tags/tag1.xml><?xml version="1.0" encoding="utf-8"?>
<p:tagLst xmlns:a="http://schemas.openxmlformats.org/drawingml/2006/main" xmlns:r="http://schemas.openxmlformats.org/officeDocument/2006/relationships" xmlns:p="http://schemas.openxmlformats.org/presentationml/2006/main">
  <p:tag name="MT_TILE" val="YES"/>
</p:tagLst>
</file>

<file path=ppt/tags/tag10.xml><?xml version="1.0" encoding="utf-8"?>
<p:tagLst xmlns:a="http://schemas.openxmlformats.org/drawingml/2006/main" xmlns:r="http://schemas.openxmlformats.org/officeDocument/2006/relationships" xmlns:p="http://schemas.openxmlformats.org/presentationml/2006/main">
  <p:tag name="MT_TILE" val="YES"/>
</p:tagLst>
</file>

<file path=ppt/tags/tag11.xml><?xml version="1.0" encoding="utf-8"?>
<p:tagLst xmlns:a="http://schemas.openxmlformats.org/drawingml/2006/main" xmlns:r="http://schemas.openxmlformats.org/officeDocument/2006/relationships" xmlns:p="http://schemas.openxmlformats.org/presentationml/2006/main">
  <p:tag name="MT_TILE" val="YES"/>
</p:tagLst>
</file>

<file path=ppt/tags/tag12.xml><?xml version="1.0" encoding="utf-8"?>
<p:tagLst xmlns:a="http://schemas.openxmlformats.org/drawingml/2006/main" xmlns:r="http://schemas.openxmlformats.org/officeDocument/2006/relationships" xmlns:p="http://schemas.openxmlformats.org/presentationml/2006/main">
  <p:tag name="MT_TILE" val="YES"/>
</p:tagLst>
</file>

<file path=ppt/tags/tag13.xml><?xml version="1.0" encoding="utf-8"?>
<p:tagLst xmlns:a="http://schemas.openxmlformats.org/drawingml/2006/main" xmlns:r="http://schemas.openxmlformats.org/officeDocument/2006/relationships" xmlns:p="http://schemas.openxmlformats.org/presentationml/2006/main">
  <p:tag name="MT_TILE" val="YES"/>
</p:tagLst>
</file>

<file path=ppt/tags/tag14.xml><?xml version="1.0" encoding="utf-8"?>
<p:tagLst xmlns:a="http://schemas.openxmlformats.org/drawingml/2006/main" xmlns:r="http://schemas.openxmlformats.org/officeDocument/2006/relationships" xmlns:p="http://schemas.openxmlformats.org/presentationml/2006/main">
  <p:tag name="MT_TILE" val="YES"/>
</p:tagLst>
</file>

<file path=ppt/tags/tag15.xml><?xml version="1.0" encoding="utf-8"?>
<p:tagLst xmlns:a="http://schemas.openxmlformats.org/drawingml/2006/main" xmlns:r="http://schemas.openxmlformats.org/officeDocument/2006/relationships" xmlns:p="http://schemas.openxmlformats.org/presentationml/2006/main">
  <p:tag name="MT_TILE" val="YES"/>
</p:tagLst>
</file>

<file path=ppt/tags/tag16.xml><?xml version="1.0" encoding="utf-8"?>
<p:tagLst xmlns:a="http://schemas.openxmlformats.org/drawingml/2006/main" xmlns:r="http://schemas.openxmlformats.org/officeDocument/2006/relationships" xmlns:p="http://schemas.openxmlformats.org/presentationml/2006/main">
  <p:tag name="MT_TILE" val="YES"/>
</p:tagLst>
</file>

<file path=ppt/tags/tag17.xml><?xml version="1.0" encoding="utf-8"?>
<p:tagLst xmlns:a="http://schemas.openxmlformats.org/drawingml/2006/main" xmlns:r="http://schemas.openxmlformats.org/officeDocument/2006/relationships" xmlns:p="http://schemas.openxmlformats.org/presentationml/2006/main">
  <p:tag name="MT_TILE" val="YES"/>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MT_TILE" val="YES"/>
</p:tagLst>
</file>

<file path=ppt/tags/tag20.xml><?xml version="1.0" encoding="utf-8"?>
<p:tagLst xmlns:a="http://schemas.openxmlformats.org/drawingml/2006/main" xmlns:r="http://schemas.openxmlformats.org/officeDocument/2006/relationships" xmlns:p="http://schemas.openxmlformats.org/presentationml/2006/main">
  <p:tag name="MT_TILE" val="YES"/>
</p:tagLst>
</file>

<file path=ppt/tags/tag21.xml><?xml version="1.0" encoding="utf-8"?>
<p:tagLst xmlns:a="http://schemas.openxmlformats.org/drawingml/2006/main" xmlns:r="http://schemas.openxmlformats.org/officeDocument/2006/relationships" xmlns:p="http://schemas.openxmlformats.org/presentationml/2006/main">
  <p:tag name="MT_TILE" val="YES"/>
</p:tagLst>
</file>

<file path=ppt/tags/tag22.xml><?xml version="1.0" encoding="utf-8"?>
<p:tagLst xmlns:a="http://schemas.openxmlformats.org/drawingml/2006/main" xmlns:r="http://schemas.openxmlformats.org/officeDocument/2006/relationships" xmlns:p="http://schemas.openxmlformats.org/presentationml/2006/main">
  <p:tag name="MT_TILE" val="YES"/>
</p:tagLst>
</file>

<file path=ppt/tags/tag23.xml><?xml version="1.0" encoding="utf-8"?>
<p:tagLst xmlns:a="http://schemas.openxmlformats.org/drawingml/2006/main" xmlns:r="http://schemas.openxmlformats.org/officeDocument/2006/relationships" xmlns:p="http://schemas.openxmlformats.org/presentationml/2006/main">
  <p:tag name="MT_TILE" val="YES"/>
</p:tagLst>
</file>

<file path=ppt/tags/tag24.xml><?xml version="1.0" encoding="utf-8"?>
<p:tagLst xmlns:a="http://schemas.openxmlformats.org/drawingml/2006/main" xmlns:r="http://schemas.openxmlformats.org/officeDocument/2006/relationships" xmlns:p="http://schemas.openxmlformats.org/presentationml/2006/main">
  <p:tag name="MT_TILE" val="YES"/>
</p:tagLst>
</file>

<file path=ppt/tags/tag25.xml><?xml version="1.0" encoding="utf-8"?>
<p:tagLst xmlns:a="http://schemas.openxmlformats.org/drawingml/2006/main" xmlns:r="http://schemas.openxmlformats.org/officeDocument/2006/relationships" xmlns:p="http://schemas.openxmlformats.org/presentationml/2006/main">
  <p:tag name="MT_TILE" val="YES"/>
</p:tagLst>
</file>

<file path=ppt/tags/tag26.xml><?xml version="1.0" encoding="utf-8"?>
<p:tagLst xmlns:a="http://schemas.openxmlformats.org/drawingml/2006/main" xmlns:r="http://schemas.openxmlformats.org/officeDocument/2006/relationships" xmlns:p="http://schemas.openxmlformats.org/presentationml/2006/main">
  <p:tag name="MT_TILE" val="YES"/>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MT_TILE" val="YES"/>
</p:tagLst>
</file>

<file path=ppt/tags/tag4.xml><?xml version="1.0" encoding="utf-8"?>
<p:tagLst xmlns:a="http://schemas.openxmlformats.org/drawingml/2006/main" xmlns:r="http://schemas.openxmlformats.org/officeDocument/2006/relationships" xmlns:p="http://schemas.openxmlformats.org/presentationml/2006/main">
  <p:tag name="MT_TILE" val="YES"/>
</p:tagLst>
</file>

<file path=ppt/tags/tag5.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MT_TILE" val="YES"/>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emf"/></Relationships>
</file>

<file path=ppt/theme/_rels/theme3.xml.rels><?xml version="1.0" encoding="UTF-8" standalone="yes"?>
<Relationships xmlns="http://schemas.openxmlformats.org/package/2006/relationships"><Relationship Id="rId1" Type="http://schemas.openxmlformats.org/officeDocument/2006/relationships/image" Target="../media/image1.emf"/></Relationships>
</file>

<file path=ppt/theme/_rels/theme9.xml.rels><?xml version="1.0" encoding="UTF-8" standalone="yes"?>
<Relationships xmlns="http://schemas.openxmlformats.org/package/2006/relationships"><Relationship Id="rId1" Type="http://schemas.openxmlformats.org/officeDocument/2006/relationships/image" Target="../media/image1.emf"/></Relationships>
</file>

<file path=ppt/theme/theme1.xml><?xml version="1.0" encoding="utf-8"?>
<a:theme xmlns:a="http://schemas.openxmlformats.org/drawingml/2006/main" name="1_Template 16/9 Actemium">
  <a:themeElements>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fontScheme name="Actemium">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marL="180975" indent="-180975">
          <a:buFontTx/>
          <a:buBlip>
            <a:blip xmlns:r="http://schemas.openxmlformats.org/officeDocument/2006/relationships" r:embed="rId1"/>
          </a:buBlip>
          <a:defRPr sz="1200" dirty="0" smtClean="0"/>
        </a:defPPr>
      </a:lstStyle>
    </a:txDef>
  </a:objectDefaults>
  <a:extraClrScheme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ambria-Calibri">
      <a:majorFont>
        <a:latin typeface="Cambria" panose="02040503050406030204"/>
        <a:ea typeface=""/>
        <a:cs typeface=""/>
        <a:font script="Jpan" typeface="ＭＳ Ｐゴシック"/>
        <a:font script="Hang" typeface="맑은 고딕"/>
        <a:font script="Hans" typeface="黑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xians">
  <a:themeElements>
    <a:clrScheme name="axians">
      <a:dk1>
        <a:srgbClr val="005EB8"/>
      </a:dk1>
      <a:lt1>
        <a:srgbClr val="FFFFFF"/>
      </a:lt1>
      <a:dk2>
        <a:srgbClr val="672483"/>
      </a:dk2>
      <a:lt2>
        <a:srgbClr val="87888A"/>
      </a:lt2>
      <a:accent1>
        <a:srgbClr val="A20067"/>
      </a:accent1>
      <a:accent2>
        <a:srgbClr val="00B1EB"/>
      </a:accent2>
      <a:accent3>
        <a:srgbClr val="E50051"/>
      </a:accent3>
      <a:accent4>
        <a:srgbClr val="EC6726"/>
      </a:accent4>
      <a:accent5>
        <a:srgbClr val="E6007E"/>
      </a:accent5>
      <a:accent6>
        <a:srgbClr val="95C11F"/>
      </a:accent6>
      <a:hlink>
        <a:srgbClr val="97663D"/>
      </a:hlink>
      <a:folHlink>
        <a:srgbClr val="FFCC0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alpha val="60000"/>
          </a:schemeClr>
        </a:solidFill>
        <a:ln w="12700" cap="flat" cmpd="sng">
          <a:noFill/>
          <a:prstDash val="solid"/>
          <a:round/>
          <a:headEnd/>
          <a:tailEnd/>
        </a:ln>
        <a:effectLst/>
      </a:spPr>
      <a:bodyPr vert="horz" wrap="square" lIns="91440" tIns="45720" rIns="91440" bIns="45720" numCol="1" anchor="ctr" anchorCtr="0" compatLnSpc="1">
        <a:prstTxWarp prst="textNoShape">
          <a:avLst/>
        </a:prstTxWarp>
      </a:bodyPr>
      <a:lstStyle>
        <a:defPPr>
          <a:defRPr dirty="0"/>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Axians_Powerpoint_16_9_Arial" id="{7C69E39E-CBB0-4589-AF3A-D9ADC59E4163}" vid="{46263554-7A8D-478B-BAFB-853BE879A579}"/>
    </a:ext>
  </a:extLst>
</a:theme>
</file>

<file path=ppt/theme/theme3.xml><?xml version="1.0" encoding="utf-8"?>
<a:theme xmlns:a="http://schemas.openxmlformats.org/drawingml/2006/main" name="2_Template 16/9 Actemium">
  <a:themeElements>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fontScheme name="Actemium">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marL="180975" indent="-180975">
          <a:buFontTx/>
          <a:buBlip>
            <a:blip xmlns:r="http://schemas.openxmlformats.org/officeDocument/2006/relationships" r:embed="rId1"/>
          </a:buBlip>
          <a:defRPr sz="1200" dirty="0" smtClean="0"/>
        </a:defPPr>
      </a:lstStyle>
    </a:txDef>
  </a:objectDefaults>
  <a:extraClrSchemeLst/>
</a:theme>
</file>

<file path=ppt/theme/theme4.xml><?xml version="1.0" encoding="utf-8"?>
<a:theme xmlns:a="http://schemas.openxmlformats.org/drawingml/2006/main" name="8_3-30680_Worldwide Partner Conference 2015 ">
  <a:themeElements>
    <a:clrScheme name="Bharat Blue">
      <a:dk1>
        <a:sysClr val="windowText" lastClr="000000"/>
      </a:dk1>
      <a:lt1>
        <a:sysClr val="window" lastClr="FFFFFF"/>
      </a:lt1>
      <a:dk2>
        <a:srgbClr val="00162E"/>
      </a:dk2>
      <a:lt2>
        <a:srgbClr val="F8F8F8"/>
      </a:lt2>
      <a:accent1>
        <a:srgbClr val="002050"/>
      </a:accent1>
      <a:accent2>
        <a:srgbClr val="00188F"/>
      </a:accent2>
      <a:accent3>
        <a:srgbClr val="0070C0"/>
      </a:accent3>
      <a:accent4>
        <a:srgbClr val="00BCF2"/>
      </a:accent4>
      <a:accent5>
        <a:srgbClr val="B4A0FF"/>
      </a:accent5>
      <a:accent6>
        <a:srgbClr val="B9D80A"/>
      </a:accent6>
      <a:hlink>
        <a:srgbClr val="00B294"/>
      </a:hlink>
      <a:folHlink>
        <a:srgbClr val="B4A0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17">
                  <a:schemeClr val="accent6"/>
                </a:gs>
                <a:gs pos="100000">
                  <a:schemeClr val="accent6"/>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 PPT Template.potx [Read-Only]" id="{2DAB7967-F155-46BE-B499-90ABA5E79154}" vid="{949AF01E-4EB6-46D9-AE8A-F3C8D5B39BC9}"/>
    </a:ext>
  </a:extLst>
</a:theme>
</file>

<file path=ppt/theme/theme5.xml><?xml version="1.0" encoding="utf-8"?>
<a:theme xmlns:a="http://schemas.openxmlformats.org/drawingml/2006/main" name="5_Anpassad formgivning">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Anpassad formgivning">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9_3-30680_Worldwide Partner Conference 2015 ">
  <a:themeElements>
    <a:clrScheme name="Bharat Blue">
      <a:dk1>
        <a:sysClr val="windowText" lastClr="000000"/>
      </a:dk1>
      <a:lt1>
        <a:sysClr val="window" lastClr="FFFFFF"/>
      </a:lt1>
      <a:dk2>
        <a:srgbClr val="00162E"/>
      </a:dk2>
      <a:lt2>
        <a:srgbClr val="F8F8F8"/>
      </a:lt2>
      <a:accent1>
        <a:srgbClr val="002050"/>
      </a:accent1>
      <a:accent2>
        <a:srgbClr val="00188F"/>
      </a:accent2>
      <a:accent3>
        <a:srgbClr val="0070C0"/>
      </a:accent3>
      <a:accent4>
        <a:srgbClr val="00BCF2"/>
      </a:accent4>
      <a:accent5>
        <a:srgbClr val="B4A0FF"/>
      </a:accent5>
      <a:accent6>
        <a:srgbClr val="B9D80A"/>
      </a:accent6>
      <a:hlink>
        <a:srgbClr val="00B294"/>
      </a:hlink>
      <a:folHlink>
        <a:srgbClr val="B4A0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17">
                  <a:schemeClr val="accent6"/>
                </a:gs>
                <a:gs pos="100000">
                  <a:schemeClr val="accent6"/>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 PPT Template.potx [Read-Only]" id="{2DAB7967-F155-46BE-B499-90ABA5E79154}" vid="{949AF01E-4EB6-46D9-AE8A-F3C8D5B39BC9}"/>
    </a:ext>
  </a:extLst>
</a:theme>
</file>

<file path=ppt/theme/theme8.xml><?xml version="1.0" encoding="utf-8"?>
<a:theme xmlns:a="http://schemas.openxmlformats.org/drawingml/2006/main" name="10_3-30680_Worldwide Partner Conference 2015 ">
  <a:themeElements>
    <a:clrScheme name="Bharat Blue">
      <a:dk1>
        <a:sysClr val="windowText" lastClr="000000"/>
      </a:dk1>
      <a:lt1>
        <a:sysClr val="window" lastClr="FFFFFF"/>
      </a:lt1>
      <a:dk2>
        <a:srgbClr val="00162E"/>
      </a:dk2>
      <a:lt2>
        <a:srgbClr val="F8F8F8"/>
      </a:lt2>
      <a:accent1>
        <a:srgbClr val="002050"/>
      </a:accent1>
      <a:accent2>
        <a:srgbClr val="00188F"/>
      </a:accent2>
      <a:accent3>
        <a:srgbClr val="0070C0"/>
      </a:accent3>
      <a:accent4>
        <a:srgbClr val="00BCF2"/>
      </a:accent4>
      <a:accent5>
        <a:srgbClr val="B4A0FF"/>
      </a:accent5>
      <a:accent6>
        <a:srgbClr val="B9D80A"/>
      </a:accent6>
      <a:hlink>
        <a:srgbClr val="00B294"/>
      </a:hlink>
      <a:folHlink>
        <a:srgbClr val="B4A0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17">
                  <a:schemeClr val="accent6"/>
                </a:gs>
                <a:gs pos="100000">
                  <a:schemeClr val="accent6"/>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 PPT Template.potx [Read-Only]" id="{2DAB7967-F155-46BE-B499-90ABA5E79154}" vid="{949AF01E-4EB6-46D9-AE8A-F3C8D5B39BC9}"/>
    </a:ext>
  </a:extLst>
</a:theme>
</file>

<file path=ppt/theme/theme9.xml><?xml version="1.0" encoding="utf-8"?>
<a:theme xmlns:a="http://schemas.openxmlformats.org/drawingml/2006/main" name="3_Template 16/9 Actemium">
  <a:themeElements>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fontScheme name="Actemium">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marL="180975" indent="-180975">
          <a:buFontTx/>
          <a:buBlip>
            <a:blip xmlns:r="http://schemas.openxmlformats.org/officeDocument/2006/relationships" r:embed="rId1"/>
          </a:buBlip>
          <a:defRPr sz="1200" dirty="0" smtClean="0"/>
        </a:defPPr>
      </a:lstStyle>
    </a:txDef>
  </a:objectDefaults>
  <a:extraClrSchemeLst/>
</a:theme>
</file>

<file path=ppt/theme/themeOverride1.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10.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2.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3.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4.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5.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6.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7.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8.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9.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docProps/app.xml><?xml version="1.0" encoding="utf-8"?>
<Properties xmlns="http://schemas.openxmlformats.org/officeDocument/2006/extended-properties" xmlns:vt="http://schemas.openxmlformats.org/officeDocument/2006/docPropsVTypes">
  <TotalTime>47630</TotalTime>
  <Words>1724</Words>
  <Application>Microsoft Office PowerPoint</Application>
  <PresentationFormat>Widescreen</PresentationFormat>
  <Paragraphs>377</Paragraphs>
  <Slides>37</Slides>
  <Notes>9</Notes>
  <HiddenSlides>0</HiddenSlides>
  <MMClips>0</MMClips>
  <ScaleCrop>false</ScaleCrop>
  <HeadingPairs>
    <vt:vector size="8" baseType="variant">
      <vt:variant>
        <vt:lpstr>Fonts Used</vt:lpstr>
      </vt:variant>
      <vt:variant>
        <vt:i4>11</vt:i4>
      </vt:variant>
      <vt:variant>
        <vt:lpstr>Theme</vt:lpstr>
      </vt:variant>
      <vt:variant>
        <vt:i4>10</vt:i4>
      </vt:variant>
      <vt:variant>
        <vt:lpstr>Embedded OLE Servers</vt:lpstr>
      </vt:variant>
      <vt:variant>
        <vt:i4>1</vt:i4>
      </vt:variant>
      <vt:variant>
        <vt:lpstr>Slide Titles</vt:lpstr>
      </vt:variant>
      <vt:variant>
        <vt:i4>37</vt:i4>
      </vt:variant>
    </vt:vector>
  </HeadingPairs>
  <TitlesOfParts>
    <vt:vector size="59" baseType="lpstr">
      <vt:lpstr>Arial</vt:lpstr>
      <vt:lpstr>Calibri</vt:lpstr>
      <vt:lpstr>Calibri Light</vt:lpstr>
      <vt:lpstr>Consolas</vt:lpstr>
      <vt:lpstr>Lucida Grande</vt:lpstr>
      <vt:lpstr>Segoe Semibold</vt:lpstr>
      <vt:lpstr>Segoe UI</vt:lpstr>
      <vt:lpstr>Segoe UI Light</vt:lpstr>
      <vt:lpstr>Segoe UI Semibold</vt:lpstr>
      <vt:lpstr>Webdings</vt:lpstr>
      <vt:lpstr>Wingdings</vt:lpstr>
      <vt:lpstr>1_Template 16/9 Actemium</vt:lpstr>
      <vt:lpstr>Axians</vt:lpstr>
      <vt:lpstr>2_Template 16/9 Actemium</vt:lpstr>
      <vt:lpstr>8_3-30680_Worldwide Partner Conference 2015 </vt:lpstr>
      <vt:lpstr>5_Anpassad formgivning</vt:lpstr>
      <vt:lpstr>Anpassad formgivning</vt:lpstr>
      <vt:lpstr>9_3-30680_Worldwide Partner Conference 2015 </vt:lpstr>
      <vt:lpstr>10_3-30680_Worldwide Partner Conference 2015 </vt:lpstr>
      <vt:lpstr>3_Template 16/9 Actemium</vt:lpstr>
      <vt:lpstr>Office Theme</vt:lpstr>
      <vt:lpstr>think-cell Slide</vt:lpstr>
      <vt:lpstr>PowerPoint Presentation</vt:lpstr>
      <vt:lpstr>Day 2</vt:lpstr>
      <vt:lpstr>PowerPoint Presentation</vt:lpstr>
      <vt:lpstr>PowerPoint Presentation</vt:lpstr>
      <vt:lpstr>Axians – IoT Operation</vt:lpstr>
      <vt:lpstr>Axians – IoT Operation</vt:lpstr>
      <vt:lpstr>Axians – IoT Operation</vt:lpstr>
      <vt:lpstr>IoT platforms</vt:lpstr>
      <vt:lpstr>microServiceBus Architecture (node.js)</vt:lpstr>
      <vt:lpstr>microServiceBus.com and related projects are property of Vinci-Energies!</vt:lpstr>
      <vt:lpstr>What is Node.js?</vt:lpstr>
      <vt:lpstr>What is JavaScript?</vt:lpstr>
      <vt:lpstr>Node Package Manager (NPM)</vt:lpstr>
      <vt:lpstr>microServiceBus.com - Key concepts</vt:lpstr>
      <vt:lpstr>Day 2</vt:lpstr>
      <vt:lpstr>Lab #1  Create IoT Hub and mSB Organization</vt:lpstr>
      <vt:lpstr>Day 2</vt:lpstr>
      <vt:lpstr>On-boarding</vt:lpstr>
      <vt:lpstr>Lab #1  Integrate Cisco Jasper</vt:lpstr>
      <vt:lpstr>Day 2</vt:lpstr>
      <vt:lpstr>Lab #1  Provisioning new gateways</vt:lpstr>
      <vt:lpstr>Day 2</vt:lpstr>
      <vt:lpstr>IoT Message Exchange Patterns</vt:lpstr>
      <vt:lpstr>IoT Message Exchange Patterns</vt:lpstr>
      <vt:lpstr>IoT Message Exchange Patterns</vt:lpstr>
      <vt:lpstr>Day 2</vt:lpstr>
      <vt:lpstr>Common IoT protocols</vt:lpstr>
      <vt:lpstr>Common IoT protocols</vt:lpstr>
      <vt:lpstr>Modbus</vt:lpstr>
      <vt:lpstr>Common IoT protocols</vt:lpstr>
      <vt:lpstr>Wireless M-Bus</vt:lpstr>
      <vt:lpstr>Wireless M-Bus - Header</vt:lpstr>
      <vt:lpstr>Wireless M-Bus</vt:lpstr>
      <vt:lpstr>Day 2</vt:lpstr>
      <vt:lpstr>Getting Started</vt:lpstr>
      <vt:lpstr>Build a real world sensor to cloud solution </vt:lpstr>
      <vt:lpstr>Patterns and best practic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xians IoT Nordic</dc:title>
  <dc:creator>Jan Hellgren</dc:creator>
  <cp:lastModifiedBy>Mikael Håkansson</cp:lastModifiedBy>
  <cp:revision>206</cp:revision>
  <dcterms:modified xsi:type="dcterms:W3CDTF">2019-04-30T11:36:39Z</dcterms:modified>
</cp:coreProperties>
</file>